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3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4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36.xml" ContentType="application/vnd.openxmlformats-officedocument.presentationml.tags+xml"/>
  <Override PartName="/ppt/notesSlides/notesSlide4.xml" ContentType="application/vnd.openxmlformats-officedocument.presentationml.notesSlide+xml"/>
  <Override PartName="/ppt/tags/tag137.xml" ContentType="application/vnd.openxmlformats-officedocument.presentationml.tags+xml"/>
  <Override PartName="/ppt/notesSlides/notesSlide5.xml" ContentType="application/vnd.openxmlformats-officedocument.presentationml.notesSlide+xml"/>
  <Override PartName="/ppt/tags/tag13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39.xml" ContentType="application/vnd.openxmlformats-officedocument.presentationml.tags+xml"/>
  <Override PartName="/ppt/notesSlides/notesSlide19.xml" ContentType="application/vnd.openxmlformats-officedocument.presentationml.notesSlide+xml"/>
  <Override PartName="/ppt/tags/tag140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900" r:id="rId4"/>
    <p:sldMasterId id="2147484964" r:id="rId5"/>
    <p:sldMasterId id="2147484972" r:id="rId6"/>
    <p:sldMasterId id="2147485040" r:id="rId7"/>
    <p:sldMasterId id="2147485139" r:id="rId8"/>
  </p:sldMasterIdLst>
  <p:notesMasterIdLst>
    <p:notesMasterId r:id="rId32"/>
  </p:notesMasterIdLst>
  <p:sldIdLst>
    <p:sldId id="2147482584" r:id="rId9"/>
    <p:sldId id="2147482607" r:id="rId10"/>
    <p:sldId id="2147378012" r:id="rId11"/>
    <p:sldId id="2147482589" r:id="rId12"/>
    <p:sldId id="2147475175" r:id="rId13"/>
    <p:sldId id="2147482591" r:id="rId14"/>
    <p:sldId id="2147482592" r:id="rId15"/>
    <p:sldId id="2147482600" r:id="rId16"/>
    <p:sldId id="284" r:id="rId17"/>
    <p:sldId id="2147482602" r:id="rId18"/>
    <p:sldId id="2147482599" r:id="rId19"/>
    <p:sldId id="2147482597" r:id="rId20"/>
    <p:sldId id="261" r:id="rId21"/>
    <p:sldId id="260" r:id="rId22"/>
    <p:sldId id="263" r:id="rId23"/>
    <p:sldId id="2147376338" r:id="rId24"/>
    <p:sldId id="2147478593" r:id="rId25"/>
    <p:sldId id="2147482581" r:id="rId26"/>
    <p:sldId id="2147482612" r:id="rId27"/>
    <p:sldId id="2147482611" r:id="rId28"/>
    <p:sldId id="2147482604" r:id="rId29"/>
    <p:sldId id="2147482613" r:id="rId30"/>
    <p:sldId id="2147472657" r:id="rId31"/>
  </p:sldIdLst>
  <p:sldSz cx="12192000" cy="6858000"/>
  <p:notesSz cx="7315200" cy="9601200"/>
  <p:custDataLst>
    <p:tags r:id="rId3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ormen" id="{43FFAF1B-A1CC-4CF2-89C8-907F75A643A7}">
          <p14:sldIdLst>
            <p14:sldId id="2147482584"/>
            <p14:sldId id="2147482607"/>
            <p14:sldId id="2147378012"/>
            <p14:sldId id="2147482589"/>
            <p14:sldId id="2147475175"/>
            <p14:sldId id="2147482591"/>
            <p14:sldId id="2147482592"/>
            <p14:sldId id="2147482600"/>
            <p14:sldId id="284"/>
            <p14:sldId id="2147482602"/>
            <p14:sldId id="2147482599"/>
            <p14:sldId id="2147482597"/>
            <p14:sldId id="261"/>
            <p14:sldId id="260"/>
            <p14:sldId id="263"/>
            <p14:sldId id="2147376338"/>
            <p14:sldId id="2147478593"/>
            <p14:sldId id="2147482581"/>
            <p14:sldId id="2147482612"/>
            <p14:sldId id="2147482611"/>
            <p14:sldId id="2147482604"/>
            <p14:sldId id="2147482613"/>
            <p14:sldId id="2147472657"/>
          </p14:sldIdLst>
        </p14:section>
      </p14:sectionLst>
    </p:ext>
    <p:ext uri="{EFAFB233-063F-42B5-8137-9DF3F51BA10A}">
      <p15:sldGuideLst xmlns:p15="http://schemas.microsoft.com/office/powerpoint/2012/main">
        <p15:guide id="3" pos="1844" userDrawn="1">
          <p15:clr>
            <a:srgbClr val="A4A3A4"/>
          </p15:clr>
        </p15:guide>
        <p15:guide id="4" orient="horz" pos="19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9D7605-E739-F735-5CA6-B3AB39D52F9E}" name="Franziska Burghard" initials="FB" userId="S::Franziska.Burghard@sce.valantic.com::298f066d-fa8c-43fe-b21e-e2580f4a0c6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CFF"/>
    <a:srgbClr val="5B26B7"/>
    <a:srgbClr val="DFE3F0"/>
    <a:srgbClr val="A6A6A6"/>
    <a:srgbClr val="CDCDCD"/>
    <a:srgbClr val="3C4BC8"/>
    <a:srgbClr val="193773"/>
    <a:srgbClr val="8A93DE"/>
    <a:srgbClr val="FFA39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CF91A6-6B7E-42E8-A12C-D5825A3FDA42}" v="377" dt="2025-06-25T13:49:49.533"/>
    <p1510:client id="{E3310E2D-A874-4913-9823-FA0950445B4F}" v="15" dt="2025-06-25T14:24:34.431"/>
  </p1510:revLst>
</p1510:revInfo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1844"/>
        <p:guide orient="horz" pos="1933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microsoft.com/office/2015/10/relationships/revisionInfo" Target="revisionInfo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ie Sophie Kuhlmann - phiyond by adelphi" userId="31b129a1-072c-4b8b-8cf8-251c62212789" providerId="ADAL" clId="{79CF91A6-6B7E-42E8-A12C-D5825A3FDA42}"/>
    <pc:docChg chg="undo custSel modSld">
      <pc:chgData name="Leonie Sophie Kuhlmann - phiyond by adelphi" userId="31b129a1-072c-4b8b-8cf8-251c62212789" providerId="ADAL" clId="{79CF91A6-6B7E-42E8-A12C-D5825A3FDA42}" dt="2025-06-25T13:49:49.533" v="380"/>
      <pc:docMkLst>
        <pc:docMk/>
      </pc:docMkLst>
      <pc:sldChg chg="addSp delSp modSp mod">
        <pc:chgData name="Leonie Sophie Kuhlmann - phiyond by adelphi" userId="31b129a1-072c-4b8b-8cf8-251c62212789" providerId="ADAL" clId="{79CF91A6-6B7E-42E8-A12C-D5825A3FDA42}" dt="2025-06-25T13:49:49.533" v="380"/>
        <pc:sldMkLst>
          <pc:docMk/>
          <pc:sldMk cId="4268888511" sldId="2147482607"/>
        </pc:sldMkLst>
        <pc:spChg chg="mod ord">
          <ac:chgData name="Leonie Sophie Kuhlmann - phiyond by adelphi" userId="31b129a1-072c-4b8b-8cf8-251c62212789" providerId="ADAL" clId="{79CF91A6-6B7E-42E8-A12C-D5825A3FDA42}" dt="2025-06-25T13:43:40.545" v="301" actId="167"/>
          <ac:spMkLst>
            <pc:docMk/>
            <pc:sldMk cId="4268888511" sldId="2147482607"/>
            <ac:spMk id="11" creationId="{83A50589-50FB-42A0-1D1B-477597E2055A}"/>
          </ac:spMkLst>
        </pc:spChg>
        <pc:spChg chg="add mod">
          <ac:chgData name="Leonie Sophie Kuhlmann - phiyond by adelphi" userId="31b129a1-072c-4b8b-8cf8-251c62212789" providerId="ADAL" clId="{79CF91A6-6B7E-42E8-A12C-D5825A3FDA42}" dt="2025-06-25T13:15:06.125" v="245" actId="1076"/>
          <ac:spMkLst>
            <pc:docMk/>
            <pc:sldMk cId="4268888511" sldId="2147482607"/>
            <ac:spMk id="18" creationId="{62A6CCB0-F4DD-23CD-B2DC-E6FCCDDD3C0D}"/>
          </ac:spMkLst>
        </pc:spChg>
        <pc:spChg chg="add mod">
          <ac:chgData name="Leonie Sophie Kuhlmann - phiyond by adelphi" userId="31b129a1-072c-4b8b-8cf8-251c62212789" providerId="ADAL" clId="{79CF91A6-6B7E-42E8-A12C-D5825A3FDA42}" dt="2025-06-25T13:43:26.592" v="296" actId="1076"/>
          <ac:spMkLst>
            <pc:docMk/>
            <pc:sldMk cId="4268888511" sldId="2147482607"/>
            <ac:spMk id="19" creationId="{5EF1EF2E-862C-C383-229F-E6A761956A67}"/>
          </ac:spMkLst>
        </pc:spChg>
        <pc:spChg chg="add del mod">
          <ac:chgData name="Leonie Sophie Kuhlmann - phiyond by adelphi" userId="31b129a1-072c-4b8b-8cf8-251c62212789" providerId="ADAL" clId="{79CF91A6-6B7E-42E8-A12C-D5825A3FDA42}" dt="2025-06-25T13:48:11.601" v="365" actId="478"/>
          <ac:spMkLst>
            <pc:docMk/>
            <pc:sldMk cId="4268888511" sldId="2147482607"/>
            <ac:spMk id="20" creationId="{C66114E8-BDA2-1EBD-D401-794114367650}"/>
          </ac:spMkLst>
        </pc:spChg>
        <pc:picChg chg="mod ord modCrop">
          <ac:chgData name="Leonie Sophie Kuhlmann - phiyond by adelphi" userId="31b129a1-072c-4b8b-8cf8-251c62212789" providerId="ADAL" clId="{79CF91A6-6B7E-42E8-A12C-D5825A3FDA42}" dt="2025-06-25T13:49:49.533" v="380"/>
          <ac:picMkLst>
            <pc:docMk/>
            <pc:sldMk cId="4268888511" sldId="2147482607"/>
            <ac:picMk id="9" creationId="{B9702415-0018-F96C-E590-4D2231ED1DA6}"/>
          </ac:picMkLst>
        </pc:picChg>
        <pc:picChg chg="mod">
          <ac:chgData name="Leonie Sophie Kuhlmann - phiyond by adelphi" userId="31b129a1-072c-4b8b-8cf8-251c62212789" providerId="ADAL" clId="{79CF91A6-6B7E-42E8-A12C-D5825A3FDA42}" dt="2025-06-25T13:14:59.941" v="243" actId="1076"/>
          <ac:picMkLst>
            <pc:docMk/>
            <pc:sldMk cId="4268888511" sldId="2147482607"/>
            <ac:picMk id="15" creationId="{8E2C3603-E924-9871-A8C5-434E4B6A7B32}"/>
          </ac:picMkLst>
        </pc:picChg>
        <pc:picChg chg="mod">
          <ac:chgData name="Leonie Sophie Kuhlmann - phiyond by adelphi" userId="31b129a1-072c-4b8b-8cf8-251c62212789" providerId="ADAL" clId="{79CF91A6-6B7E-42E8-A12C-D5825A3FDA42}" dt="2025-06-25T13:43:12.271" v="292" actId="1076"/>
          <ac:picMkLst>
            <pc:docMk/>
            <pc:sldMk cId="4268888511" sldId="2147482607"/>
            <ac:picMk id="21" creationId="{143CDC51-7FAC-E508-47E7-3BDF197445E0}"/>
          </ac:picMkLst>
        </pc:picChg>
        <pc:picChg chg="add del mod">
          <ac:chgData name="Leonie Sophie Kuhlmann - phiyond by adelphi" userId="31b129a1-072c-4b8b-8cf8-251c62212789" providerId="ADAL" clId="{79CF91A6-6B7E-42E8-A12C-D5825A3FDA42}" dt="2025-06-25T13:46:24.379" v="340" actId="478"/>
          <ac:picMkLst>
            <pc:docMk/>
            <pc:sldMk cId="4268888511" sldId="2147482607"/>
            <ac:picMk id="22" creationId="{425946CA-073A-24C5-E1C5-3CB8CEBA5720}"/>
          </ac:picMkLst>
        </pc:picChg>
        <pc:picChg chg="add del mod">
          <ac:chgData name="Leonie Sophie Kuhlmann - phiyond by adelphi" userId="31b129a1-072c-4b8b-8cf8-251c62212789" providerId="ADAL" clId="{79CF91A6-6B7E-42E8-A12C-D5825A3FDA42}" dt="2025-06-25T13:48:10.954" v="364" actId="478"/>
          <ac:picMkLst>
            <pc:docMk/>
            <pc:sldMk cId="4268888511" sldId="2147482607"/>
            <ac:picMk id="23" creationId="{9452A63A-C3E5-D701-D958-19C3E3147A1C}"/>
          </ac:picMkLst>
        </pc:picChg>
        <pc:picChg chg="add del mod">
          <ac:chgData name="Leonie Sophie Kuhlmann - phiyond by adelphi" userId="31b129a1-072c-4b8b-8cf8-251c62212789" providerId="ADAL" clId="{79CF91A6-6B7E-42E8-A12C-D5825A3FDA42}" dt="2025-06-25T13:48:09.155" v="363" actId="478"/>
          <ac:picMkLst>
            <pc:docMk/>
            <pc:sldMk cId="4268888511" sldId="2147482607"/>
            <ac:picMk id="24" creationId="{8F47A03E-D148-7698-D144-D7BA3FF8D564}"/>
          </ac:picMkLst>
        </pc:picChg>
      </pc:sldChg>
    </pc:docChg>
  </pc:docChgLst>
  <pc:docChgLst>
    <pc:chgData name="Jason McConnell-Leech - adelphi" userId="S::mcconnell-leech_adelphi.de#ext#@phiyond.onmicrosoft.com::c863e4d3-85fe-4162-a392-2bf9cf3108fd" providerId="AD" clId="Web-{2B7989E0-6AA8-AE96-2886-E85326E1EC92}"/>
    <pc:docChg chg="modSld">
      <pc:chgData name="Jason McConnell-Leech - adelphi" userId="S::mcconnell-leech_adelphi.de#ext#@phiyond.onmicrosoft.com::c863e4d3-85fe-4162-a392-2bf9cf3108fd" providerId="AD" clId="Web-{2B7989E0-6AA8-AE96-2886-E85326E1EC92}" dt="2025-06-20T08:22:41.731" v="28" actId="1076"/>
      <pc:docMkLst>
        <pc:docMk/>
      </pc:docMkLst>
      <pc:sldChg chg="addSp delSp modSp">
        <pc:chgData name="Jason McConnell-Leech - adelphi" userId="S::mcconnell-leech_adelphi.de#ext#@phiyond.onmicrosoft.com::c863e4d3-85fe-4162-a392-2bf9cf3108fd" providerId="AD" clId="Web-{2B7989E0-6AA8-AE96-2886-E85326E1EC92}" dt="2025-06-20T08:22:41.731" v="28" actId="1076"/>
        <pc:sldMkLst>
          <pc:docMk/>
          <pc:sldMk cId="4268888511" sldId="2147482607"/>
        </pc:sldMkLst>
        <pc:picChg chg="add mod">
          <ac:chgData name="Jason McConnell-Leech - adelphi" userId="S::mcconnell-leech_adelphi.de#ext#@phiyond.onmicrosoft.com::c863e4d3-85fe-4162-a392-2bf9cf3108fd" providerId="AD" clId="Web-{2B7989E0-6AA8-AE96-2886-E85326E1EC92}" dt="2025-06-20T08:22:41.731" v="28" actId="1076"/>
          <ac:picMkLst>
            <pc:docMk/>
            <pc:sldMk cId="4268888511" sldId="2147482607"/>
            <ac:picMk id="21" creationId="{143CDC51-7FAC-E508-47E7-3BDF197445E0}"/>
          </ac:picMkLst>
        </pc:picChg>
      </pc:sldChg>
    </pc:docChg>
  </pc:docChgLst>
  <pc:docChgLst>
    <pc:chgData name="Katrin Häuser - phiyond by adelphi" userId="3bc36f6d-89ec-4a63-8904-477680d89bfc" providerId="ADAL" clId="{E3310E2D-A874-4913-9823-FA0950445B4F}"/>
    <pc:docChg chg="undo custSel modSld">
      <pc:chgData name="Katrin Häuser - phiyond by adelphi" userId="3bc36f6d-89ec-4a63-8904-477680d89bfc" providerId="ADAL" clId="{E3310E2D-A874-4913-9823-FA0950445B4F}" dt="2025-06-25T14:24:34.431" v="45" actId="478"/>
      <pc:docMkLst>
        <pc:docMk/>
      </pc:docMkLst>
      <pc:sldChg chg="addSp delSp modSp mod">
        <pc:chgData name="Katrin Häuser - phiyond by adelphi" userId="3bc36f6d-89ec-4a63-8904-477680d89bfc" providerId="ADAL" clId="{E3310E2D-A874-4913-9823-FA0950445B4F}" dt="2025-06-25T14:24:34.431" v="45" actId="478"/>
        <pc:sldMkLst>
          <pc:docMk/>
          <pc:sldMk cId="4268888511" sldId="2147482607"/>
        </pc:sldMkLst>
        <pc:spChg chg="mod">
          <ac:chgData name="Katrin Häuser - phiyond by adelphi" userId="3bc36f6d-89ec-4a63-8904-477680d89bfc" providerId="ADAL" clId="{E3310E2D-A874-4913-9823-FA0950445B4F}" dt="2025-06-25T12:58:08.093" v="29" actId="1076"/>
          <ac:spMkLst>
            <pc:docMk/>
            <pc:sldMk cId="4268888511" sldId="2147482607"/>
            <ac:spMk id="11" creationId="{83A50589-50FB-42A0-1D1B-477597E2055A}"/>
          </ac:spMkLst>
        </pc:spChg>
        <pc:spChg chg="mod">
          <ac:chgData name="Katrin Häuser - phiyond by adelphi" userId="3bc36f6d-89ec-4a63-8904-477680d89bfc" providerId="ADAL" clId="{E3310E2D-A874-4913-9823-FA0950445B4F}" dt="2025-06-25T12:58:15.806" v="44" actId="20577"/>
          <ac:spMkLst>
            <pc:docMk/>
            <pc:sldMk cId="4268888511" sldId="2147482607"/>
            <ac:spMk id="14" creationId="{956D1E0D-00B3-6267-5E88-BC0292AC2F0E}"/>
          </ac:spMkLst>
        </pc:spChg>
        <pc:picChg chg="add mod">
          <ac:chgData name="Katrin Häuser - phiyond by adelphi" userId="3bc36f6d-89ec-4a63-8904-477680d89bfc" providerId="ADAL" clId="{E3310E2D-A874-4913-9823-FA0950445B4F}" dt="2025-06-25T12:58:11.493" v="30" actId="1076"/>
          <ac:picMkLst>
            <pc:docMk/>
            <pc:sldMk cId="4268888511" sldId="2147482607"/>
            <ac:picMk id="9" creationId="{B9702415-0018-F96C-E590-4D2231ED1DA6}"/>
          </ac:picMkLst>
        </pc:picChg>
        <pc:picChg chg="add del mod">
          <ac:chgData name="Katrin Häuser - phiyond by adelphi" userId="3bc36f6d-89ec-4a63-8904-477680d89bfc" providerId="ADAL" clId="{E3310E2D-A874-4913-9823-FA0950445B4F}" dt="2025-06-25T14:24:34.431" v="45" actId="478"/>
          <ac:picMkLst>
            <pc:docMk/>
            <pc:sldMk cId="4268888511" sldId="2147482607"/>
            <ac:picMk id="15" creationId="{8E2C3603-E924-9871-A8C5-434E4B6A7B32}"/>
          </ac:picMkLst>
        </pc:picChg>
        <pc:picChg chg="del mod">
          <ac:chgData name="Katrin Häuser - phiyond by adelphi" userId="3bc36f6d-89ec-4a63-8904-477680d89bfc" providerId="ADAL" clId="{E3310E2D-A874-4913-9823-FA0950445B4F}" dt="2025-06-25T14:24:34.431" v="45" actId="478"/>
          <ac:picMkLst>
            <pc:docMk/>
            <pc:sldMk cId="4268888511" sldId="2147482607"/>
            <ac:picMk id="21" creationId="{143CDC51-7FAC-E508-47E7-3BDF197445E0}"/>
          </ac:picMkLst>
        </pc:picChg>
      </pc:sldChg>
    </pc:docChg>
  </pc:docChgLst>
  <pc:docChgLst>
    <pc:chgData name="Gero Gosslar - phiyond by adelphi" userId="S::gosslar@phiyond.de::818b22d9-827e-4128-984c-b48a2a841b01" providerId="AD" clId="Web-{035FC5D2-B7CF-B313-E905-4DF5131B9F5D}"/>
    <pc:docChg chg="modSld">
      <pc:chgData name="Gero Gosslar - phiyond by adelphi" userId="S::gosslar@phiyond.de::818b22d9-827e-4128-984c-b48a2a841b01" providerId="AD" clId="Web-{035FC5D2-B7CF-B313-E905-4DF5131B9F5D}" dt="2025-06-23T07:03:21.575" v="2" actId="20577"/>
      <pc:docMkLst>
        <pc:docMk/>
      </pc:docMkLst>
      <pc:sldChg chg="modSp">
        <pc:chgData name="Gero Gosslar - phiyond by adelphi" userId="S::gosslar@phiyond.de::818b22d9-827e-4128-984c-b48a2a841b01" providerId="AD" clId="Web-{035FC5D2-B7CF-B313-E905-4DF5131B9F5D}" dt="2025-06-23T07:03:21.575" v="2" actId="20577"/>
        <pc:sldMkLst>
          <pc:docMk/>
          <pc:sldMk cId="4268888511" sldId="2147482607"/>
        </pc:sldMkLst>
        <pc:spChg chg="mod">
          <ac:chgData name="Gero Gosslar - phiyond by adelphi" userId="S::gosslar@phiyond.de::818b22d9-827e-4128-984c-b48a2a841b01" providerId="AD" clId="Web-{035FC5D2-B7CF-B313-E905-4DF5131B9F5D}" dt="2025-06-23T07:03:21.575" v="2" actId="20577"/>
          <ac:spMkLst>
            <pc:docMk/>
            <pc:sldMk cId="4268888511" sldId="2147482607"/>
            <ac:spMk id="14" creationId="{956D1E0D-00B3-6267-5E88-BC0292AC2F0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BE8_F931972F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BE8_F931972F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https://phiyond.sharepoint.com/sites/Phiyond_valantic/Freigegebene%20Dokumente/team_studie_TT/6_Studie/Abbildungen_etc/250310_Auswertung_TTStudie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BEA_B1D7A0C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BE7_26020071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BE5_FE3975E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833719314497573E-3"/>
          <c:y val="0"/>
          <c:w val="0.57794133086305388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D1D-4FA7-9411-6EBC3A61DB91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D1D-4FA7-9411-6EBC3A61DB91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D1D-4FA7-9411-6EBC3A61DB91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D1D-4FA7-9411-6EBC3A61DB91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D1D-4FA7-9411-6EBC3A61DB91}"/>
              </c:ext>
            </c:extLst>
          </c:dPt>
          <c:dPt>
            <c:idx val="5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D1D-4FA7-9411-6EBC3A61DB9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4D1D-4FA7-9411-6EBC3A61DB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Ja</c:v>
                </c:pt>
                <c:pt idx="1">
                  <c:v>Nei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D1D-4FA7-9411-6EBC3A61DB9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800">
          <a:solidFill>
            <a:schemeClr val="bg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833719314497573E-3"/>
          <c:y val="0"/>
          <c:w val="0.57794133086305388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</c:spPr>
          <c:dPt>
            <c:idx val="0"/>
            <c:bubble3D val="0"/>
            <c:spPr>
              <a:solidFill>
                <a:srgbClr val="FF4B4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FAE-43C6-A7DF-53D2AB7B5448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FAE-43C6-A7DF-53D2AB7B5448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AE-43C6-A7DF-53D2AB7B544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FAE-43C6-A7DF-53D2AB7B5448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FAE-43C6-A7DF-53D2AB7B5448}"/>
              </c:ext>
            </c:extLst>
          </c:dPt>
          <c:dPt>
            <c:idx val="5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FAE-43C6-A7DF-53D2AB7B5448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DFAE-43C6-A7DF-53D2AB7B54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Minimal - Teilweise</c:v>
                </c:pt>
                <c:pt idx="1">
                  <c:v>Vollständig, hauptsächlich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FAE-43C6-A7DF-53D2AB7B544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600">
          <a:solidFill>
            <a:schemeClr val="bg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CDCDC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C6-423A-A7D0-77B303579347}"/>
              </c:ext>
            </c:extLst>
          </c:dPt>
          <c:dPt>
            <c:idx val="1"/>
            <c:bubble3D val="0"/>
            <c:spPr>
              <a:solidFill>
                <a:srgbClr val="5B26B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C6-423A-A7D0-77B303579347}"/>
              </c:ext>
            </c:extLst>
          </c:dPt>
          <c:dPt>
            <c:idx val="2"/>
            <c:bubble3D val="0"/>
            <c:spPr>
              <a:solidFill>
                <a:srgbClr val="3C4BC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C6-423A-A7D0-77B303579347}"/>
              </c:ext>
            </c:extLst>
          </c:dPt>
          <c:dPt>
            <c:idx val="3"/>
            <c:bubble3D val="0"/>
            <c:spPr>
              <a:solidFill>
                <a:srgbClr val="19377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C6-423A-A7D0-77B303579347}"/>
              </c:ext>
            </c:extLst>
          </c:dPt>
          <c:dLbls>
            <c:dLbl>
              <c:idx val="0"/>
              <c:layout>
                <c:manualLayout>
                  <c:x val="0.16987946534053358"/>
                  <c:y val="1.6121319409234034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8866AA8-A8A4-453F-AA6D-0EF6B9A60446}" type="CATEGORYNAME">
                      <a:rPr lang="en-US" sz="1400"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pPr>
                        <a:defRPr/>
                      </a:pPr>
                      <a:t>[CATEGORY NAME]</a:t>
                    </a:fld>
                    <a:endParaRPr lang="en-US"/>
                  </a:p>
                </c:rich>
              </c:tx>
              <c:spPr>
                <a:solidFill>
                  <a:srgbClr val="CDCDCD">
                    <a:alpha val="29804"/>
                  </a:srgbClr>
                </a:solidFill>
                <a:ln>
                  <a:solidFill>
                    <a:srgbClr val="CDCDCD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3972127006521088"/>
                      <c:h val="0.17714600937026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9C6-423A-A7D0-77B303579347}"/>
                </c:ext>
              </c:extLst>
            </c:dLbl>
            <c:dLbl>
              <c:idx val="1"/>
              <c:layout>
                <c:manualLayout>
                  <c:x val="3.6693952956404617E-2"/>
                  <c:y val="6.8778982850204159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4B6EDDB-081C-4527-8022-CA5F1864EFAC}" type="CATEGORYNAME">
                      <a:rPr lang="en-US" sz="1400"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pPr>
                        <a:defRPr/>
                      </a:pPr>
                      <a:t>[CATEGORY NAME]</a:t>
                    </a:fld>
                    <a:endParaRPr lang="en-US"/>
                  </a:p>
                </c:rich>
              </c:tx>
              <c:spPr>
                <a:solidFill>
                  <a:srgbClr val="5B26B7">
                    <a:alpha val="30196"/>
                  </a:srgbClr>
                </a:solidFill>
                <a:ln>
                  <a:solidFill>
                    <a:srgbClr val="5B26B7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8369052062537597"/>
                      <c:h val="0.215280966359764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9C6-423A-A7D0-77B303579347}"/>
                </c:ext>
              </c:extLst>
            </c:dLbl>
            <c:dLbl>
              <c:idx val="2"/>
              <c:layout>
                <c:manualLayout>
                  <c:x val="-5.4361411787266244E-2"/>
                  <c:y val="-5.5272965587977022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77F9A71-05D4-4168-ABD7-563AFE7DDE50}" type="CATEGORYNAME">
                      <a:rPr lang="en-US" sz="1400"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pPr>
                        <a:defRPr/>
                      </a:pPr>
                      <a:t>[CATEGORY NAME]</a:t>
                    </a:fld>
                    <a:endParaRPr lang="en-US"/>
                  </a:p>
                </c:rich>
              </c:tx>
              <c:spPr>
                <a:solidFill>
                  <a:srgbClr val="3C4BC8">
                    <a:alpha val="30196"/>
                  </a:srgbClr>
                </a:solidFill>
                <a:ln>
                  <a:solidFill>
                    <a:srgbClr val="3C4BC8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6985190296331052"/>
                      <c:h val="0.2895909451283423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9C6-423A-A7D0-77B303579347}"/>
                </c:ext>
              </c:extLst>
            </c:dLbl>
            <c:dLbl>
              <c:idx val="3"/>
              <c:layout>
                <c:manualLayout>
                  <c:x val="-0.12125946045514058"/>
                  <c:y val="1.266658720933291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C38B18-64F5-4BE7-86B7-3A8653D9F4A8}" type="CATEGORYNAME">
                      <a: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pPr>
                        <a:defRPr/>
                      </a:pPr>
                      <a:t>[CATEGORY NAME]</a:t>
                    </a:fld>
                    <a:endParaRPr lang="en-US"/>
                  </a:p>
                </c:rich>
              </c:tx>
              <c:spPr>
                <a:solidFill>
                  <a:srgbClr val="193773">
                    <a:alpha val="30196"/>
                  </a:srgbClr>
                </a:solidFill>
                <a:ln>
                  <a:solidFill>
                    <a:srgbClr val="193773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0891846045057475"/>
                      <c:h val="0.3363017936943602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99C6-423A-A7D0-77B303579347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193773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bestFit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Grafiken!$A$29:$A$32</c:f>
              <c:strCache>
                <c:ptCount val="4"/>
                <c:pt idx="0">
                  <c:v>Wenig digitale Tools und Prozesse eingeführt. </c:v>
                </c:pt>
                <c:pt idx="1">
                  <c:v>Einige digitale Tools und Prozesse eingeführt, aber vieles wird noch manuell bearbeitet.</c:v>
                </c:pt>
                <c:pt idx="2">
                  <c:v>Stark digitalisiert, mit integrierten digitalen Tools und Prozessen, die unsere Geschäftsabläufe unterstützen.</c:v>
                </c:pt>
                <c:pt idx="3">
                  <c:v>Vollständig digital transformiert, mit innovativen Technologien und hohen Maß an digitaler Integration und automatisierten Prozessen in allen Bereichen.</c:v>
                </c:pt>
              </c:strCache>
            </c:strRef>
          </c:cat>
          <c:val>
            <c:numRef>
              <c:f>Grafiken!$C$29:$C$32</c:f>
              <c:numCache>
                <c:formatCode>0%</c:formatCode>
                <c:ptCount val="4"/>
                <c:pt idx="0">
                  <c:v>3.669724770642202E-2</c:v>
                </c:pt>
                <c:pt idx="1">
                  <c:v>0.3577981651376147</c:v>
                </c:pt>
                <c:pt idx="2">
                  <c:v>0.48623853211009177</c:v>
                </c:pt>
                <c:pt idx="3">
                  <c:v>0.11926605504587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9C6-423A-A7D0-77B3035793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9F9-48BB-AA18-CEACB952EAA2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9F9-48BB-AA18-CEACB952EAA2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9F9-48BB-AA18-CEACB952EAA2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E9F9-48BB-AA18-CEACB952EAA2}"/>
              </c:ext>
            </c:extLst>
          </c:dPt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1</c:v>
                </c:pt>
                <c:pt idx="1">
                  <c:v>49</c:v>
                </c:pt>
                <c:pt idx="2">
                  <c:v>19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F9-48BB-AA18-CEACB952EA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8DD-4584-8443-F8089CD5A5E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48DD-4584-8443-F8089CD5A5E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DD-4584-8443-F8089CD5A5E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8DD-4584-8443-F8089CD5A5E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D-4584-8443-F8089CD5A5E7}"/>
              </c:ext>
            </c:extLst>
          </c:dPt>
          <c:dPt>
            <c:idx val="5"/>
            <c:invertIfNegative val="0"/>
            <c:bubble3D val="0"/>
            <c:spPr>
              <a:solidFill>
                <a:srgbClr val="FF4B4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8DD-4584-8443-F8089CD5A5E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DD-4584-8443-F8089CD5A5E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8DD-4584-8443-F8089CD5A5E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8DD-4584-8443-F8089CD5A5E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48DD-4584-8443-F8089CD5A5E7}"/>
              </c:ext>
            </c:extLst>
          </c:dPt>
          <c:cat>
            <c:strRef>
              <c:f>Sheet1!$A$2:$A$11</c:f>
              <c:strCache>
                <c:ptCount val="10"/>
                <c:pt idx="0">
                  <c:v>Datenqualität und -konsistenz</c:v>
                </c:pt>
                <c:pt idx="1">
                  <c:v>Datenintegration</c:v>
                </c:pt>
                <c:pt idx="2">
                  <c:v>Kosten </c:v>
                </c:pt>
                <c:pt idx="3">
                  <c:v>Mitarbeitendenexpertise</c:v>
                </c:pt>
                <c:pt idx="4">
                  <c:v>Kultureller Wandel</c:v>
                </c:pt>
                <c:pt idx="5">
                  <c:v>Strategische Nutzung der Daten</c:v>
                </c:pt>
                <c:pt idx="6">
                  <c:v>Datenschutz</c:v>
                </c:pt>
                <c:pt idx="7">
                  <c:v>Regulatorische Anforderungen</c:v>
                </c:pt>
                <c:pt idx="8">
                  <c:v>Skalierbarkeit</c:v>
                </c:pt>
                <c:pt idx="9">
                  <c:v>Mitarbeitendenskepsis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7</c:v>
                </c:pt>
                <c:pt idx="1">
                  <c:v>50</c:v>
                </c:pt>
                <c:pt idx="2">
                  <c:v>44</c:v>
                </c:pt>
                <c:pt idx="3">
                  <c:v>42</c:v>
                </c:pt>
                <c:pt idx="4">
                  <c:v>37</c:v>
                </c:pt>
                <c:pt idx="5">
                  <c:v>33</c:v>
                </c:pt>
                <c:pt idx="6">
                  <c:v>33</c:v>
                </c:pt>
                <c:pt idx="7">
                  <c:v>25</c:v>
                </c:pt>
                <c:pt idx="8">
                  <c:v>20</c:v>
                </c:pt>
                <c:pt idx="9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DD-4584-8443-F8089CD5A5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9000592"/>
        <c:axId val="1018995312"/>
      </c:barChart>
      <c:catAx>
        <c:axId val="10190005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995312"/>
        <c:crosses val="autoZero"/>
        <c:auto val="1"/>
        <c:lblAlgn val="ctr"/>
        <c:lblOffset val="0"/>
        <c:noMultiLvlLbl val="0"/>
      </c:catAx>
      <c:valAx>
        <c:axId val="1018995312"/>
        <c:scaling>
          <c:orientation val="minMax"/>
        </c:scaling>
        <c:delete val="1"/>
        <c:axPos val="t"/>
        <c:numFmt formatCode="General" sourceLinked="0"/>
        <c:majorTickMark val="out"/>
        <c:minorTickMark val="none"/>
        <c:tickLblPos val="nextTo"/>
        <c:crossAx val="1019000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8DD-4584-8443-F8089CD5A5E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48DD-4584-8443-F8089CD5A5E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DD-4584-8443-F8089CD5A5E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8DD-4584-8443-F8089CD5A5E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D-4584-8443-F8089CD5A5E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8DD-4584-8443-F8089CD5A5E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DD-4584-8443-F8089CD5A5E7}"/>
              </c:ext>
            </c:extLst>
          </c:dPt>
          <c:dPt>
            <c:idx val="7"/>
            <c:invertIfNegative val="0"/>
            <c:bubble3D val="0"/>
            <c:spPr>
              <a:solidFill>
                <a:srgbClr val="FF4B4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8DD-4584-8443-F8089CD5A5E7}"/>
              </c:ext>
            </c:extLst>
          </c:dPt>
          <c:dPt>
            <c:idx val="8"/>
            <c:invertIfNegative val="0"/>
            <c:bubble3D val="0"/>
            <c:spPr>
              <a:solidFill>
                <a:srgbClr val="FF4B4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8DD-4584-8443-F8089CD5A5E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48DD-4584-8443-F8089CD5A5E7}"/>
              </c:ext>
            </c:extLst>
          </c:dPt>
          <c:cat>
            <c:strRef>
              <c:f>Sheet1!$A$2:$A$11</c:f>
              <c:strCache>
                <c:ptCount val="10"/>
                <c:pt idx="0">
                  <c:v>Regulatorik</c:v>
                </c:pt>
                <c:pt idx="1">
                  <c:v>Kundenanforderungen</c:v>
                </c:pt>
                <c:pt idx="2">
                  <c:v>Imageförderung</c:v>
                </c:pt>
                <c:pt idx="3">
                  <c:v>Attraktivität als Arbeitgeber</c:v>
                </c:pt>
                <c:pt idx="4">
                  <c:v>Langfristige Resilienz</c:v>
                </c:pt>
                <c:pt idx="5">
                  <c:v>Eröffnung neuer Märkte</c:v>
                </c:pt>
                <c:pt idx="6">
                  <c:v>Innovationsanreize</c:v>
                </c:pt>
                <c:pt idx="7">
                  <c:v>Kostenreduktion</c:v>
                </c:pt>
                <c:pt idx="8">
                  <c:v>Umsatzsteigerung </c:v>
                </c:pt>
                <c:pt idx="9">
                  <c:v>Überzeugung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8</c:v>
                </c:pt>
                <c:pt idx="1">
                  <c:v>60</c:v>
                </c:pt>
                <c:pt idx="2">
                  <c:v>53</c:v>
                </c:pt>
                <c:pt idx="3">
                  <c:v>50</c:v>
                </c:pt>
                <c:pt idx="4">
                  <c:v>39</c:v>
                </c:pt>
                <c:pt idx="5">
                  <c:v>34</c:v>
                </c:pt>
                <c:pt idx="6">
                  <c:v>33</c:v>
                </c:pt>
                <c:pt idx="7">
                  <c:v>28</c:v>
                </c:pt>
                <c:pt idx="8">
                  <c:v>25</c:v>
                </c:pt>
                <c:pt idx="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DD-4584-8443-F8089CD5A5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9000592"/>
        <c:axId val="1018995312"/>
      </c:barChart>
      <c:catAx>
        <c:axId val="10190005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995312"/>
        <c:crosses val="autoZero"/>
        <c:auto val="1"/>
        <c:lblAlgn val="ctr"/>
        <c:lblOffset val="0"/>
        <c:noMultiLvlLbl val="0"/>
      </c:catAx>
      <c:valAx>
        <c:axId val="1018995312"/>
        <c:scaling>
          <c:orientation val="minMax"/>
        </c:scaling>
        <c:delete val="1"/>
        <c:axPos val="t"/>
        <c:numFmt formatCode="General" sourceLinked="0"/>
        <c:majorTickMark val="out"/>
        <c:minorTickMark val="none"/>
        <c:tickLblPos val="nextTo"/>
        <c:crossAx val="1019000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768</cdr:x>
      <cdr:y>0.87223</cdr:y>
    </cdr:from>
    <cdr:to>
      <cdr:x>0.25102</cdr:x>
      <cdr:y>1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CB487607-8364-C112-1BB6-8D5B6DAD2BF7}"/>
            </a:ext>
          </a:extLst>
        </cdr:cNvPr>
        <cdr:cNvSpPr/>
      </cdr:nvSpPr>
      <cdr:spPr>
        <a:xfrm xmlns:a="http://schemas.openxmlformats.org/drawingml/2006/main">
          <a:off x="2134915" y="3932461"/>
          <a:ext cx="576039" cy="57603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Overflow="overflow" horzOverflow="overflow" vert="horz" wrap="square" lIns="0" tIns="0" rIns="0" bIns="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endParaRPr lang="de-DE"/>
        </a:p>
      </cdr:txBody>
    </cdr:sp>
  </cdr:relSizeAnchor>
  <cdr:relSizeAnchor xmlns:cdr="http://schemas.openxmlformats.org/drawingml/2006/chartDrawing">
    <cdr:from>
      <cdr:x>0.03473</cdr:x>
      <cdr:y>0.8403</cdr:y>
    </cdr:from>
    <cdr:to>
      <cdr:x>0.08473</cdr:x>
      <cdr:y>0.96008</cdr:y>
    </cdr:to>
    <cdr:sp macro="" textlink="">
      <cdr:nvSpPr>
        <cdr:cNvPr id="3" name="Rechteck 2">
          <a:extLst xmlns:a="http://schemas.openxmlformats.org/drawingml/2006/main">
            <a:ext uri="{FF2B5EF4-FFF2-40B4-BE49-F238E27FC236}">
              <a16:creationId xmlns:a16="http://schemas.microsoft.com/office/drawing/2014/main" id="{668EBDD2-F817-42B8-6DD0-C67B8A0E06A3}"/>
            </a:ext>
          </a:extLst>
        </cdr:cNvPr>
        <cdr:cNvSpPr/>
      </cdr:nvSpPr>
      <cdr:spPr>
        <a:xfrm xmlns:a="http://schemas.openxmlformats.org/drawingml/2006/main">
          <a:off x="375104" y="3788500"/>
          <a:ext cx="540000" cy="5400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Overflow="overflow" horzOverflow="overflow" vert="horz" wrap="square" lIns="0" tIns="0" rIns="0" bIns="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endParaRPr lang="de-DE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9768</cdr:x>
      <cdr:y>0.87223</cdr:y>
    </cdr:from>
    <cdr:to>
      <cdr:x>0.25102</cdr:x>
      <cdr:y>1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CB487607-8364-C112-1BB6-8D5B6DAD2BF7}"/>
            </a:ext>
          </a:extLst>
        </cdr:cNvPr>
        <cdr:cNvSpPr/>
      </cdr:nvSpPr>
      <cdr:spPr>
        <a:xfrm xmlns:a="http://schemas.openxmlformats.org/drawingml/2006/main">
          <a:off x="2134915" y="3932461"/>
          <a:ext cx="576039" cy="57603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Overflow="overflow" horzOverflow="overflow" vert="horz" wrap="square" lIns="0" tIns="0" rIns="0" bIns="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endParaRPr lang="de-DE"/>
        </a:p>
      </cdr:txBody>
    </cdr:sp>
  </cdr:relSizeAnchor>
  <cdr:relSizeAnchor xmlns:cdr="http://schemas.openxmlformats.org/drawingml/2006/chartDrawing">
    <cdr:from>
      <cdr:x>0.03473</cdr:x>
      <cdr:y>0.8403</cdr:y>
    </cdr:from>
    <cdr:to>
      <cdr:x>0.08473</cdr:x>
      <cdr:y>0.96008</cdr:y>
    </cdr:to>
    <cdr:sp macro="" textlink="">
      <cdr:nvSpPr>
        <cdr:cNvPr id="3" name="Rechteck 2">
          <a:extLst xmlns:a="http://schemas.openxmlformats.org/drawingml/2006/main">
            <a:ext uri="{FF2B5EF4-FFF2-40B4-BE49-F238E27FC236}">
              <a16:creationId xmlns:a16="http://schemas.microsoft.com/office/drawing/2014/main" id="{668EBDD2-F817-42B8-6DD0-C67B8A0E06A3}"/>
            </a:ext>
          </a:extLst>
        </cdr:cNvPr>
        <cdr:cNvSpPr/>
      </cdr:nvSpPr>
      <cdr:spPr>
        <a:xfrm xmlns:a="http://schemas.openxmlformats.org/drawingml/2006/main">
          <a:off x="375104" y="3788500"/>
          <a:ext cx="540000" cy="5400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Overflow="overflow" horzOverflow="overflow" vert="horz" wrap="square" lIns="0" tIns="0" rIns="0" bIns="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endParaRPr lang="de-DE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580E1D-BFCC-4E4D-AED5-25F69ECBD325}" type="datetimeFigureOut">
              <a:rPr lang="en-GB" smtClean="0"/>
              <a:t>25/06/2025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765550-72D5-468B-A5BA-66AAF932D5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463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6665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E725B-01BF-3D1B-EB0D-1A2E94998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14AAA04-EAB0-A25F-19DD-AF2CFA3A3C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FFF4943-3B38-40EF-D704-75B19AAC56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6C2FD7-8E7D-FD52-F8E8-17683BD007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96315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1EED6B-986C-0DE5-E05A-F04D156BD7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5E8940B-F81B-9BE1-2DCB-F4AC6466DF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552A4AB-9576-004B-F796-D1E2B02CA8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DFF52E1-6CED-BF69-480E-C8C0C94AF2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44023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97599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AC8FC-46BE-89F4-2BA0-F2BAD411F5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6E9FF1F-2324-7C9C-00E1-F6042435D0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84F10AE-DF99-6DE1-890D-F2694FC44E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991ECD2-8DA8-FBA5-0580-62FE1DAF19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A34900-8568-4B49-B288-882BB63ECE0F}" type="slidenum">
              <a:rPr kumimoji="0" lang="de-DE" altLang="x-non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altLang="x-non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6481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8938" y="881063"/>
            <a:ext cx="5975350" cy="3362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34900-8568-4B49-B288-882BB63ECE0F}" type="slidenum">
              <a:rPr kumimoji="0" lang="de-DE" altLang="x-non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altLang="x-non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0777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/>
              <a:t>Informationsanfrage (Request for Information, RFI) </a:t>
            </a:r>
          </a:p>
          <a:p>
            <a:r>
              <a:rPr lang="de-DE" b="1"/>
              <a:t>Ausschreibung (Request </a:t>
            </a:r>
            <a:r>
              <a:rPr lang="de-DE" b="1" err="1"/>
              <a:t>for</a:t>
            </a:r>
            <a:r>
              <a:rPr lang="de-DE" b="1"/>
              <a:t> </a:t>
            </a:r>
            <a:r>
              <a:rPr lang="de-DE" b="1" err="1"/>
              <a:t>Proposal</a:t>
            </a:r>
            <a:r>
              <a:rPr lang="de-DE" b="1"/>
              <a:t>, RFP)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A34900-8568-4B49-B288-882BB63ECE0F}" type="slidenum">
              <a:rPr kumimoji="0" lang="de-DE" altLang="x-non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altLang="x-non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4277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C40786-9812-D0D4-A914-93FA405A8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B06E931-7388-2C97-000F-B214620B4C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50A173D-FB95-7A20-A311-4519E46D00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6B27F2-A9FB-024A-9D86-E389504447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057BFC-C343-418D-A1CD-27189FE9D01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29224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255746-5BF7-E403-31D8-619D44816D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EA3D61F-F724-F155-06D7-5BBB11B884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B7F3F96-87BB-9699-B5F4-C91656E778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CDC86A6-AF0F-960F-CA5F-3B4EE7D4DC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057BFC-C343-418D-A1CD-27189FE9D01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16156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839CF3-1E9E-5100-B5EC-5A3362F484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8239B25-5F83-EEFD-A43F-C658102A5C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D1C0B20-7AFB-16B4-15E5-9308B8B3DD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BFCFA71-C920-FEF4-CD80-C1B7AF3740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057BFC-C343-418D-A1CD-27189FE9D01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8677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98E0B-C8ED-4E84-E3D9-D7FD9DC5B3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BEE48E7-DD93-B33B-1C51-4FE3E32C1B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C4C7D44-29C6-5A6F-0088-884BFCCA0E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EB74EA-6D56-38C2-4C9B-7F70D65DBB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1870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24596-3710-3595-399F-35BF4ED9D5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4868023-978C-62B2-8FB5-808A48C370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D324F26-9B77-29AF-BF27-0B767EEDB5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E772F9-7A61-0987-893D-0DB6A4BF78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040393-EE44-4351-B756-EEDC8955747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2638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2993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040393-EE44-4351-B756-EEDC8955747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7279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56725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6645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2094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A949C3-B685-1408-8D43-5B80808C20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269EAA-0652-DAE3-9CCD-43D660DED5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4CB852-2C10-B555-43FF-ABBCC81795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1B275D-D1E5-DC99-BC1D-FA8C3EB88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765550-72D5-468B-A5BA-66AAF932D564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4034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0F338-7974-167E-827A-BC0DDA13B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68D7E13-5D3D-6F7E-5C9D-6B723EDBE2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9AB90DB-CA0A-1746-A4C5-9A4D28DC7B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FEFBCE-D3DA-E83C-39AA-294C5227A9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65550-72D5-468B-A5BA-66AAF932D5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79760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127843-2C9F-6E7B-2A10-6489570E8A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8357D48-306B-8D03-960C-46DB68F0A9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EB16775-5045-7446-B1FE-0874FA56DA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0B3DDB-E841-F44D-DB1E-35C72CB971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65550-72D5-468B-A5BA-66AAF932D56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047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Relationship Id="rId4" Type="http://schemas.openxmlformats.org/officeDocument/2006/relationships/image" Target="../media/image4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8.xml"/><Relationship Id="rId4" Type="http://schemas.openxmlformats.org/officeDocument/2006/relationships/image" Target="../media/image4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9.xml"/><Relationship Id="rId4" Type="http://schemas.openxmlformats.org/officeDocument/2006/relationships/image" Target="../media/image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0.xml"/><Relationship Id="rId4" Type="http://schemas.openxmlformats.org/officeDocument/2006/relationships/image" Target="../media/image4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1.xml"/><Relationship Id="rId4" Type="http://schemas.openxmlformats.org/officeDocument/2006/relationships/image" Target="../media/image4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2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3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Relationship Id="rId4" Type="http://schemas.openxmlformats.org/officeDocument/2006/relationships/image" Target="../media/image4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5.xml"/><Relationship Id="rId4" Type="http://schemas.openxmlformats.org/officeDocument/2006/relationships/image" Target="../media/image4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6.xml"/><Relationship Id="rId4" Type="http://schemas.openxmlformats.org/officeDocument/2006/relationships/image" Target="../media/image4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7.xml"/><Relationship Id="rId4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8.xml"/><Relationship Id="rId4" Type="http://schemas.openxmlformats.org/officeDocument/2006/relationships/image" Target="../media/image1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9.xml"/><Relationship Id="rId4" Type="http://schemas.openxmlformats.org/officeDocument/2006/relationships/image" Target="../media/image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0.xml"/><Relationship Id="rId4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3.xml"/><Relationship Id="rId4" Type="http://schemas.openxmlformats.org/officeDocument/2006/relationships/image" Target="../media/image1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4.xml"/><Relationship Id="rId4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5.xml"/><Relationship Id="rId4" Type="http://schemas.openxmlformats.org/officeDocument/2006/relationships/image" Target="../media/image4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sv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svg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4.png"/><Relationship Id="rId7" Type="http://schemas.openxmlformats.org/officeDocument/2006/relationships/image" Target="../media/image1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5.svg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image" Target="../media/image22.sv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10" Type="http://schemas.openxmlformats.org/officeDocument/2006/relationships/image" Target="../media/image29.sv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7" Type="http://schemas.openxmlformats.org/officeDocument/2006/relationships/image" Target="../media/image29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8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pn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4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3.bin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4" Type="http://schemas.openxmlformats.org/officeDocument/2006/relationships/image" Target="../media/image4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4" Type="http://schemas.openxmlformats.org/officeDocument/2006/relationships/image" Target="../media/image4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Relationship Id="rId4" Type="http://schemas.openxmlformats.org/officeDocument/2006/relationships/image" Target="../media/image4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4" Type="http://schemas.openxmlformats.org/officeDocument/2006/relationships/image" Target="../media/image4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4" Type="http://schemas.openxmlformats.org/officeDocument/2006/relationships/image" Target="../media/image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1 : title page shap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331D037A-AEB6-6084-9329-05FC9DDD9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045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0" progId="TCLayout.ActiveDocument.1">
                  <p:embed/>
                </p:oleObj>
              </mc:Choice>
              <mc:Fallback>
                <p:oleObj name="think-cell Slide" r:id="rId3" imgW="501" imgH="50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331D037A-AEB6-6084-9329-05FC9DDD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">
            <a:extLst>
              <a:ext uri="{FF2B5EF4-FFF2-40B4-BE49-F238E27FC236}">
                <a16:creationId xmlns:a16="http://schemas.microsoft.com/office/drawing/2014/main" id="{4BB14D95-49AB-4529-5662-66D2A1B2685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6120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6120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2108200"/>
            <a:ext cx="6120000" cy="16718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5" name="valantic logo">
            <a:extLst>
              <a:ext uri="{FF2B5EF4-FFF2-40B4-BE49-F238E27FC236}">
                <a16:creationId xmlns:a16="http://schemas.microsoft.com/office/drawing/2014/main" id="{F7AE2AE6-2DD6-B611-8273-3605A63BC1C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60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09 : video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590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ilm">
            <a:extLst>
              <a:ext uri="{FF2B5EF4-FFF2-40B4-BE49-F238E27FC236}">
                <a16:creationId xmlns:a16="http://schemas.microsoft.com/office/drawing/2014/main" id="{0833981F-AEE0-01D6-B2C9-2F71CD5FE813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Mediaclip durch Klicken auf Symbol hinzufügen</a:t>
            </a:r>
            <a:endParaRPr lang="en-US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73EA888E-C1BB-D71B-E0FC-835A13A60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960000"/>
            <a:ext cx="11088000" cy="21960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400" dirty="0"/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43796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0 : citiation : 5 Icon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48C3DE89-47DA-5C90-A5BD-987089A0B4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0F951A03-A258-5D0C-346C-9EDFA0422B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2" name="date">
            <a:extLst>
              <a:ext uri="{FF2B5EF4-FFF2-40B4-BE49-F238E27FC236}">
                <a16:creationId xmlns:a16="http://schemas.microsoft.com/office/drawing/2014/main" id="{3BDB30AE-0771-9262-1869-36B5E00FEB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Icon 6">
            <a:extLst>
              <a:ext uri="{FF2B5EF4-FFF2-40B4-BE49-F238E27FC236}">
                <a16:creationId xmlns:a16="http://schemas.microsoft.com/office/drawing/2014/main" id="{49D83825-0292-3B29-C602-F353CE1D6DDF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18863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9" name="Icon 5">
            <a:extLst>
              <a:ext uri="{FF2B5EF4-FFF2-40B4-BE49-F238E27FC236}">
                <a16:creationId xmlns:a16="http://schemas.microsoft.com/office/drawing/2014/main" id="{8733BC2E-04A1-0E30-9605-EAFAC19E888D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379432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Icon 4">
            <a:extLst>
              <a:ext uri="{FF2B5EF4-FFF2-40B4-BE49-F238E27FC236}">
                <a16:creationId xmlns:a16="http://schemas.microsoft.com/office/drawing/2014/main" id="{454BDB5F-930C-C204-3745-6B675B0D1FED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40000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Icon 3">
            <a:extLst>
              <a:ext uri="{FF2B5EF4-FFF2-40B4-BE49-F238E27FC236}">
                <a16:creationId xmlns:a16="http://schemas.microsoft.com/office/drawing/2014/main" id="{778D2EDF-3B43-FFAE-82A8-D3282374085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218863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2" name="Icon 2">
            <a:extLst>
              <a:ext uri="{FF2B5EF4-FFF2-40B4-BE49-F238E27FC236}">
                <a16:creationId xmlns:a16="http://schemas.microsoft.com/office/drawing/2014/main" id="{233BAFF2-9C91-CD91-2A3C-35502D80CD15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379432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text box">
            <a:extLst>
              <a:ext uri="{FF2B5EF4-FFF2-40B4-BE49-F238E27FC236}">
                <a16:creationId xmlns:a16="http://schemas.microsoft.com/office/drawing/2014/main" id="{550C29E5-AD0A-1A38-3A54-79902F148C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3136" y="1484313"/>
            <a:ext cx="3420001" cy="2251782"/>
          </a:xfrm>
          <a:prstGeom prst="roundRect">
            <a:avLst>
              <a:gd name="adj" fmla="val 1968"/>
            </a:avLst>
          </a:prstGeom>
          <a:solidFill>
            <a:schemeClr val="accent2"/>
          </a:solidFill>
          <a:effectLst/>
        </p:spPr>
        <p:txBody>
          <a:bodyPr lIns="360000" tIns="180000" rIns="360000" bIns="1800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55024EE-ED41-23E4-D6DF-B61F42B219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63879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884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1 : 6 Icons : 6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">
            <a:extLst>
              <a:ext uri="{FF2B5EF4-FFF2-40B4-BE49-F238E27FC236}">
                <a16:creationId xmlns:a16="http://schemas.microsoft.com/office/drawing/2014/main" id="{A9ACF289-960C-B8A3-3AC1-922A39C904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DD39A238-34E5-2DB6-20D5-CE2C12F855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C5DA8D53-50E2-9231-9FA6-A534CC5BAD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Icon 6">
            <a:extLst>
              <a:ext uri="{FF2B5EF4-FFF2-40B4-BE49-F238E27FC236}">
                <a16:creationId xmlns:a16="http://schemas.microsoft.com/office/drawing/2014/main" id="{49D83825-0292-3B29-C602-F353CE1D6DDF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18863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9" name="Icon 5">
            <a:extLst>
              <a:ext uri="{FF2B5EF4-FFF2-40B4-BE49-F238E27FC236}">
                <a16:creationId xmlns:a16="http://schemas.microsoft.com/office/drawing/2014/main" id="{8733BC2E-04A1-0E30-9605-EAFAC19E888D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379432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Icon 4">
            <a:extLst>
              <a:ext uri="{FF2B5EF4-FFF2-40B4-BE49-F238E27FC236}">
                <a16:creationId xmlns:a16="http://schemas.microsoft.com/office/drawing/2014/main" id="{454BDB5F-930C-C204-3745-6B675B0D1FED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40000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Icon 3">
            <a:extLst>
              <a:ext uri="{FF2B5EF4-FFF2-40B4-BE49-F238E27FC236}">
                <a16:creationId xmlns:a16="http://schemas.microsoft.com/office/drawing/2014/main" id="{778D2EDF-3B43-FFAE-82A8-D3282374085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218863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2" name="Icon 2">
            <a:extLst>
              <a:ext uri="{FF2B5EF4-FFF2-40B4-BE49-F238E27FC236}">
                <a16:creationId xmlns:a16="http://schemas.microsoft.com/office/drawing/2014/main" id="{233BAFF2-9C91-CD91-2A3C-35502D80CD15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379432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Icon 1">
            <a:extLst>
              <a:ext uri="{FF2B5EF4-FFF2-40B4-BE49-F238E27FC236}">
                <a16:creationId xmlns:a16="http://schemas.microsoft.com/office/drawing/2014/main" id="{33EE2071-A4F9-F16E-515D-B338908F809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40000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8E79C167-0DDF-C758-833F-88131E67FD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31253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2 : map : 8 content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0976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37672E6B-D56A-9FDA-8DA1-98B1D23FA1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7222DFE1-BC04-B8AC-5461-17073F0DC3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6DD1CB9A-21EB-DD32-CC17-503D2123C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8" name="content 10">
            <a:extLst>
              <a:ext uri="{FF2B5EF4-FFF2-40B4-BE49-F238E27FC236}">
                <a16:creationId xmlns:a16="http://schemas.microsoft.com/office/drawing/2014/main" id="{518B5815-FAF1-382A-90D5-5E2A36D98686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10536343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content 7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08291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ntent 6">
            <a:extLst>
              <a:ext uri="{FF2B5EF4-FFF2-40B4-BE49-F238E27FC236}">
                <a16:creationId xmlns:a16="http://schemas.microsoft.com/office/drawing/2014/main" id="{1F4D443D-5AA5-A727-9590-E25C5752F890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7680242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5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52193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BBC2B3C5-519E-7447-E8AE-4CE6264B8271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824144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3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96095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content 2">
            <a:extLst>
              <a:ext uri="{FF2B5EF4-FFF2-40B4-BE49-F238E27FC236}">
                <a16:creationId xmlns:a16="http://schemas.microsoft.com/office/drawing/2014/main" id="{B8111F2A-6B01-4671-279E-B12FFC0DADB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968046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7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7283CE9D-9870-A915-832E-B264A8B01E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7864869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3 : 8 logo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15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A3AFCC88-0942-2B4E-9F33-76D6C3BFA8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FEBA2A75-F427-C296-FEA8-F79E540072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BFF897E0-A2D1-3E0D-EB48-AF3C638E21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2" name="shadow 8">
            <a:extLst>
              <a:ext uri="{FF2B5EF4-FFF2-40B4-BE49-F238E27FC236}">
                <a16:creationId xmlns:a16="http://schemas.microsoft.com/office/drawing/2014/main" id="{6308BA18-E79D-6AF0-DD88-2CB7D71039F8}"/>
              </a:ext>
            </a:extLst>
          </p:cNvPr>
          <p:cNvSpPr txBox="1"/>
          <p:nvPr/>
        </p:nvSpPr>
        <p:spPr bwMode="auto">
          <a:xfrm>
            <a:off x="9108000" y="4720074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8" name="picture placeholder 8">
            <a:extLst>
              <a:ext uri="{FF2B5EF4-FFF2-40B4-BE49-F238E27FC236}">
                <a16:creationId xmlns:a16="http://schemas.microsoft.com/office/drawing/2014/main" id="{B813425A-0B5A-A6C1-9B5C-BA7BF0CBC7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684000" y="517007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1" name="shadow 7">
            <a:extLst>
              <a:ext uri="{FF2B5EF4-FFF2-40B4-BE49-F238E27FC236}">
                <a16:creationId xmlns:a16="http://schemas.microsoft.com/office/drawing/2014/main" id="{E3690FE6-EE57-D29A-8461-8A8634B9A124}"/>
              </a:ext>
            </a:extLst>
          </p:cNvPr>
          <p:cNvSpPr txBox="1"/>
          <p:nvPr/>
        </p:nvSpPr>
        <p:spPr bwMode="auto">
          <a:xfrm>
            <a:off x="6255621" y="4720074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9" name="picture placeholder 7">
            <a:extLst>
              <a:ext uri="{FF2B5EF4-FFF2-40B4-BE49-F238E27FC236}">
                <a16:creationId xmlns:a16="http://schemas.microsoft.com/office/drawing/2014/main" id="{2D846DC3-419F-48F8-0693-CE0C549D2F55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831621" y="517007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0" name="shadow 6">
            <a:extLst>
              <a:ext uri="{FF2B5EF4-FFF2-40B4-BE49-F238E27FC236}">
                <a16:creationId xmlns:a16="http://schemas.microsoft.com/office/drawing/2014/main" id="{C01EFD8A-CF76-DE2B-2523-5EF4DFD6DB07}"/>
              </a:ext>
            </a:extLst>
          </p:cNvPr>
          <p:cNvSpPr txBox="1"/>
          <p:nvPr/>
        </p:nvSpPr>
        <p:spPr bwMode="auto">
          <a:xfrm>
            <a:off x="3400526" y="4720074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97979B19-8D6D-216E-BB58-CC5DA169D861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976526" y="517007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9" name="shadow 5">
            <a:extLst>
              <a:ext uri="{FF2B5EF4-FFF2-40B4-BE49-F238E27FC236}">
                <a16:creationId xmlns:a16="http://schemas.microsoft.com/office/drawing/2014/main" id="{D28B9D1A-11CC-CB5F-E8CF-4A73B2A59A6A}"/>
              </a:ext>
            </a:extLst>
          </p:cNvPr>
          <p:cNvSpPr txBox="1">
            <a:spLocks/>
          </p:cNvSpPr>
          <p:nvPr/>
        </p:nvSpPr>
        <p:spPr bwMode="auto">
          <a:xfrm>
            <a:off x="540000" y="4720074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6222EA8F-CAC8-E9BF-FF49-CFEA020DA8E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116000" y="517007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8" name="shadow 4">
            <a:extLst>
              <a:ext uri="{FF2B5EF4-FFF2-40B4-BE49-F238E27FC236}">
                <a16:creationId xmlns:a16="http://schemas.microsoft.com/office/drawing/2014/main" id="{0C3D20FF-EC77-E7C4-6DA4-E6EE04EDE978}"/>
              </a:ext>
            </a:extLst>
          </p:cNvPr>
          <p:cNvSpPr txBox="1">
            <a:spLocks/>
          </p:cNvSpPr>
          <p:nvPr/>
        </p:nvSpPr>
        <p:spPr bwMode="auto">
          <a:xfrm>
            <a:off x="9108000" y="2952000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3EE2F86D-F8F9-40C9-510F-6AF7734A98A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684000" y="340200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shadow 3">
            <a:extLst>
              <a:ext uri="{FF2B5EF4-FFF2-40B4-BE49-F238E27FC236}">
                <a16:creationId xmlns:a16="http://schemas.microsoft.com/office/drawing/2014/main" id="{C7E09556-4E10-4E8E-8F27-2E6FE9C3029A}"/>
              </a:ext>
            </a:extLst>
          </p:cNvPr>
          <p:cNvSpPr txBox="1">
            <a:spLocks/>
          </p:cNvSpPr>
          <p:nvPr/>
        </p:nvSpPr>
        <p:spPr bwMode="auto">
          <a:xfrm>
            <a:off x="6255621" y="2952000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551825A6-BB31-1B00-F2F8-D25405DA9719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831621" y="340200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shadow 2">
            <a:extLst>
              <a:ext uri="{FF2B5EF4-FFF2-40B4-BE49-F238E27FC236}">
                <a16:creationId xmlns:a16="http://schemas.microsoft.com/office/drawing/2014/main" id="{DA8B71D9-4655-7437-39E3-0AB1CA3B82A0}"/>
              </a:ext>
            </a:extLst>
          </p:cNvPr>
          <p:cNvSpPr txBox="1">
            <a:spLocks/>
          </p:cNvSpPr>
          <p:nvPr/>
        </p:nvSpPr>
        <p:spPr bwMode="auto">
          <a:xfrm>
            <a:off x="3400526" y="2952000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B19C862-2460-7C26-7497-B8C83998F894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3976526" y="340200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" name="shadow 1">
            <a:extLst>
              <a:ext uri="{FF2B5EF4-FFF2-40B4-BE49-F238E27FC236}">
                <a16:creationId xmlns:a16="http://schemas.microsoft.com/office/drawing/2014/main" id="{C36CF54E-763F-7697-1224-2053F7A6814C}"/>
              </a:ext>
            </a:extLst>
          </p:cNvPr>
          <p:cNvSpPr txBox="1">
            <a:spLocks/>
          </p:cNvSpPr>
          <p:nvPr/>
        </p:nvSpPr>
        <p:spPr bwMode="auto">
          <a:xfrm>
            <a:off x="540000" y="2952000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3E3BC991-7447-49F8-384D-316C6A6198A2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116000" y="340200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FDF1F3F5-35AF-218A-96C9-50E5DFCBA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6295710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4 : 15 logo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75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27864EB8-4E56-85B9-09A4-A8CDAC1D1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457849FC-F19D-3246-E4A3-0B33A1E267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5" name="date">
            <a:extLst>
              <a:ext uri="{FF2B5EF4-FFF2-40B4-BE49-F238E27FC236}">
                <a16:creationId xmlns:a16="http://schemas.microsoft.com/office/drawing/2014/main" id="{16D7681B-6A09-BE53-1C5E-32ECBACA06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5" name="shadow 15">
            <a:extLst>
              <a:ext uri="{FF2B5EF4-FFF2-40B4-BE49-F238E27FC236}">
                <a16:creationId xmlns:a16="http://schemas.microsoft.com/office/drawing/2014/main" id="{F7A327AE-B756-5909-A287-CE6816BF70A3}"/>
              </a:ext>
            </a:extLst>
          </p:cNvPr>
          <p:cNvSpPr txBox="1"/>
          <p:nvPr/>
        </p:nvSpPr>
        <p:spPr bwMode="auto">
          <a:xfrm>
            <a:off x="9624700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2E890C8E-9507-C2EE-FD9D-070CE31733E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948700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2" name="shadow 14">
            <a:extLst>
              <a:ext uri="{FF2B5EF4-FFF2-40B4-BE49-F238E27FC236}">
                <a16:creationId xmlns:a16="http://schemas.microsoft.com/office/drawing/2014/main" id="{6308BA18-E79D-6AF0-DD88-2CB7D71039F8}"/>
              </a:ext>
            </a:extLst>
          </p:cNvPr>
          <p:cNvSpPr txBox="1"/>
          <p:nvPr/>
        </p:nvSpPr>
        <p:spPr bwMode="auto">
          <a:xfrm>
            <a:off x="7353525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8" name="picture placeholder 14">
            <a:extLst>
              <a:ext uri="{FF2B5EF4-FFF2-40B4-BE49-F238E27FC236}">
                <a16:creationId xmlns:a16="http://schemas.microsoft.com/office/drawing/2014/main" id="{B813425A-0B5A-A6C1-9B5C-BA7BF0CBC71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77525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1" name="shadow 13">
            <a:extLst>
              <a:ext uri="{FF2B5EF4-FFF2-40B4-BE49-F238E27FC236}">
                <a16:creationId xmlns:a16="http://schemas.microsoft.com/office/drawing/2014/main" id="{E3690FE6-EE57-D29A-8461-8A8634B9A124}"/>
              </a:ext>
            </a:extLst>
          </p:cNvPr>
          <p:cNvSpPr txBox="1"/>
          <p:nvPr/>
        </p:nvSpPr>
        <p:spPr bwMode="auto">
          <a:xfrm>
            <a:off x="5082350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id="{2D846DC3-419F-48F8-0693-CE0C549D2F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406350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0" name="shadow 12">
            <a:extLst>
              <a:ext uri="{FF2B5EF4-FFF2-40B4-BE49-F238E27FC236}">
                <a16:creationId xmlns:a16="http://schemas.microsoft.com/office/drawing/2014/main" id="{C01EFD8A-CF76-DE2B-2523-5EF4DFD6DB07}"/>
              </a:ext>
            </a:extLst>
          </p:cNvPr>
          <p:cNvSpPr txBox="1"/>
          <p:nvPr/>
        </p:nvSpPr>
        <p:spPr bwMode="auto">
          <a:xfrm>
            <a:off x="2811175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97979B19-8D6D-216E-BB58-CC5DA169D86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135175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9" name="shadow 11">
            <a:extLst>
              <a:ext uri="{FF2B5EF4-FFF2-40B4-BE49-F238E27FC236}">
                <a16:creationId xmlns:a16="http://schemas.microsoft.com/office/drawing/2014/main" id="{D28B9D1A-11CC-CB5F-E8CF-4A73B2A59A6A}"/>
              </a:ext>
            </a:extLst>
          </p:cNvPr>
          <p:cNvSpPr txBox="1">
            <a:spLocks/>
          </p:cNvSpPr>
          <p:nvPr/>
        </p:nvSpPr>
        <p:spPr bwMode="auto">
          <a:xfrm>
            <a:off x="540000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6222EA8F-CAC8-E9BF-FF49-CFEA020DA8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64000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3" name="shadow 10">
            <a:extLst>
              <a:ext uri="{FF2B5EF4-FFF2-40B4-BE49-F238E27FC236}">
                <a16:creationId xmlns:a16="http://schemas.microsoft.com/office/drawing/2014/main" id="{95C0B03C-55FB-C62C-E364-1556C724573A}"/>
              </a:ext>
            </a:extLst>
          </p:cNvPr>
          <p:cNvSpPr txBox="1"/>
          <p:nvPr/>
        </p:nvSpPr>
        <p:spPr bwMode="auto">
          <a:xfrm>
            <a:off x="9624700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4" name="picture placeholder 10">
            <a:extLst>
              <a:ext uri="{FF2B5EF4-FFF2-40B4-BE49-F238E27FC236}">
                <a16:creationId xmlns:a16="http://schemas.microsoft.com/office/drawing/2014/main" id="{3415E750-564C-6C2E-8179-FB02127B1B2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48700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5" name="shadow 9">
            <a:extLst>
              <a:ext uri="{FF2B5EF4-FFF2-40B4-BE49-F238E27FC236}">
                <a16:creationId xmlns:a16="http://schemas.microsoft.com/office/drawing/2014/main" id="{E507B8D2-A0F0-5587-980E-3A659B8AC0A7}"/>
              </a:ext>
            </a:extLst>
          </p:cNvPr>
          <p:cNvSpPr txBox="1"/>
          <p:nvPr/>
        </p:nvSpPr>
        <p:spPr bwMode="auto">
          <a:xfrm>
            <a:off x="7353525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EB0D8851-BDC9-F498-DD52-ED7CFE7E800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677525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7" name="shadow 8">
            <a:extLst>
              <a:ext uri="{FF2B5EF4-FFF2-40B4-BE49-F238E27FC236}">
                <a16:creationId xmlns:a16="http://schemas.microsoft.com/office/drawing/2014/main" id="{D0426656-B4FC-5847-6338-9B9A8D7112CD}"/>
              </a:ext>
            </a:extLst>
          </p:cNvPr>
          <p:cNvSpPr txBox="1"/>
          <p:nvPr/>
        </p:nvSpPr>
        <p:spPr bwMode="auto">
          <a:xfrm>
            <a:off x="5082350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8" name="picture placeholder 8">
            <a:extLst>
              <a:ext uri="{FF2B5EF4-FFF2-40B4-BE49-F238E27FC236}">
                <a16:creationId xmlns:a16="http://schemas.microsoft.com/office/drawing/2014/main" id="{B2560046-7EB6-BDC9-1F54-A3979746E0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406350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9" name="shadow 7">
            <a:extLst>
              <a:ext uri="{FF2B5EF4-FFF2-40B4-BE49-F238E27FC236}">
                <a16:creationId xmlns:a16="http://schemas.microsoft.com/office/drawing/2014/main" id="{D2E766D9-38DC-248A-954A-4E74C064FF7F}"/>
              </a:ext>
            </a:extLst>
          </p:cNvPr>
          <p:cNvSpPr txBox="1"/>
          <p:nvPr/>
        </p:nvSpPr>
        <p:spPr bwMode="auto">
          <a:xfrm>
            <a:off x="2811175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50" name="picture placeholder7">
            <a:extLst>
              <a:ext uri="{FF2B5EF4-FFF2-40B4-BE49-F238E27FC236}">
                <a16:creationId xmlns:a16="http://schemas.microsoft.com/office/drawing/2014/main" id="{F76487B9-F4AF-E6A5-4443-382BCEB2EA6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135175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1" name="shadow 6">
            <a:extLst>
              <a:ext uri="{FF2B5EF4-FFF2-40B4-BE49-F238E27FC236}">
                <a16:creationId xmlns:a16="http://schemas.microsoft.com/office/drawing/2014/main" id="{D56C3795-4207-D0AA-FC9E-144372B2EBD1}"/>
              </a:ext>
            </a:extLst>
          </p:cNvPr>
          <p:cNvSpPr txBox="1">
            <a:spLocks/>
          </p:cNvSpPr>
          <p:nvPr/>
        </p:nvSpPr>
        <p:spPr bwMode="auto">
          <a:xfrm>
            <a:off x="540000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52" name="picture placeholder 6">
            <a:extLst>
              <a:ext uri="{FF2B5EF4-FFF2-40B4-BE49-F238E27FC236}">
                <a16:creationId xmlns:a16="http://schemas.microsoft.com/office/drawing/2014/main" id="{37E67FF7-7E9E-2FC2-5FA7-5201E3B205E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64000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6" name="shadow 5">
            <a:extLst>
              <a:ext uri="{FF2B5EF4-FFF2-40B4-BE49-F238E27FC236}">
                <a16:creationId xmlns:a16="http://schemas.microsoft.com/office/drawing/2014/main" id="{C79FA3F1-F561-3F99-2A55-D019E29194E5}"/>
              </a:ext>
            </a:extLst>
          </p:cNvPr>
          <p:cNvSpPr txBox="1"/>
          <p:nvPr/>
        </p:nvSpPr>
        <p:spPr bwMode="auto">
          <a:xfrm>
            <a:off x="9624700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7CD0061E-2BC7-26C2-D8B4-92212BE5823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948700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9" name="shadow 4">
            <a:extLst>
              <a:ext uri="{FF2B5EF4-FFF2-40B4-BE49-F238E27FC236}">
                <a16:creationId xmlns:a16="http://schemas.microsoft.com/office/drawing/2014/main" id="{B22BAA3B-3BAF-7F6D-2E45-A7D965E2BCE5}"/>
              </a:ext>
            </a:extLst>
          </p:cNvPr>
          <p:cNvSpPr txBox="1"/>
          <p:nvPr/>
        </p:nvSpPr>
        <p:spPr bwMode="auto">
          <a:xfrm>
            <a:off x="7353525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AB01EAA0-DDCA-971B-4B4E-DE2A18542BA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77525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3" name="shadow 3">
            <a:extLst>
              <a:ext uri="{FF2B5EF4-FFF2-40B4-BE49-F238E27FC236}">
                <a16:creationId xmlns:a16="http://schemas.microsoft.com/office/drawing/2014/main" id="{529FE05A-F57B-0FDA-0EBE-2F45E17F48A9}"/>
              </a:ext>
            </a:extLst>
          </p:cNvPr>
          <p:cNvSpPr txBox="1"/>
          <p:nvPr/>
        </p:nvSpPr>
        <p:spPr bwMode="auto">
          <a:xfrm>
            <a:off x="5082350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E26C8068-7A2A-FA29-70EA-420517E4EF2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406350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5" name="shadow 2">
            <a:extLst>
              <a:ext uri="{FF2B5EF4-FFF2-40B4-BE49-F238E27FC236}">
                <a16:creationId xmlns:a16="http://schemas.microsoft.com/office/drawing/2014/main" id="{6CA05DC6-CB1B-71CA-034A-FDCDB7BE5600}"/>
              </a:ext>
            </a:extLst>
          </p:cNvPr>
          <p:cNvSpPr txBox="1"/>
          <p:nvPr/>
        </p:nvSpPr>
        <p:spPr bwMode="auto">
          <a:xfrm>
            <a:off x="2811175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52A6AD52-E1BF-37E8-9BBE-0A801AE80C5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135175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7" name="shadow 1">
            <a:extLst>
              <a:ext uri="{FF2B5EF4-FFF2-40B4-BE49-F238E27FC236}">
                <a16:creationId xmlns:a16="http://schemas.microsoft.com/office/drawing/2014/main" id="{00A16438-B8EC-A4AE-1AEE-FE833F2207D7}"/>
              </a:ext>
            </a:extLst>
          </p:cNvPr>
          <p:cNvSpPr txBox="1">
            <a:spLocks/>
          </p:cNvSpPr>
          <p:nvPr/>
        </p:nvSpPr>
        <p:spPr bwMode="auto">
          <a:xfrm>
            <a:off x="540000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2" name="picture placeholder 1">
            <a:extLst>
              <a:ext uri="{FF2B5EF4-FFF2-40B4-BE49-F238E27FC236}">
                <a16:creationId xmlns:a16="http://schemas.microsoft.com/office/drawing/2014/main" id="{E3468FD3-7243-81CD-BC4B-74253980B3D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64000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458179CF-D7D7-459E-377F-D528CB0C38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8270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5 : 9 texts : 9 subtexts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DDA5B5E-9681-3716-0A3B-F9B623E5B2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87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DDA5B5E-9681-3716-0A3B-F9B623E5B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">
            <a:extLst>
              <a:ext uri="{FF2B5EF4-FFF2-40B4-BE49-F238E27FC236}">
                <a16:creationId xmlns:a16="http://schemas.microsoft.com/office/drawing/2014/main" id="{4EDD90E2-7D27-01D2-E549-61AA512422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4C379F78-EEFB-61C0-EFF4-B2B0EB7AA9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2" name="date">
            <a:extLst>
              <a:ext uri="{FF2B5EF4-FFF2-40B4-BE49-F238E27FC236}">
                <a16:creationId xmlns:a16="http://schemas.microsoft.com/office/drawing/2014/main" id="{39A2B28A-0BE2-76F0-E9F0-A9CB1C16FA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45" name="text 9">
            <a:extLst>
              <a:ext uri="{FF2B5EF4-FFF2-40B4-BE49-F238E27FC236}">
                <a16:creationId xmlns:a16="http://schemas.microsoft.com/office/drawing/2014/main" id="{66A3462E-C486-481A-21E6-0F68EBD51B9F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8293138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8">
            <a:extLst>
              <a:ext uri="{FF2B5EF4-FFF2-40B4-BE49-F238E27FC236}">
                <a16:creationId xmlns:a16="http://schemas.microsoft.com/office/drawing/2014/main" id="{0CE0BC1D-D256-6F58-D0E2-B49E48E01908}"/>
              </a:ext>
            </a:extLst>
          </p:cNvPr>
          <p:cNvSpPr>
            <a:spLocks noGrp="1"/>
          </p:cNvSpPr>
          <p:nvPr>
            <p:ph type="body" idx="48"/>
          </p:nvPr>
        </p:nvSpPr>
        <p:spPr>
          <a:xfrm>
            <a:off x="4549138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 7">
            <a:extLst>
              <a:ext uri="{FF2B5EF4-FFF2-40B4-BE49-F238E27FC236}">
                <a16:creationId xmlns:a16="http://schemas.microsoft.com/office/drawing/2014/main" id="{4286180F-18BA-96F9-0338-BC3BCC1C3BF1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851996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6">
            <a:extLst>
              <a:ext uri="{FF2B5EF4-FFF2-40B4-BE49-F238E27FC236}">
                <a16:creationId xmlns:a16="http://schemas.microsoft.com/office/drawing/2014/main" id="{FA2EA2AE-37E9-3C8B-0FB6-5605ED402655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8293138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 5">
            <a:extLst>
              <a:ext uri="{FF2B5EF4-FFF2-40B4-BE49-F238E27FC236}">
                <a16:creationId xmlns:a16="http://schemas.microsoft.com/office/drawing/2014/main" id="{C0E17200-E0A1-E7DF-9AC9-E70558F0E115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4549138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4">
            <a:extLst>
              <a:ext uri="{FF2B5EF4-FFF2-40B4-BE49-F238E27FC236}">
                <a16:creationId xmlns:a16="http://schemas.microsoft.com/office/drawing/2014/main" id="{534CD5F5-02DD-F1D1-5093-97A671F920C8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851996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3">
            <a:extLst>
              <a:ext uri="{FF2B5EF4-FFF2-40B4-BE49-F238E27FC236}">
                <a16:creationId xmlns:a16="http://schemas.microsoft.com/office/drawing/2014/main" id="{7810A71F-77E2-A86A-AC75-1289914984B5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8293138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2">
            <a:extLst>
              <a:ext uri="{FF2B5EF4-FFF2-40B4-BE49-F238E27FC236}">
                <a16:creationId xmlns:a16="http://schemas.microsoft.com/office/drawing/2014/main" id="{9F50B442-010B-5F54-4DC4-C86FE80AE092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4549138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99949031-B22E-AA1C-EED8-1CB03BD65C03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851996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519A8DE-5D27-118F-DCF9-2A48373C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navigation">
            <a:extLst>
              <a:ext uri="{FF2B5EF4-FFF2-40B4-BE49-F238E27FC236}">
                <a16:creationId xmlns:a16="http://schemas.microsoft.com/office/drawing/2014/main" id="{3435F76F-05FA-0797-ECF7-8C6766ACF8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176759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6 : full page picture : 1 gradientextcircle : 2 oval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9629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full size">
            <a:extLst>
              <a:ext uri="{FF2B5EF4-FFF2-40B4-BE49-F238E27FC236}">
                <a16:creationId xmlns:a16="http://schemas.microsoft.com/office/drawing/2014/main" id="{940ECA07-E3D7-CFCA-C677-0BD690AD1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  <a:solidFill>
            <a:schemeClr val="bg1"/>
          </a:solidFill>
          <a:ln w="3175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82825752-3B68-DCA6-D70E-76EBF0465B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CC9A477D-5A61-55EA-5B62-A43CEB429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C779AB2A-12B9-D58C-7C6A-E4F2B83542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4" name="text oval right">
            <a:extLst>
              <a:ext uri="{FF2B5EF4-FFF2-40B4-BE49-F238E27FC236}">
                <a16:creationId xmlns:a16="http://schemas.microsoft.com/office/drawing/2014/main" id="{D77C710B-9746-E994-9BDC-7999D1E292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22495" y="2808000"/>
            <a:ext cx="4680000" cy="19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260000" bIns="0" rtlCol="0" anchor="ctr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0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0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0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0000"/>
              </a:lnSpc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11" name="text oval left">
            <a:extLst>
              <a:ext uri="{FF2B5EF4-FFF2-40B4-BE49-F238E27FC236}">
                <a16:creationId xmlns:a16="http://schemas.microsoft.com/office/drawing/2014/main" id="{A2CE80B2-8B9A-D0FB-C427-6D3137DAE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85495" y="2808000"/>
            <a:ext cx="4140000" cy="19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0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0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0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0000"/>
              </a:lnSpc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15" name="text circle">
            <a:extLst>
              <a:ext uri="{FF2B5EF4-FFF2-40B4-BE49-F238E27FC236}">
                <a16:creationId xmlns:a16="http://schemas.microsoft.com/office/drawing/2014/main" id="{3C8F43FB-572A-C67D-FEEB-4E1A842D7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31317" y="2628000"/>
            <a:ext cx="2340000" cy="234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2" name="logo placeholder">
            <a:extLst>
              <a:ext uri="{FF2B5EF4-FFF2-40B4-BE49-F238E27FC236}">
                <a16:creationId xmlns:a16="http://schemas.microsoft.com/office/drawing/2014/main" id="{D57049B8-749E-2B11-2F57-B8905BF5862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04138522-C695-4395-F275-BCB54A94B6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cxnSp>
        <p:nvCxnSpPr>
          <p:cNvPr id="12" name="connector">
            <a:extLst>
              <a:ext uri="{FF2B5EF4-FFF2-40B4-BE49-F238E27FC236}">
                <a16:creationId xmlns:a16="http://schemas.microsoft.com/office/drawing/2014/main" id="{F549B968-1A43-E541-5F5B-21B5103CEE9F}"/>
              </a:ext>
            </a:extLst>
          </p:cNvPr>
          <p:cNvCxnSpPr>
            <a:cxnSpLocks/>
          </p:cNvCxnSpPr>
          <p:nvPr/>
        </p:nvCxnSpPr>
        <p:spPr>
          <a:xfrm flipH="1" flipV="1">
            <a:off x="4371975" y="3797301"/>
            <a:ext cx="312738" cy="793"/>
          </a:xfrm>
          <a:prstGeom prst="line">
            <a:avLst/>
          </a:prstGeom>
          <a:ln w="127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49540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7 : full page picture : cit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831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">
            <a:extLst>
              <a:ext uri="{FF2B5EF4-FFF2-40B4-BE49-F238E27FC236}">
                <a16:creationId xmlns:a16="http://schemas.microsoft.com/office/drawing/2014/main" id="{940ECA07-E3D7-CFCA-C677-0BD690AD1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B7DF5438-CE54-DB76-7519-6B492C3531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F49D278-F4EF-105E-D394-837DBAD3E5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E6CEDB-A8CD-4A71-1981-445288A065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5" name="text box">
            <a:extLst>
              <a:ext uri="{FF2B5EF4-FFF2-40B4-BE49-F238E27FC236}">
                <a16:creationId xmlns:a16="http://schemas.microsoft.com/office/drawing/2014/main" id="{3C8F43FB-572A-C67D-FEEB-4E1A842D7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0" y="648000"/>
            <a:ext cx="4320000" cy="5688000"/>
          </a:xfrm>
          <a:prstGeom prst="roundRect">
            <a:avLst>
              <a:gd name="adj" fmla="val 1968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effectLst>
            <a:outerShdw blurRad="762000" dist="254000" dir="5400000" algn="ctr" rotWithShape="0">
              <a:schemeClr val="tx1">
                <a:alpha val="30000"/>
              </a:schemeClr>
            </a:outerShdw>
          </a:effectLst>
        </p:spPr>
        <p:txBody>
          <a:bodyPr lIns="540000" tIns="432000" rIns="540000" anchor="t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algn="ctr"/>
            <a:r>
              <a:rPr lang="de-DE" sz="3200" b="1">
                <a:solidFill>
                  <a:schemeClr val="bg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Mastertextformat bearbeiten</a:t>
            </a:r>
          </a:p>
        </p:txBody>
      </p:sp>
      <p:sp>
        <p:nvSpPr>
          <p:cNvPr id="26" name="quote sign">
            <a:extLst>
              <a:ext uri="{FF2B5EF4-FFF2-40B4-BE49-F238E27FC236}">
                <a16:creationId xmlns:a16="http://schemas.microsoft.com/office/drawing/2014/main" id="{C5A90AA4-840E-FD16-AF55-175C0E43A9A5}"/>
              </a:ext>
            </a:extLst>
          </p:cNvPr>
          <p:cNvSpPr/>
          <p:nvPr/>
        </p:nvSpPr>
        <p:spPr>
          <a:xfrm>
            <a:off x="2160000" y="927420"/>
            <a:ext cx="681460" cy="576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 below">
            <a:extLst>
              <a:ext uri="{FF2B5EF4-FFF2-40B4-BE49-F238E27FC236}">
                <a16:creationId xmlns:a16="http://schemas.microsoft.com/office/drawing/2014/main" id="{A2CE80B2-8B9A-D0FB-C427-6D3137DAE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86797" y="3429000"/>
            <a:ext cx="3204000" cy="2736849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t">
            <a:noAutofit/>
          </a:bodyPr>
          <a:lstStyle>
            <a:lvl1pPr>
              <a:defRPr lang="en-US" sz="1200" i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3pPr>
            <a:lvl4pPr>
              <a:defRPr lang="en-US" sz="1200" dirty="0">
                <a:solidFill>
                  <a:schemeClr val="bg1"/>
                </a:solidFill>
              </a:defRPr>
            </a:lvl4pPr>
            <a:lvl5pPr>
              <a:defRPr lang="en-US" sz="1600" dirty="0">
                <a:solidFill>
                  <a:schemeClr val="bg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0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0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0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0000"/>
              </a:lnSpc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2" name="logo placeholder">
            <a:extLst>
              <a:ext uri="{FF2B5EF4-FFF2-40B4-BE49-F238E27FC236}">
                <a16:creationId xmlns:a16="http://schemas.microsoft.com/office/drawing/2014/main" id="{F34A17B4-9EFA-E101-8CCF-87C31702833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0D8B8A8A-402D-C8A1-B168-F98BC5DD29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19005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7a : citiation large text :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085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full size">
            <a:extLst>
              <a:ext uri="{FF2B5EF4-FFF2-40B4-BE49-F238E27FC236}">
                <a16:creationId xmlns:a16="http://schemas.microsoft.com/office/drawing/2014/main" id="{23C638FC-BC3A-342E-0C98-F526F40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EDBA17E5-A876-6E6B-BBEE-4194613D4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">
            <a:extLst>
              <a:ext uri="{FF2B5EF4-FFF2-40B4-BE49-F238E27FC236}">
                <a16:creationId xmlns:a16="http://schemas.microsoft.com/office/drawing/2014/main" id="{FAA925A6-1C0D-E6FF-6BEF-B0D9DC0851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66863C84-EB36-E341-8913-58798A12DA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5" name="citiation right">
            <a:extLst>
              <a:ext uri="{FF2B5EF4-FFF2-40B4-BE49-F238E27FC236}">
                <a16:creationId xmlns:a16="http://schemas.microsoft.com/office/drawing/2014/main" id="{A4866143-830C-FF0D-2A28-1EC4A994D9BD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624455" y="1690469"/>
            <a:ext cx="4319999" cy="3979529"/>
          </a:xfrm>
          <a:prstGeom prst="roundRect">
            <a:avLst>
              <a:gd name="adj" fmla="val 134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792000" tIns="216000" rIns="792000" bIns="216000" anchor="ctr"/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10" name="quote sign">
            <a:extLst>
              <a:ext uri="{FF2B5EF4-FFF2-40B4-BE49-F238E27FC236}">
                <a16:creationId xmlns:a16="http://schemas.microsoft.com/office/drawing/2014/main" id="{D18DFA0B-61B2-AE97-4F3F-68EEA959D74B}"/>
              </a:ext>
            </a:extLst>
          </p:cNvPr>
          <p:cNvSpPr/>
          <p:nvPr/>
        </p:nvSpPr>
        <p:spPr>
          <a:xfrm>
            <a:off x="682294" y="1495240"/>
            <a:ext cx="1236994" cy="10466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citiation left">
            <a:extLst>
              <a:ext uri="{FF2B5EF4-FFF2-40B4-BE49-F238E27FC236}">
                <a16:creationId xmlns:a16="http://schemas.microsoft.com/office/drawing/2014/main" id="{A3635072-3A3F-1D94-8195-E86197AF679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539999" y="1799999"/>
            <a:ext cx="5580000" cy="3780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0" b="1" kern="1200" baseline="0" noProof="0" dirty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5400000" scaled="1"/>
                </a:gradFill>
                <a:latin typeface="Segoe UI Semibold" panose="020B0502040204020203" pitchFamily="34" charset="0"/>
                <a:ea typeface="Calibri" panose="020F0502020204030204" pitchFamily="34" charset="0"/>
                <a:cs typeface="Segoe UI Semibold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8AD8282-E041-B6A9-3DC9-7682010AF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11AA186C-0972-345D-F7FB-A611D12F0E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92686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8 : button : circle picture right : Icon :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97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">
            <a:extLst>
              <a:ext uri="{FF2B5EF4-FFF2-40B4-BE49-F238E27FC236}">
                <a16:creationId xmlns:a16="http://schemas.microsoft.com/office/drawing/2014/main" id="{0948C084-3C49-6E92-DCE7-1A0796F0D702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6712D566-0995-64A7-66F3-7FB1B2204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49076240-8AB9-3F65-C821-1D75377EA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4B85E798-6E3A-844A-0896-FCF20C1991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" name="picture freeform">
            <a:extLst>
              <a:ext uri="{FF2B5EF4-FFF2-40B4-BE49-F238E27FC236}">
                <a16:creationId xmlns:a16="http://schemas.microsoft.com/office/drawing/2014/main" id="{E77A569B-F732-9AEF-CC11-01CD2C0334C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circle 1">
            <a:extLst>
              <a:ext uri="{FF2B5EF4-FFF2-40B4-BE49-F238E27FC236}">
                <a16:creationId xmlns:a16="http://schemas.microsoft.com/office/drawing/2014/main" id="{BC785D15-73D4-9F44-D7D8-DE973EA0353F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164997" y="2633900"/>
            <a:ext cx="1620000" cy="162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Icon-placeholder 1">
            <a:extLst>
              <a:ext uri="{FF2B5EF4-FFF2-40B4-BE49-F238E27FC236}">
                <a16:creationId xmlns:a16="http://schemas.microsoft.com/office/drawing/2014/main" id="{08475AEA-7ACB-8822-C278-96007F06C2A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524997" y="2993900"/>
            <a:ext cx="900000" cy="90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link">
            <a:extLst>
              <a:ext uri="{FF2B5EF4-FFF2-40B4-BE49-F238E27FC236}">
                <a16:creationId xmlns:a16="http://schemas.microsoft.com/office/drawing/2014/main" id="{78CFD0F5-D130-0748-C27D-439E1A984A1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550863" y="3928094"/>
            <a:ext cx="1800000" cy="360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108000" tIns="0" rIns="108000" bIns="36000" rtlCol="0" anchor="ctr">
            <a:noAutofit/>
          </a:bodyPr>
          <a:lstStyle>
            <a:lvl1pPr>
              <a:defRPr lang="en-DE" sz="1200" cap="all" spc="4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49" name="subhead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2649538"/>
            <a:ext cx="5400000" cy="1080000"/>
          </a:xfrm>
          <a:noFill/>
        </p:spPr>
        <p:txBody>
          <a:bodyPr vert="horz" lIns="0" tIns="0" rIns="0" bIns="0" rtlCol="0">
            <a:noAutofit/>
          </a:bodyPr>
          <a:lstStyle>
            <a:lvl1pPr algn="l">
              <a:lnSpc>
                <a:spcPct val="100000"/>
              </a:lnSpc>
              <a:defRPr lang="en-US" sz="14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F5BB7C3B-9C68-9E36-993B-AE7ED29AE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0713"/>
            <a:ext cx="5400000" cy="1728787"/>
          </a:xfrm>
        </p:spPr>
        <p:txBody>
          <a:bodyPr vert="horz" anchor="b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264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0 : content : picture right 17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6238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right">
            <a:extLst>
              <a:ext uri="{FF2B5EF4-FFF2-40B4-BE49-F238E27FC236}">
                <a16:creationId xmlns:a16="http://schemas.microsoft.com/office/drawing/2014/main" id="{4EC65E8B-7999-AF44-0508-B3DDFC09561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20000" y="0"/>
            <a:ext cx="612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89" name="slide number">
            <a:extLst>
              <a:ext uri="{FF2B5EF4-FFF2-40B4-BE49-F238E27FC236}">
                <a16:creationId xmlns:a16="http://schemas.microsoft.com/office/drawing/2014/main" id="{4A9A79FA-B946-DC94-8CD4-F9781F90A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fld id="{3AB0EB1E-25C5-4740-9782-54CCC0C83B03}" type="slidenum">
              <a:rPr lang="en-US" smtClean="0"/>
              <a:t>‹#›</a:t>
            </a:fld>
            <a:endParaRPr lang="en-US"/>
          </a:p>
        </p:txBody>
      </p:sp>
      <p:sp>
        <p:nvSpPr>
          <p:cNvPr id="90" name="footer">
            <a:extLst>
              <a:ext uri="{FF2B5EF4-FFF2-40B4-BE49-F238E27FC236}">
                <a16:creationId xmlns:a16="http://schemas.microsoft.com/office/drawing/2014/main" id="{CF6B3373-7C3F-A77B-C0D2-AC7E92A6E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70749" y="6379200"/>
            <a:ext cx="4082389" cy="180000"/>
          </a:xfrm>
        </p:spPr>
        <p:txBody>
          <a:bodyPr/>
          <a:lstStyle/>
          <a:p>
            <a:r>
              <a:rPr lang="en-US"/>
              <a:t>valantic layout samples Route B</a:t>
            </a:r>
          </a:p>
        </p:txBody>
      </p:sp>
      <p:sp>
        <p:nvSpPr>
          <p:cNvPr id="91" name="date">
            <a:extLst>
              <a:ext uri="{FF2B5EF4-FFF2-40B4-BE49-F238E27FC236}">
                <a16:creationId xmlns:a16="http://schemas.microsoft.com/office/drawing/2014/main" id="{7D661A03-7125-BDF0-8272-47D38FA50B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0000" y="6379200"/>
            <a:ext cx="2160000" cy="180000"/>
          </a:xfrm>
        </p:spPr>
        <p:txBody>
          <a:bodyPr/>
          <a:lstStyle/>
          <a:p>
            <a:r>
              <a:rPr lang="de-DE"/>
              <a:t>23-09-13</a:t>
            </a:r>
            <a:endParaRPr lang="en-US"/>
          </a:p>
        </p:txBody>
      </p:sp>
      <p:sp>
        <p:nvSpPr>
          <p:cNvPr id="2" name="content">
            <a:extLst>
              <a:ext uri="{FF2B5EF4-FFF2-40B4-BE49-F238E27FC236}">
                <a16:creationId xmlns:a16="http://schemas.microsoft.com/office/drawing/2014/main" id="{705F9221-2C7B-794A-1A1F-B66C5F3FDC5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8" y="2628000"/>
            <a:ext cx="504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42B1C18-F605-0005-B448-E48E1BADD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540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2BCA0C52-1240-1F0B-D3D8-154CFEAF4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62785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9 : 60pt black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929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hape">
            <a:extLst>
              <a:ext uri="{FF2B5EF4-FFF2-40B4-BE49-F238E27FC236}">
                <a16:creationId xmlns:a16="http://schemas.microsoft.com/office/drawing/2014/main" id="{3A8A5451-BC54-CF66-45C7-1AAB95FB65A1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2F8D9B-DF69-555B-800C-8ADC4ADF18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C9D26DD4-C6C1-6BA0-335B-0C75BD8475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FCDC5009-F380-8E8C-EB3C-6FA6981D1B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D055392A-66DF-B5A8-490D-AAE53E075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0713"/>
            <a:ext cx="9649029" cy="5544287"/>
          </a:xfrm>
        </p:spPr>
        <p:txBody>
          <a:bodyPr vert="horz" anchor="ctr" anchorCtr="0"/>
          <a:lstStyle>
            <a:lvl1pPr>
              <a:lnSpc>
                <a:spcPct val="100000"/>
              </a:lnSpc>
              <a:defRPr lang="en-US" sz="6000" b="1" kern="1200" baseline="0" noProof="0" dirty="0">
                <a:solidFill>
                  <a:schemeClr val="tx1"/>
                </a:solidFill>
                <a:latin typeface="Segoe UI Semibold" panose="020B0502040204020203" pitchFamily="34" charset="0"/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01100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0 : picture full size : 60pt white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704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ll size picture">
            <a:extLst>
              <a:ext uri="{FF2B5EF4-FFF2-40B4-BE49-F238E27FC236}">
                <a16:creationId xmlns:a16="http://schemas.microsoft.com/office/drawing/2014/main" id="{7A7E08B6-BD3C-57EF-6FE8-694BE5ACAE7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/>
          </a:solidFill>
          <a:ln w="12692" cap="flat">
            <a:noFill/>
            <a:prstDash val="solid"/>
            <a:miter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9A7F2AB-CD90-A9B9-9856-54B2A40E7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62BD523D-7BC3-2DEF-3802-01ECC7DED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FC8A5331-6A12-6483-81EF-B3F6E6618A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D055392A-66DF-B5A8-490D-AAE53E075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41324"/>
            <a:ext cx="11088000" cy="5724525"/>
          </a:xfrm>
        </p:spPr>
        <p:txBody>
          <a:bodyPr vert="horz" anchor="b" anchorCtr="0"/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29525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1a : title page shape right :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331D037A-AEB6-6084-9329-05FC9DDD9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045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0" progId="TCLayout.ActiveDocument.1">
                  <p:embed/>
                </p:oleObj>
              </mc:Choice>
              <mc:Fallback>
                <p:oleObj name="think-cell Slide" r:id="rId3" imgW="501" imgH="50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331D037A-AEB6-6084-9329-05FC9DDD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">
            <a:extLst>
              <a:ext uri="{FF2B5EF4-FFF2-40B4-BE49-F238E27FC236}">
                <a16:creationId xmlns:a16="http://schemas.microsoft.com/office/drawing/2014/main" id="{4BB14D95-49AB-4529-5662-66D2A1B2685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6120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6120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2108200"/>
            <a:ext cx="6120000" cy="16718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ustomer logo">
            <a:extLst>
              <a:ext uri="{FF2B5EF4-FFF2-40B4-BE49-F238E27FC236}">
                <a16:creationId xmlns:a16="http://schemas.microsoft.com/office/drawing/2014/main" id="{F29030CF-FCFE-645A-2C3D-221138F146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6000" y="1479856"/>
            <a:ext cx="2124000" cy="468000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Optional </a:t>
            </a:r>
            <a:br>
              <a:rPr lang="de-DE"/>
            </a:br>
            <a:r>
              <a:rPr lang="de-DE"/>
              <a:t>CUSTOMER LOGO</a:t>
            </a:r>
            <a:endParaRPr lang="en-US"/>
          </a:p>
        </p:txBody>
      </p:sp>
      <p:pic>
        <p:nvPicPr>
          <p:cNvPr id="55" name="valantic logo">
            <a:extLst>
              <a:ext uri="{FF2B5EF4-FFF2-40B4-BE49-F238E27FC236}">
                <a16:creationId xmlns:a16="http://schemas.microsoft.com/office/drawing/2014/main" id="{F7AE2AE6-2DD6-B611-8273-3605A63BC1C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99731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2 : title page shape left 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331D037A-AEB6-6084-9329-05FC9DDD9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30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0" progId="TCLayout.ActiveDocument.1">
                  <p:embed/>
                </p:oleObj>
              </mc:Choice>
              <mc:Fallback>
                <p:oleObj name="think-cell Slide" r:id="rId3" imgW="501" imgH="50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331D037A-AEB6-6084-9329-05FC9DDD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">
            <a:extLst>
              <a:ext uri="{FF2B5EF4-FFF2-40B4-BE49-F238E27FC236}">
                <a16:creationId xmlns:a16="http://schemas.microsoft.com/office/drawing/2014/main" id="{AD6F41C9-4A93-32C8-6A07-1E2E6A0F1E71}"/>
              </a:ext>
            </a:extLst>
          </p:cNvPr>
          <p:cNvSpPr/>
          <p:nvPr/>
        </p:nvSpPr>
        <p:spPr>
          <a:xfrm>
            <a:off x="0" y="0"/>
            <a:ext cx="5447966" cy="5679440"/>
          </a:xfrm>
          <a:custGeom>
            <a:avLst/>
            <a:gdLst>
              <a:gd name="connsiteX0" fmla="*/ 0 w 5447966"/>
              <a:gd name="connsiteY0" fmla="*/ 5679440 h 5679440"/>
              <a:gd name="connsiteX1" fmla="*/ 1985010 w 5447966"/>
              <a:gd name="connsiteY1" fmla="*/ 4832350 h 5679440"/>
              <a:gd name="connsiteX2" fmla="*/ 5369560 w 5447966"/>
              <a:gd name="connsiteY2" fmla="*/ 1478280 h 5679440"/>
              <a:gd name="connsiteX3" fmla="*/ 5394960 w 5447966"/>
              <a:gd name="connsiteY3" fmla="*/ 0 h 5679440"/>
              <a:gd name="connsiteX4" fmla="*/ 0 w 5447966"/>
              <a:gd name="connsiteY4" fmla="*/ 0 h 5679440"/>
              <a:gd name="connsiteX5" fmla="*/ 0 w 5447966"/>
              <a:gd name="connsiteY5" fmla="*/ 5679440 h 5679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47966" h="5679440">
                <a:moveTo>
                  <a:pt x="0" y="5679440"/>
                </a:moveTo>
                <a:cubicBezTo>
                  <a:pt x="386080" y="5322570"/>
                  <a:pt x="1009650" y="5035550"/>
                  <a:pt x="1985010" y="4832350"/>
                </a:cubicBezTo>
                <a:cubicBezTo>
                  <a:pt x="3644900" y="4525010"/>
                  <a:pt x="5027930" y="3234690"/>
                  <a:pt x="5369560" y="1478280"/>
                </a:cubicBezTo>
                <a:cubicBezTo>
                  <a:pt x="5467350" y="976630"/>
                  <a:pt x="5471160" y="477520"/>
                  <a:pt x="5394960" y="0"/>
                </a:cubicBezTo>
                <a:lnTo>
                  <a:pt x="0" y="0"/>
                </a:lnTo>
                <a:lnTo>
                  <a:pt x="0" y="567944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9100" y="5220000"/>
            <a:ext cx="5305138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2238" y="3960000"/>
            <a:ext cx="5292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2238" y="1800000"/>
            <a:ext cx="5292000" cy="19800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picture">
            <a:extLst>
              <a:ext uri="{FF2B5EF4-FFF2-40B4-BE49-F238E27FC236}">
                <a16:creationId xmlns:a16="http://schemas.microsoft.com/office/drawing/2014/main" id="{CEA84F44-0235-7522-0E1C-89824049EB0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40000" y="1476000"/>
            <a:ext cx="4392000" cy="4392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7" name="valantic logo">
            <a:extLst>
              <a:ext uri="{FF2B5EF4-FFF2-40B4-BE49-F238E27FC236}">
                <a16:creationId xmlns:a16="http://schemas.microsoft.com/office/drawing/2014/main" id="{229F41A1-E67C-3D74-44C9-B4997EBD3AC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168552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14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3 : title page shape right :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331D037A-AEB6-6084-9329-05FC9DDD9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373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0" progId="TCLayout.ActiveDocument.1">
                  <p:embed/>
                </p:oleObj>
              </mc:Choice>
              <mc:Fallback>
                <p:oleObj name="think-cell Slide" r:id="rId3" imgW="501" imgH="50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331D037A-AEB6-6084-9329-05FC9DDD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">
            <a:extLst>
              <a:ext uri="{FF2B5EF4-FFF2-40B4-BE49-F238E27FC236}">
                <a16:creationId xmlns:a16="http://schemas.microsoft.com/office/drawing/2014/main" id="{13C4ED9C-0F15-4EBF-24ED-452F2FAAA345}"/>
              </a:ext>
            </a:extLst>
          </p:cNvPr>
          <p:cNvSpPr/>
          <p:nvPr/>
        </p:nvSpPr>
        <p:spPr>
          <a:xfrm>
            <a:off x="6240779" y="0"/>
            <a:ext cx="5951220" cy="6858000"/>
          </a:xfrm>
          <a:custGeom>
            <a:avLst/>
            <a:gdLst>
              <a:gd name="connsiteX0" fmla="*/ 4410710 w 5951220"/>
              <a:gd name="connsiteY0" fmla="*/ 2077720 h 6858000"/>
              <a:gd name="connsiteX1" fmla="*/ 4418330 w 5951220"/>
              <a:gd name="connsiteY1" fmla="*/ 2137410 h 6858000"/>
              <a:gd name="connsiteX2" fmla="*/ 4418330 w 5951220"/>
              <a:gd name="connsiteY2" fmla="*/ 2137410 h 6858000"/>
              <a:gd name="connsiteX3" fmla="*/ 3103880 w 5951220"/>
              <a:gd name="connsiteY3" fmla="*/ 3703320 h 6858000"/>
              <a:gd name="connsiteX4" fmla="*/ 3103880 w 5951220"/>
              <a:gd name="connsiteY4" fmla="*/ 3703320 h 6858000"/>
              <a:gd name="connsiteX5" fmla="*/ 0 w 5951220"/>
              <a:gd name="connsiteY5" fmla="*/ 6858000 h 6858000"/>
              <a:gd name="connsiteX6" fmla="*/ 5951220 w 5951220"/>
              <a:gd name="connsiteY6" fmla="*/ 6858000 h 6858000"/>
              <a:gd name="connsiteX7" fmla="*/ 5951220 w 5951220"/>
              <a:gd name="connsiteY7" fmla="*/ 0 h 6858000"/>
              <a:gd name="connsiteX8" fmla="*/ 4947920 w 5951220"/>
              <a:gd name="connsiteY8" fmla="*/ 0 h 6858000"/>
              <a:gd name="connsiteX9" fmla="*/ 4410710 w 5951220"/>
              <a:gd name="connsiteY9" fmla="*/ 20777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51220" h="6858000">
                <a:moveTo>
                  <a:pt x="4410710" y="2077720"/>
                </a:moveTo>
                <a:cubicBezTo>
                  <a:pt x="4413251" y="2098040"/>
                  <a:pt x="4415790" y="2117090"/>
                  <a:pt x="4418330" y="2137410"/>
                </a:cubicBezTo>
                <a:lnTo>
                  <a:pt x="4418330" y="2137410"/>
                </a:lnTo>
                <a:cubicBezTo>
                  <a:pt x="4540251" y="2990850"/>
                  <a:pt x="4259580" y="3456940"/>
                  <a:pt x="3103880" y="3703320"/>
                </a:cubicBezTo>
                <a:lnTo>
                  <a:pt x="3103880" y="3703320"/>
                </a:lnTo>
                <a:cubicBezTo>
                  <a:pt x="1507490" y="4041140"/>
                  <a:pt x="303530" y="5308600"/>
                  <a:pt x="0" y="6858000"/>
                </a:cubicBezTo>
                <a:lnTo>
                  <a:pt x="5951220" y="6858000"/>
                </a:lnTo>
                <a:lnTo>
                  <a:pt x="5951220" y="0"/>
                </a:lnTo>
                <a:lnTo>
                  <a:pt x="4947920" y="0"/>
                </a:lnTo>
                <a:cubicBezTo>
                  <a:pt x="4527551" y="579120"/>
                  <a:pt x="4316730" y="1311910"/>
                  <a:pt x="4410710" y="2077720"/>
                </a:cubicBez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47" name="picture">
            <a:extLst>
              <a:ext uri="{FF2B5EF4-FFF2-40B4-BE49-F238E27FC236}">
                <a16:creationId xmlns:a16="http://schemas.microsoft.com/office/drawing/2014/main" id="{4D41E0E2-1CE2-8D15-96F8-054C2EE83B0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084000" y="1512000"/>
            <a:ext cx="3960000" cy="396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5292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5292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1800000"/>
            <a:ext cx="5292000" cy="19800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valantic logo">
            <a:extLst>
              <a:ext uri="{FF2B5EF4-FFF2-40B4-BE49-F238E27FC236}">
                <a16:creationId xmlns:a16="http://schemas.microsoft.com/office/drawing/2014/main" id="{E8200BE0-EDC6-CB39-DA8C-60765B9CA79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42712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4 : divid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2846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">
            <a:extLst>
              <a:ext uri="{FF2B5EF4-FFF2-40B4-BE49-F238E27FC236}">
                <a16:creationId xmlns:a16="http://schemas.microsoft.com/office/drawing/2014/main" id="{91DFF449-D72F-DDBE-0BB0-4D8362D0D732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9E683A2-BFBA-78E2-EFF4-F23E8ACF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174BBD4C-7E24-6348-4F34-59081BDF91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B52345E1-CD1E-D49E-138C-5E5472A96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48" name="subhead">
            <a:extLst>
              <a:ext uri="{FF2B5EF4-FFF2-40B4-BE49-F238E27FC236}">
                <a16:creationId xmlns:a16="http://schemas.microsoft.com/office/drawing/2014/main" id="{0077CA06-319C-1757-577C-479DBCF8C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960000"/>
            <a:ext cx="8280000" cy="2025850"/>
          </a:xfr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20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3" name="divider title">
            <a:extLst>
              <a:ext uri="{FF2B5EF4-FFF2-40B4-BE49-F238E27FC236}">
                <a16:creationId xmlns:a16="http://schemas.microsoft.com/office/drawing/2014/main" id="{776D3A14-B2FD-F1C5-2103-0893E5BCE8D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9999" y="1476000"/>
            <a:ext cx="8279999" cy="2304000"/>
          </a:xfrm>
        </p:spPr>
        <p:txBody>
          <a:bodyPr anchor="b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3600" b="0" kern="1200" spc="0" baseline="0" smtClean="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4398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5 : divider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436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">
            <a:extLst>
              <a:ext uri="{FF2B5EF4-FFF2-40B4-BE49-F238E27FC236}">
                <a16:creationId xmlns:a16="http://schemas.microsoft.com/office/drawing/2014/main" id="{4F872331-0C1C-6CEC-F8B3-B6873CFEB938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1204BDC-B53F-866C-E006-7747A3EAC7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07BA8968-D70C-9A3A-45ED-C7A9292CB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DD043EB8-D7A3-B72D-10FA-90C0F1116F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picture freeform">
            <a:extLst>
              <a:ext uri="{FF2B5EF4-FFF2-40B4-BE49-F238E27FC236}">
                <a16:creationId xmlns:a16="http://schemas.microsoft.com/office/drawing/2014/main" id="{1434E581-EF0A-42F8-0436-AF47C2A2118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8" name="subhead">
            <a:extLst>
              <a:ext uri="{FF2B5EF4-FFF2-40B4-BE49-F238E27FC236}">
                <a16:creationId xmlns:a16="http://schemas.microsoft.com/office/drawing/2014/main" id="{0077CA06-319C-1757-577C-479DBCF8C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960000"/>
            <a:ext cx="6120000" cy="2025850"/>
          </a:xfr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20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7" name="divider title">
            <a:extLst>
              <a:ext uri="{FF2B5EF4-FFF2-40B4-BE49-F238E27FC236}">
                <a16:creationId xmlns:a16="http://schemas.microsoft.com/office/drawing/2014/main" id="{7027E245-FD12-05E9-6D4F-9152F88853B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9999" y="1476000"/>
            <a:ext cx="6120000" cy="2304000"/>
          </a:xfrm>
        </p:spPr>
        <p:txBody>
          <a:bodyPr anchor="b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3600" b="0" kern="1200" spc="0" baseline="0" smtClean="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4296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6 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435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">
            <a:extLst>
              <a:ext uri="{FF2B5EF4-FFF2-40B4-BE49-F238E27FC236}">
                <a16:creationId xmlns:a16="http://schemas.microsoft.com/office/drawing/2014/main" id="{49B57F66-1E25-BEF2-2840-BC348302B416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33DE3DD-35F4-0544-EA20-8DFF76354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">
            <a:extLst>
              <a:ext uri="{FF2B5EF4-FFF2-40B4-BE49-F238E27FC236}">
                <a16:creationId xmlns:a16="http://schemas.microsoft.com/office/drawing/2014/main" id="{26C97F54-C050-02E2-007C-884C1343F6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BF5DF564-1583-214B-1FF2-64660F623A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97E6113D-8276-DBCB-BE23-99275743B1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79999" y="2545091"/>
            <a:ext cx="6840000" cy="3600000"/>
          </a:xfrm>
        </p:spPr>
        <p:txBody>
          <a:bodyPr/>
          <a:lstStyle>
            <a:lvl1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pc="4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z="1600">
                <a:solidFill>
                  <a:schemeClr val="accent1"/>
                </a:solidFill>
              </a:defRPr>
            </a:lvl3pPr>
            <a:lvl4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tabLst>
                <a:tab pos="355600" algn="l"/>
              </a:tabLst>
              <a:defRPr cap="all" spc="100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solidFill>
                  <a:srgbClr val="FF4B4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8AB546F2-9484-3FC2-840F-D7D025E677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999" y="1476000"/>
            <a:ext cx="6840000" cy="468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60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82217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7 : agenda : pictur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294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">
            <a:extLst>
              <a:ext uri="{FF2B5EF4-FFF2-40B4-BE49-F238E27FC236}">
                <a16:creationId xmlns:a16="http://schemas.microsoft.com/office/drawing/2014/main" id="{6B444FF9-115C-9C62-5C32-301544072D6A}"/>
              </a:ext>
            </a:extLst>
          </p:cNvPr>
          <p:cNvSpPr/>
          <p:nvPr/>
        </p:nvSpPr>
        <p:spPr>
          <a:xfrm>
            <a:off x="8123268" y="0"/>
            <a:ext cx="4068731" cy="6858000"/>
          </a:xfrm>
          <a:custGeom>
            <a:avLst/>
            <a:gdLst>
              <a:gd name="connsiteX0" fmla="*/ 4068732 w 4068731"/>
              <a:gd name="connsiteY0" fmla="*/ 0 h 6858000"/>
              <a:gd name="connsiteX1" fmla="*/ 2749202 w 4068731"/>
              <a:gd name="connsiteY1" fmla="*/ 0 h 6858000"/>
              <a:gd name="connsiteX2" fmla="*/ 1453802 w 4068731"/>
              <a:gd name="connsiteY2" fmla="*/ 2786380 h 6858000"/>
              <a:gd name="connsiteX3" fmla="*/ 8542 w 4068731"/>
              <a:gd name="connsiteY3" fmla="*/ 4671060 h 6858000"/>
              <a:gd name="connsiteX4" fmla="*/ 1255682 w 4068731"/>
              <a:gd name="connsiteY4" fmla="*/ 6858000 h 6858000"/>
              <a:gd name="connsiteX5" fmla="*/ 4068732 w 4068731"/>
              <a:gd name="connsiteY5" fmla="*/ 6858000 h 6858000"/>
              <a:gd name="connsiteX6" fmla="*/ 4068732 w 406873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8731" h="6858000">
                <a:moveTo>
                  <a:pt x="4068732" y="0"/>
                </a:moveTo>
                <a:lnTo>
                  <a:pt x="2749202" y="0"/>
                </a:lnTo>
                <a:cubicBezTo>
                  <a:pt x="3295302" y="1083310"/>
                  <a:pt x="3080672" y="2165350"/>
                  <a:pt x="1453802" y="2786380"/>
                </a:cubicBezTo>
                <a:cubicBezTo>
                  <a:pt x="672752" y="3072130"/>
                  <a:pt x="86012" y="3787140"/>
                  <a:pt x="8542" y="4671060"/>
                </a:cubicBezTo>
                <a:cubicBezTo>
                  <a:pt x="-74008" y="5614670"/>
                  <a:pt x="449232" y="6471920"/>
                  <a:pt x="1255682" y="6858000"/>
                </a:cubicBezTo>
                <a:lnTo>
                  <a:pt x="4068732" y="6858000"/>
                </a:lnTo>
                <a:lnTo>
                  <a:pt x="4068732" y="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39AAC393-1463-1EC1-A82F-F996DE84D3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04FEFFCF-D04D-6B27-6B35-E98D792BAF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02DD2C31-BDC2-85A3-B24D-5CBC4747A8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88" name="picture">
            <a:extLst>
              <a:ext uri="{FF2B5EF4-FFF2-40B4-BE49-F238E27FC236}">
                <a16:creationId xmlns:a16="http://schemas.microsoft.com/office/drawing/2014/main" id="{CCDA154D-FA0F-7258-D1D3-FF4ACED7D2CB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331943" y="874713"/>
            <a:ext cx="3960000" cy="3960000"/>
          </a:xfrm>
          <a:prstGeom prst="flowChartConnector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E2B67AC-FFA9-F8F8-FF22-3F6E55E16A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79999" y="2545091"/>
            <a:ext cx="5040000" cy="3600000"/>
          </a:xfrm>
        </p:spPr>
        <p:txBody>
          <a:bodyPr/>
          <a:lstStyle>
            <a:lvl1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pc="4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z="1600">
                <a:solidFill>
                  <a:schemeClr val="accent1"/>
                </a:solidFill>
              </a:defRPr>
            </a:lvl3pPr>
            <a:lvl4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tabLst>
                <a:tab pos="355600" algn="l"/>
              </a:tabLst>
              <a:defRPr cap="all" spc="100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solidFill>
                  <a:srgbClr val="FF4B4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C88E0FE-794B-A3A2-B2FE-AEC80F80F1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999" y="1476000"/>
            <a:ext cx="5040000" cy="468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600" dirty="0"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92105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8 : endpage : contacts 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289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">
            <a:extLst>
              <a:ext uri="{FF2B5EF4-FFF2-40B4-BE49-F238E27FC236}">
                <a16:creationId xmlns:a16="http://schemas.microsoft.com/office/drawing/2014/main" id="{DEB7BC1F-A79B-AA66-7970-3BCA12F439D4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A4CF64D-F9BF-7921-7E12-A28AA812D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D54F34F2-1FD1-16F8-9498-18294A40D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8D24AD69-2ABC-1FC7-650C-97853CAEC9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" name="picture freeform">
            <a:extLst>
              <a:ext uri="{FF2B5EF4-FFF2-40B4-BE49-F238E27FC236}">
                <a16:creationId xmlns:a16="http://schemas.microsoft.com/office/drawing/2014/main" id="{06D95D9A-7ABF-0C99-E0D3-6102DCF5C76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subhead">
            <a:extLst>
              <a:ext uri="{FF2B5EF4-FFF2-40B4-BE49-F238E27FC236}">
                <a16:creationId xmlns:a16="http://schemas.microsoft.com/office/drawing/2014/main" id="{F67A6F1F-133D-4546-591C-CB2926538A9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91943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head">
            <a:extLst>
              <a:ext uri="{FF2B5EF4-FFF2-40B4-BE49-F238E27FC236}">
                <a16:creationId xmlns:a16="http://schemas.microsoft.com/office/drawing/2014/main" id="{AB8E8C71-0420-F71A-7AA1-4542827B232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729715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subhead">
            <a:extLst>
              <a:ext uri="{FF2B5EF4-FFF2-40B4-BE49-F238E27FC236}">
                <a16:creationId xmlns:a16="http://schemas.microsoft.com/office/drawing/2014/main" id="{40687540-1D0B-FE54-D00D-FEC7240B1C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7" name="title">
            <a:extLst>
              <a:ext uri="{FF2B5EF4-FFF2-40B4-BE49-F238E27FC236}">
                <a16:creationId xmlns:a16="http://schemas.microsoft.com/office/drawing/2014/main" id="{2B2872E1-DDB4-35E2-92B5-17EB99D5218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40000" y="612000"/>
            <a:ext cx="9252000" cy="2520000"/>
          </a:xfrm>
        </p:spPr>
        <p:txBody>
          <a:bodyPr anchor="b"/>
          <a:lstStyle>
            <a:lvl1pPr marL="0" indent="0">
              <a:lnSpc>
                <a:spcPts val="6200"/>
              </a:lnSpc>
              <a:buNone/>
              <a:defRPr sz="60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86398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1 : content : picture right 11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075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right 11cm">
            <a:extLst>
              <a:ext uri="{FF2B5EF4-FFF2-40B4-BE49-F238E27FC236}">
                <a16:creationId xmlns:a16="http://schemas.microsoft.com/office/drawing/2014/main" id="{BA5DD37E-79B5-4F36-AAD5-9CFEC62428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8000"/>
            <a:ext cx="720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5DB48FB-A4EC-78AE-12A2-F3231AD823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257245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9 : team : 8 pictures : 8 names +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15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slide number">
            <a:extLst>
              <a:ext uri="{FF2B5EF4-FFF2-40B4-BE49-F238E27FC236}">
                <a16:creationId xmlns:a16="http://schemas.microsoft.com/office/drawing/2014/main" id="{BFE64E29-7CD5-4375-8CC6-67F88FF8C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footer">
            <a:extLst>
              <a:ext uri="{FF2B5EF4-FFF2-40B4-BE49-F238E27FC236}">
                <a16:creationId xmlns:a16="http://schemas.microsoft.com/office/drawing/2014/main" id="{47FF2C98-89C2-049B-2264-7381416C86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46" name="date">
            <a:extLst>
              <a:ext uri="{FF2B5EF4-FFF2-40B4-BE49-F238E27FC236}">
                <a16:creationId xmlns:a16="http://schemas.microsoft.com/office/drawing/2014/main" id="{E5D7A60A-319A-B603-01C5-CB1B6D2575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0" name="shadow 8">
            <a:extLst>
              <a:ext uri="{FF2B5EF4-FFF2-40B4-BE49-F238E27FC236}">
                <a16:creationId xmlns:a16="http://schemas.microsoft.com/office/drawing/2014/main" id="{80DCE6D2-E964-BCC1-4BF3-80619AB6B22F}"/>
              </a:ext>
            </a:extLst>
          </p:cNvPr>
          <p:cNvSpPr txBox="1">
            <a:spLocks/>
          </p:cNvSpPr>
          <p:nvPr/>
        </p:nvSpPr>
        <p:spPr>
          <a:xfrm>
            <a:off x="9115977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1" name="role 8">
            <a:extLst>
              <a:ext uri="{FF2B5EF4-FFF2-40B4-BE49-F238E27FC236}">
                <a16:creationId xmlns:a16="http://schemas.microsoft.com/office/drawing/2014/main" id="{302AB1C0-479A-FBFB-9955-F8FEBE62F170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9115977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2" name="name 8">
            <a:extLst>
              <a:ext uri="{FF2B5EF4-FFF2-40B4-BE49-F238E27FC236}">
                <a16:creationId xmlns:a16="http://schemas.microsoft.com/office/drawing/2014/main" id="{94859EF9-9A41-580A-9F10-2BACF1F685FE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9115977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picture 8">
            <a:extLst>
              <a:ext uri="{FF2B5EF4-FFF2-40B4-BE49-F238E27FC236}">
                <a16:creationId xmlns:a16="http://schemas.microsoft.com/office/drawing/2014/main" id="{B89B0E8D-0A4E-D9BD-4E96-1C86F054B41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115977" y="3924000"/>
            <a:ext cx="2520000" cy="1260000"/>
          </a:xfrm>
          <a:prstGeom prst="round2SameRect">
            <a:avLst>
              <a:gd name="adj1" fmla="val 79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34" name="shadow 7">
            <a:extLst>
              <a:ext uri="{FF2B5EF4-FFF2-40B4-BE49-F238E27FC236}">
                <a16:creationId xmlns:a16="http://schemas.microsoft.com/office/drawing/2014/main" id="{F24DE4CC-0AAA-063C-4C90-B27ADB47A96D}"/>
              </a:ext>
            </a:extLst>
          </p:cNvPr>
          <p:cNvSpPr txBox="1">
            <a:spLocks/>
          </p:cNvSpPr>
          <p:nvPr/>
        </p:nvSpPr>
        <p:spPr>
          <a:xfrm>
            <a:off x="6257318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5" name="role 7">
            <a:extLst>
              <a:ext uri="{FF2B5EF4-FFF2-40B4-BE49-F238E27FC236}">
                <a16:creationId xmlns:a16="http://schemas.microsoft.com/office/drawing/2014/main" id="{5F4DB279-E952-57B0-ABF3-55F96BC5C067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6257318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6" name="name 7">
            <a:extLst>
              <a:ext uri="{FF2B5EF4-FFF2-40B4-BE49-F238E27FC236}">
                <a16:creationId xmlns:a16="http://schemas.microsoft.com/office/drawing/2014/main" id="{10CF9B7A-17B4-319D-3918-781E07C7378D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6257318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picture 7">
            <a:extLst>
              <a:ext uri="{FF2B5EF4-FFF2-40B4-BE49-F238E27FC236}">
                <a16:creationId xmlns:a16="http://schemas.microsoft.com/office/drawing/2014/main" id="{14AEB7DA-4524-FB65-6503-ECFEC6AED7B2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257318" y="3924000"/>
            <a:ext cx="2520000" cy="1260000"/>
          </a:xfrm>
          <a:prstGeom prst="round2SameRect">
            <a:avLst>
              <a:gd name="adj1" fmla="val 96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38" name="shadow 6">
            <a:extLst>
              <a:ext uri="{FF2B5EF4-FFF2-40B4-BE49-F238E27FC236}">
                <a16:creationId xmlns:a16="http://schemas.microsoft.com/office/drawing/2014/main" id="{1733417B-E0AE-9BBA-7D9C-996AE8AE58DB}"/>
              </a:ext>
            </a:extLst>
          </p:cNvPr>
          <p:cNvSpPr txBox="1">
            <a:spLocks/>
          </p:cNvSpPr>
          <p:nvPr/>
        </p:nvSpPr>
        <p:spPr>
          <a:xfrm>
            <a:off x="3398659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9" name="role 6">
            <a:extLst>
              <a:ext uri="{FF2B5EF4-FFF2-40B4-BE49-F238E27FC236}">
                <a16:creationId xmlns:a16="http://schemas.microsoft.com/office/drawing/2014/main" id="{203BD5BF-8449-0025-8A80-DDE84CE07B14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398659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0" name="name 6">
            <a:extLst>
              <a:ext uri="{FF2B5EF4-FFF2-40B4-BE49-F238E27FC236}">
                <a16:creationId xmlns:a16="http://schemas.microsoft.com/office/drawing/2014/main" id="{ACECDBA1-8A88-7944-D598-139FE427F701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3398659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picture 6">
            <a:extLst>
              <a:ext uri="{FF2B5EF4-FFF2-40B4-BE49-F238E27FC236}">
                <a16:creationId xmlns:a16="http://schemas.microsoft.com/office/drawing/2014/main" id="{BB0E6A62-187F-C4B5-1FEE-76C73BEAEBB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398659" y="3924000"/>
            <a:ext cx="2520000" cy="1260000"/>
          </a:xfrm>
          <a:prstGeom prst="round2SameRect">
            <a:avLst>
              <a:gd name="adj1" fmla="val 6840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2" name="shadow 5">
            <a:extLst>
              <a:ext uri="{FF2B5EF4-FFF2-40B4-BE49-F238E27FC236}">
                <a16:creationId xmlns:a16="http://schemas.microsoft.com/office/drawing/2014/main" id="{B6A9C31B-FBD2-CB40-31B7-68A888EC6157}"/>
              </a:ext>
            </a:extLst>
          </p:cNvPr>
          <p:cNvSpPr txBox="1">
            <a:spLocks/>
          </p:cNvSpPr>
          <p:nvPr/>
        </p:nvSpPr>
        <p:spPr>
          <a:xfrm>
            <a:off x="540000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43" name="role 5">
            <a:extLst>
              <a:ext uri="{FF2B5EF4-FFF2-40B4-BE49-F238E27FC236}">
                <a16:creationId xmlns:a16="http://schemas.microsoft.com/office/drawing/2014/main" id="{D5C6B1F8-8A43-2891-A841-B8196814AE91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540000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4" name="name 5">
            <a:extLst>
              <a:ext uri="{FF2B5EF4-FFF2-40B4-BE49-F238E27FC236}">
                <a16:creationId xmlns:a16="http://schemas.microsoft.com/office/drawing/2014/main" id="{C43C94EF-9938-02E0-25BA-5684E24AE185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540000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picture 5">
            <a:extLst>
              <a:ext uri="{FF2B5EF4-FFF2-40B4-BE49-F238E27FC236}">
                <a16:creationId xmlns:a16="http://schemas.microsoft.com/office/drawing/2014/main" id="{373AD45E-C08B-9E21-191C-6D7AE722762E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40000" y="3924000"/>
            <a:ext cx="2520000" cy="1260000"/>
          </a:xfrm>
          <a:prstGeom prst="round2SameRect">
            <a:avLst>
              <a:gd name="adj1" fmla="val 62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6" name="shadow 4">
            <a:extLst>
              <a:ext uri="{FF2B5EF4-FFF2-40B4-BE49-F238E27FC236}">
                <a16:creationId xmlns:a16="http://schemas.microsoft.com/office/drawing/2014/main" id="{FA17BC66-5A11-4B6D-A49E-B4C21ED32335}"/>
              </a:ext>
            </a:extLst>
          </p:cNvPr>
          <p:cNvSpPr txBox="1">
            <a:spLocks/>
          </p:cNvSpPr>
          <p:nvPr/>
        </p:nvSpPr>
        <p:spPr>
          <a:xfrm>
            <a:off x="9115977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8" name="role 4">
            <a:extLst>
              <a:ext uri="{FF2B5EF4-FFF2-40B4-BE49-F238E27FC236}">
                <a16:creationId xmlns:a16="http://schemas.microsoft.com/office/drawing/2014/main" id="{1C2FB319-5890-BA63-6178-46B4E15CC6B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9115977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0BF8F20A-36F1-9E35-92E4-4231E9BCA137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9115977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picture 4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15977" y="1466475"/>
            <a:ext cx="2520000" cy="1260000"/>
          </a:xfrm>
          <a:prstGeom prst="round2SameRect">
            <a:avLst>
              <a:gd name="adj1" fmla="val 79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5" name="shadow 3">
            <a:extLst>
              <a:ext uri="{FF2B5EF4-FFF2-40B4-BE49-F238E27FC236}">
                <a16:creationId xmlns:a16="http://schemas.microsoft.com/office/drawing/2014/main" id="{7563E26F-7B5C-BADA-F273-3229870C38C0}"/>
              </a:ext>
            </a:extLst>
          </p:cNvPr>
          <p:cNvSpPr txBox="1">
            <a:spLocks/>
          </p:cNvSpPr>
          <p:nvPr/>
        </p:nvSpPr>
        <p:spPr>
          <a:xfrm>
            <a:off x="6257318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6" name="role 3">
            <a:extLst>
              <a:ext uri="{FF2B5EF4-FFF2-40B4-BE49-F238E27FC236}">
                <a16:creationId xmlns:a16="http://schemas.microsoft.com/office/drawing/2014/main" id="{B033DFCB-CBEB-03FF-0E21-D4A348D757BE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257318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5" name="name 3">
            <a:extLst>
              <a:ext uri="{FF2B5EF4-FFF2-40B4-BE49-F238E27FC236}">
                <a16:creationId xmlns:a16="http://schemas.microsoft.com/office/drawing/2014/main" id="{5340354E-C2CE-F1A0-1324-B12089FC1EF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57318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cture 3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57318" y="1466475"/>
            <a:ext cx="2520000" cy="1260000"/>
          </a:xfrm>
          <a:prstGeom prst="round2SameRect">
            <a:avLst>
              <a:gd name="adj1" fmla="val 96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1" name="shadow 2">
            <a:extLst>
              <a:ext uri="{FF2B5EF4-FFF2-40B4-BE49-F238E27FC236}">
                <a16:creationId xmlns:a16="http://schemas.microsoft.com/office/drawing/2014/main" id="{3C9B4B1F-8CFB-03B9-8122-CEB6303D9EF6}"/>
              </a:ext>
            </a:extLst>
          </p:cNvPr>
          <p:cNvSpPr txBox="1">
            <a:spLocks/>
          </p:cNvSpPr>
          <p:nvPr/>
        </p:nvSpPr>
        <p:spPr>
          <a:xfrm>
            <a:off x="3398659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2" name="role 2">
            <a:extLst>
              <a:ext uri="{FF2B5EF4-FFF2-40B4-BE49-F238E27FC236}">
                <a16:creationId xmlns:a16="http://schemas.microsoft.com/office/drawing/2014/main" id="{6A83C635-5C0F-6FD4-9E16-8447B102CB65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398659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1" name="name 2">
            <a:extLst>
              <a:ext uri="{FF2B5EF4-FFF2-40B4-BE49-F238E27FC236}">
                <a16:creationId xmlns:a16="http://schemas.microsoft.com/office/drawing/2014/main" id="{C918C1F2-8374-4EF1-70F3-0489E4D2FDD9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398659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picture 2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98659" y="1466475"/>
            <a:ext cx="2520000" cy="1260000"/>
          </a:xfrm>
          <a:prstGeom prst="round2SameRect">
            <a:avLst>
              <a:gd name="adj1" fmla="val 6840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3" name="shadow 1">
            <a:extLst>
              <a:ext uri="{FF2B5EF4-FFF2-40B4-BE49-F238E27FC236}">
                <a16:creationId xmlns:a16="http://schemas.microsoft.com/office/drawing/2014/main" id="{2F2350D9-E49F-93C7-DB07-2759AC33BE01}"/>
              </a:ext>
            </a:extLst>
          </p:cNvPr>
          <p:cNvSpPr txBox="1">
            <a:spLocks/>
          </p:cNvSpPr>
          <p:nvPr/>
        </p:nvSpPr>
        <p:spPr>
          <a:xfrm>
            <a:off x="540000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19" name="role 1">
            <a:extLst>
              <a:ext uri="{FF2B5EF4-FFF2-40B4-BE49-F238E27FC236}">
                <a16:creationId xmlns:a16="http://schemas.microsoft.com/office/drawing/2014/main" id="{90DF335A-A9AE-D9DB-0BAF-E0C176A8BD4F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540000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18" name="name 1">
            <a:extLst>
              <a:ext uri="{FF2B5EF4-FFF2-40B4-BE49-F238E27FC236}">
                <a16:creationId xmlns:a16="http://schemas.microsoft.com/office/drawing/2014/main" id="{26D9C5D7-7E8C-31A1-71FF-876D8770D1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6D4F5E74-E4BC-26A1-6B3C-B594169526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0000" y="1466475"/>
            <a:ext cx="2520000" cy="1260000"/>
          </a:xfrm>
          <a:prstGeom prst="round2SameRect">
            <a:avLst>
              <a:gd name="adj1" fmla="val 62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3754094-CFF9-5176-ADA0-C7C302BF1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navigation">
            <a:extLst>
              <a:ext uri="{FF2B5EF4-FFF2-40B4-BE49-F238E27FC236}">
                <a16:creationId xmlns:a16="http://schemas.microsoft.com/office/drawing/2014/main" id="{75F76F83-6FC3-B42E-212E-DBFA812FBD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02025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0 : team : 3 pictures : 3 names and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767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">
            <a:extLst>
              <a:ext uri="{FF2B5EF4-FFF2-40B4-BE49-F238E27FC236}">
                <a16:creationId xmlns:a16="http://schemas.microsoft.com/office/drawing/2014/main" id="{FE8AD4AF-536E-EE81-A96B-29B63B21116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93" name="subhead">
            <a:extLst>
              <a:ext uri="{FF2B5EF4-FFF2-40B4-BE49-F238E27FC236}">
                <a16:creationId xmlns:a16="http://schemas.microsoft.com/office/drawing/2014/main" id="{A621FD8A-0372-D7B0-7589-D502248B585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796825" y="1800000"/>
            <a:ext cx="2592000" cy="436585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7" name="text 3">
            <a:extLst>
              <a:ext uri="{FF2B5EF4-FFF2-40B4-BE49-F238E27FC236}">
                <a16:creationId xmlns:a16="http://schemas.microsoft.com/office/drawing/2014/main" id="{03D9F645-BD61-312D-FDBA-3F63F457F0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96825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3">
            <a:extLst>
              <a:ext uri="{FF2B5EF4-FFF2-40B4-BE49-F238E27FC236}">
                <a16:creationId xmlns:a16="http://schemas.microsoft.com/office/drawing/2014/main" id="{9FF70640-2E25-EBCF-C164-4D8776EDCC0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797600" y="1800000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92" name="subhead">
            <a:extLst>
              <a:ext uri="{FF2B5EF4-FFF2-40B4-BE49-F238E27FC236}">
                <a16:creationId xmlns:a16="http://schemas.microsoft.com/office/drawing/2014/main" id="{0C79B4B6-AEFC-E24C-2B7C-4FE3BD9C9C77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4798412" y="1800000"/>
            <a:ext cx="2592000" cy="4365850"/>
          </a:xfrm>
          <a:prstGeom prst="roundRect">
            <a:avLst>
              <a:gd name="adj" fmla="val 699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id="{AE529241-D4E7-89E7-5EA8-61F00FC649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8412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2">
            <a:extLst>
              <a:ext uri="{FF2B5EF4-FFF2-40B4-BE49-F238E27FC236}">
                <a16:creationId xmlns:a16="http://schemas.microsoft.com/office/drawing/2014/main" id="{55B5AD6C-F5DC-9656-D99B-A67A0B7E50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800073" y="1800000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9" name="subhead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0" y="1800000"/>
            <a:ext cx="2592000" cy="4365850"/>
          </a:xfrm>
          <a:prstGeom prst="roundRect">
            <a:avLst>
              <a:gd name="adj" fmla="val 5284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907A54C3-A2FF-A59E-41B3-23D2F7C1E59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800000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picture 1">
            <a:extLst>
              <a:ext uri="{FF2B5EF4-FFF2-40B4-BE49-F238E27FC236}">
                <a16:creationId xmlns:a16="http://schemas.microsoft.com/office/drawing/2014/main" id="{48BC97E5-F4FC-CFC7-7C93-504C59D7A2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800000" y="1800000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8732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1 : 3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460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">
            <a:extLst>
              <a:ext uri="{FF2B5EF4-FFF2-40B4-BE49-F238E27FC236}">
                <a16:creationId xmlns:a16="http://schemas.microsoft.com/office/drawing/2014/main" id="{32D5FD21-24FD-155A-3ADD-74927C6B098A}"/>
              </a:ext>
            </a:extLst>
          </p:cNvPr>
          <p:cNvSpPr/>
          <p:nvPr/>
        </p:nvSpPr>
        <p:spPr>
          <a:xfrm>
            <a:off x="4581342" y="0"/>
            <a:ext cx="7611926" cy="6859269"/>
          </a:xfrm>
          <a:custGeom>
            <a:avLst/>
            <a:gdLst>
              <a:gd name="connsiteX0" fmla="*/ 2412547 w 7611926"/>
              <a:gd name="connsiteY0" fmla="*/ 2053590 h 6859269"/>
              <a:gd name="connsiteX1" fmla="*/ 268787 w 7611926"/>
              <a:gd name="connsiteY1" fmla="*/ 3267710 h 6859269"/>
              <a:gd name="connsiteX2" fmla="*/ 1217477 w 7611926"/>
              <a:gd name="connsiteY2" fmla="*/ 6369050 h 6859269"/>
              <a:gd name="connsiteX3" fmla="*/ 1354637 w 7611926"/>
              <a:gd name="connsiteY3" fmla="*/ 6436360 h 6859269"/>
              <a:gd name="connsiteX4" fmla="*/ 1909627 w 7611926"/>
              <a:gd name="connsiteY4" fmla="*/ 6859270 h 6859269"/>
              <a:gd name="connsiteX5" fmla="*/ 7611927 w 7611926"/>
              <a:gd name="connsiteY5" fmla="*/ 6859270 h 6859269"/>
              <a:gd name="connsiteX6" fmla="*/ 7611927 w 7611926"/>
              <a:gd name="connsiteY6" fmla="*/ 0 h 6859269"/>
              <a:gd name="connsiteX7" fmla="*/ 4783638 w 7611926"/>
              <a:gd name="connsiteY7" fmla="*/ 0 h 6859269"/>
              <a:gd name="connsiteX8" fmla="*/ 2412547 w 7611926"/>
              <a:gd name="connsiteY8" fmla="*/ 2053590 h 6859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11926" h="6859269">
                <a:moveTo>
                  <a:pt x="2412547" y="2053590"/>
                </a:moveTo>
                <a:cubicBezTo>
                  <a:pt x="1551487" y="2009140"/>
                  <a:pt x="700587" y="2454910"/>
                  <a:pt x="268787" y="3267710"/>
                </a:cubicBezTo>
                <a:cubicBezTo>
                  <a:pt x="-325573" y="4385310"/>
                  <a:pt x="98607" y="5774690"/>
                  <a:pt x="1217477" y="6369050"/>
                </a:cubicBezTo>
                <a:cubicBezTo>
                  <a:pt x="1263197" y="6393180"/>
                  <a:pt x="1308917" y="6416040"/>
                  <a:pt x="1354637" y="6436360"/>
                </a:cubicBezTo>
                <a:cubicBezTo>
                  <a:pt x="1642927" y="6565900"/>
                  <a:pt x="1821997" y="6703060"/>
                  <a:pt x="1909627" y="6859270"/>
                </a:cubicBezTo>
                <a:lnTo>
                  <a:pt x="7611927" y="6859270"/>
                </a:lnTo>
                <a:lnTo>
                  <a:pt x="7611927" y="0"/>
                </a:lnTo>
                <a:lnTo>
                  <a:pt x="4783638" y="0"/>
                </a:lnTo>
                <a:cubicBezTo>
                  <a:pt x="4831897" y="1214120"/>
                  <a:pt x="4177847" y="2118360"/>
                  <a:pt x="2412547" y="2053590"/>
                </a:cubicBez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255EC9-22C8-4873-6389-D880A370A1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6AC4CF78-E9FE-A7F7-A653-874905B45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A82CFE0-C725-9B9E-D77B-2B402604C5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93" name="subhead">
            <a:extLst>
              <a:ext uri="{FF2B5EF4-FFF2-40B4-BE49-F238E27FC236}">
                <a16:creationId xmlns:a16="http://schemas.microsoft.com/office/drawing/2014/main" id="{A621FD8A-0372-D7B0-7589-D502248B585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796825" y="1800000"/>
            <a:ext cx="2592000" cy="3600000"/>
          </a:xfrm>
          <a:prstGeom prst="roundRect">
            <a:avLst>
              <a:gd name="adj" fmla="val 2528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2" name="subhead">
            <a:extLst>
              <a:ext uri="{FF2B5EF4-FFF2-40B4-BE49-F238E27FC236}">
                <a16:creationId xmlns:a16="http://schemas.microsoft.com/office/drawing/2014/main" id="{0C79B4B6-AEFC-E24C-2B7C-4FE3BD9C9C77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4800073" y="1800000"/>
            <a:ext cx="2592000" cy="3600000"/>
          </a:xfrm>
          <a:prstGeom prst="roundRect">
            <a:avLst>
              <a:gd name="adj" fmla="val 2803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subhead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0" y="1800000"/>
            <a:ext cx="2592000" cy="3600000"/>
          </a:xfrm>
          <a:prstGeom prst="roundRect">
            <a:avLst>
              <a:gd name="adj" fmla="val 262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F01231DD-94D3-CA6C-C315-67E844A25D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26618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2 : endpage :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95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">
            <a:extLst>
              <a:ext uri="{FF2B5EF4-FFF2-40B4-BE49-F238E27FC236}">
                <a16:creationId xmlns:a16="http://schemas.microsoft.com/office/drawing/2014/main" id="{1A6CF203-18B4-1496-271C-29A7721D6A2C}"/>
              </a:ext>
            </a:extLst>
          </p:cNvPr>
          <p:cNvSpPr/>
          <p:nvPr/>
        </p:nvSpPr>
        <p:spPr>
          <a:xfrm>
            <a:off x="3798950" y="0"/>
            <a:ext cx="8393049" cy="6858000"/>
          </a:xfrm>
          <a:custGeom>
            <a:avLst/>
            <a:gdLst>
              <a:gd name="connsiteX0" fmla="*/ 8393049 w 8393049"/>
              <a:gd name="connsiteY0" fmla="*/ 0 h 6858000"/>
              <a:gd name="connsiteX1" fmla="*/ 31369 w 8393049"/>
              <a:gd name="connsiteY1" fmla="*/ 0 h 6858000"/>
              <a:gd name="connsiteX2" fmla="*/ 88519 w 8393049"/>
              <a:gd name="connsiteY2" fmla="*/ 1135380 h 6858000"/>
              <a:gd name="connsiteX3" fmla="*/ 3645790 w 8393049"/>
              <a:gd name="connsiteY3" fmla="*/ 3272790 h 6858000"/>
              <a:gd name="connsiteX4" fmla="*/ 3702940 w 8393049"/>
              <a:gd name="connsiteY4" fmla="*/ 3257550 h 6858000"/>
              <a:gd name="connsiteX5" fmla="*/ 3702940 w 8393049"/>
              <a:gd name="connsiteY5" fmla="*/ 3257550 h 6858000"/>
              <a:gd name="connsiteX6" fmla="*/ 5418709 w 8393049"/>
              <a:gd name="connsiteY6" fmla="*/ 4372610 h 6858000"/>
              <a:gd name="connsiteX7" fmla="*/ 5418709 w 8393049"/>
              <a:gd name="connsiteY7" fmla="*/ 4372610 h 6858000"/>
              <a:gd name="connsiteX8" fmla="*/ 7896480 w 8393049"/>
              <a:gd name="connsiteY8" fmla="*/ 6858000 h 6858000"/>
              <a:gd name="connsiteX9" fmla="*/ 8393049 w 8393049"/>
              <a:gd name="connsiteY9" fmla="*/ 6858000 h 6858000"/>
              <a:gd name="connsiteX10" fmla="*/ 8393049 w 8393049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93049" h="6858000">
                <a:moveTo>
                  <a:pt x="8393049" y="0"/>
                </a:moveTo>
                <a:lnTo>
                  <a:pt x="31369" y="0"/>
                </a:lnTo>
                <a:cubicBezTo>
                  <a:pt x="-23241" y="368300"/>
                  <a:pt x="-8001" y="751840"/>
                  <a:pt x="88519" y="1135380"/>
                </a:cubicBezTo>
                <a:cubicBezTo>
                  <a:pt x="480949" y="2707640"/>
                  <a:pt x="2073529" y="3665220"/>
                  <a:pt x="3645790" y="3272790"/>
                </a:cubicBezTo>
                <a:cubicBezTo>
                  <a:pt x="3664840" y="3267710"/>
                  <a:pt x="3683890" y="3262630"/>
                  <a:pt x="3702940" y="3257550"/>
                </a:cubicBezTo>
                <a:lnTo>
                  <a:pt x="3702940" y="3257550"/>
                </a:lnTo>
                <a:cubicBezTo>
                  <a:pt x="4536059" y="3031490"/>
                  <a:pt x="5032630" y="3253740"/>
                  <a:pt x="5418709" y="4372610"/>
                </a:cubicBezTo>
                <a:lnTo>
                  <a:pt x="5418709" y="4372610"/>
                </a:lnTo>
                <a:cubicBezTo>
                  <a:pt x="5830190" y="5568950"/>
                  <a:pt x="6764909" y="6463030"/>
                  <a:pt x="7896480" y="6858000"/>
                </a:cubicBezTo>
                <a:lnTo>
                  <a:pt x="8393049" y="6858000"/>
                </a:lnTo>
                <a:lnTo>
                  <a:pt x="8393049" y="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FBACB6C-E538-315B-836C-5747BC433D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">
            <a:extLst>
              <a:ext uri="{FF2B5EF4-FFF2-40B4-BE49-F238E27FC236}">
                <a16:creationId xmlns:a16="http://schemas.microsoft.com/office/drawing/2014/main" id="{CB867239-D2B4-D5DB-1E8A-708333F2D8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A908DC11-E6F3-54CF-0E9D-2ADE4513C7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" name="subhead">
            <a:extLst>
              <a:ext uri="{FF2B5EF4-FFF2-40B4-BE49-F238E27FC236}">
                <a16:creationId xmlns:a16="http://schemas.microsoft.com/office/drawing/2014/main" id="{18752286-8B19-A943-85AE-D8EA1849943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91943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subhead">
            <a:extLst>
              <a:ext uri="{FF2B5EF4-FFF2-40B4-BE49-F238E27FC236}">
                <a16:creationId xmlns:a16="http://schemas.microsoft.com/office/drawing/2014/main" id="{EF9134AD-568F-4F44-0401-0B190068466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729715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subhead">
            <a:extLst>
              <a:ext uri="{FF2B5EF4-FFF2-40B4-BE49-F238E27FC236}">
                <a16:creationId xmlns:a16="http://schemas.microsoft.com/office/drawing/2014/main" id="{9BE9AB25-3402-897C-7102-5B25952D6A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7" name="title">
            <a:extLst>
              <a:ext uri="{FF2B5EF4-FFF2-40B4-BE49-F238E27FC236}">
                <a16:creationId xmlns:a16="http://schemas.microsoft.com/office/drawing/2014/main" id="{2B2872E1-DDB4-35E2-92B5-17EB99D5218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40000" y="612000"/>
            <a:ext cx="9264442" cy="2520000"/>
          </a:xfrm>
        </p:spPr>
        <p:txBody>
          <a:bodyPr anchor="b"/>
          <a:lstStyle>
            <a:lvl1pPr marL="0" indent="0">
              <a:lnSpc>
                <a:spcPts val="6200"/>
              </a:lnSpc>
              <a:buNone/>
              <a:defRPr sz="60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51531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3 : charts :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38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">
            <a:extLst>
              <a:ext uri="{FF2B5EF4-FFF2-40B4-BE49-F238E27FC236}">
                <a16:creationId xmlns:a16="http://schemas.microsoft.com/office/drawing/2014/main" id="{688A3A3C-99F9-487B-04BA-FA57885E12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6DB165A5-68B8-291B-D798-CAA2C6BBE7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DC2CA374-E8F0-3BDB-CB50-843061A344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9" name="source">
            <a:extLst>
              <a:ext uri="{FF2B5EF4-FFF2-40B4-BE49-F238E27FC236}">
                <a16:creationId xmlns:a16="http://schemas.microsoft.com/office/drawing/2014/main" id="{380974C9-7D7B-8C1A-9F87-EA6BDB8230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11088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chart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40000" y="1980000"/>
            <a:ext cx="11088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8" name="subhead">
            <a:extLst>
              <a:ext uri="{FF2B5EF4-FFF2-40B4-BE49-F238E27FC236}">
                <a16:creationId xmlns:a16="http://schemas.microsoft.com/office/drawing/2014/main" id="{7D5BF9EC-E9BE-BF48-E481-75AD0C1CD72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11088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ECEB4CCD-2B1D-5D99-AC60-C3021070E1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176933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4 : chart : source : text right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38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2A126047-B70F-3141-A815-5AC336300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22BFF765-11BB-622F-4A94-6869F898C3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0658784C-EE44-2DC9-FB72-BD13217E8A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9" name="source">
            <a:extLst>
              <a:ext uri="{FF2B5EF4-FFF2-40B4-BE49-F238E27FC236}">
                <a16:creationId xmlns:a16="http://schemas.microsoft.com/office/drawing/2014/main" id="{D90B879A-93CD-B442-149F-7B0388FD51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79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subhead right">
            <a:extLst>
              <a:ext uri="{FF2B5EF4-FFF2-40B4-BE49-F238E27FC236}">
                <a16:creationId xmlns:a16="http://schemas.microsoft.com/office/drawing/2014/main" id="{84CE48BC-4FA2-332D-3105-E3074773CB0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761138" y="1476374"/>
            <a:ext cx="2880000" cy="4680000"/>
          </a:xfrm>
          <a:prstGeom prst="roundRect">
            <a:avLst>
              <a:gd name="adj" fmla="val 160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2" name="chart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7920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8" name="subhead">
            <a:extLst>
              <a:ext uri="{FF2B5EF4-FFF2-40B4-BE49-F238E27FC236}">
                <a16:creationId xmlns:a16="http://schemas.microsoft.com/office/drawing/2014/main" id="{5A5BAEAC-8E7A-8141-E458-2176ADC3AC6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79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D1D3AAC1-019B-3D54-13D0-E9D277726B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289439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5 : 2 contents : 2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250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0C228924-2025-FA28-F6C3-720684A594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">
            <a:extLst>
              <a:ext uri="{FF2B5EF4-FFF2-40B4-BE49-F238E27FC236}">
                <a16:creationId xmlns:a16="http://schemas.microsoft.com/office/drawing/2014/main" id="{33CBFEB7-3604-4892-9978-66F71997C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3387D89F-E43A-C557-7E6E-058A971C2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4" name="source">
            <a:extLst>
              <a:ext uri="{FF2B5EF4-FFF2-40B4-BE49-F238E27FC236}">
                <a16:creationId xmlns:a16="http://schemas.microsoft.com/office/drawing/2014/main" id="{6218AEF4-928C-FA23-F100-1F1CFF88F156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6419111" y="5832000"/>
            <a:ext cx="521975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980000"/>
            <a:ext cx="5219751" cy="37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subhead 2">
            <a:extLst>
              <a:ext uri="{FF2B5EF4-FFF2-40B4-BE49-F238E27FC236}">
                <a16:creationId xmlns:a16="http://schemas.microsoft.com/office/drawing/2014/main" id="{6B8C3375-A80B-8796-0867-330B7711A119}"/>
              </a:ext>
            </a:extLst>
          </p:cNvPr>
          <p:cNvSpPr>
            <a:spLocks noGrp="1"/>
          </p:cNvSpPr>
          <p:nvPr>
            <p:ph sz="quarter" idx="44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source">
            <a:extLst>
              <a:ext uri="{FF2B5EF4-FFF2-40B4-BE49-F238E27FC236}">
                <a16:creationId xmlns:a16="http://schemas.microsoft.com/office/drawing/2014/main" id="{24DD49C3-D958-C385-9D8F-840036F3D6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521975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980000"/>
            <a:ext cx="5219750" cy="37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subhead 1">
            <a:extLst>
              <a:ext uri="{FF2B5EF4-FFF2-40B4-BE49-F238E27FC236}">
                <a16:creationId xmlns:a16="http://schemas.microsoft.com/office/drawing/2014/main" id="{6F1344B3-4025-1B1E-863A-CBC337D97961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4398E4B6-E061-30A1-7C94-588FAD6EFB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9417166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6 : 2 charts : text below :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632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">
            <a:extLst>
              <a:ext uri="{FF2B5EF4-FFF2-40B4-BE49-F238E27FC236}">
                <a16:creationId xmlns:a16="http://schemas.microsoft.com/office/drawing/2014/main" id="{E8A5C00E-9A87-E833-0861-D9E0C57CC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9D6F948D-BA14-8090-CD0B-E51B9B0504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30449CEB-9D1C-3D81-9CDB-CAF6104AD4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E39D6657-4DC5-C359-80D5-8C8730DCE88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21138" y="4689474"/>
            <a:ext cx="5220000" cy="1476375"/>
          </a:xfrm>
        </p:spPr>
        <p:txBody>
          <a:bodyPr tIns="72000" rIns="1080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lang="en-US" sz="1200" b="0" kern="1200" spc="40" baseline="0" noProof="0" dirty="0">
                <a:solidFill>
                  <a:schemeClr val="accent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source">
            <a:extLst>
              <a:ext uri="{FF2B5EF4-FFF2-40B4-BE49-F238E27FC236}">
                <a16:creationId xmlns:a16="http://schemas.microsoft.com/office/drawing/2014/main" id="{96A0952C-D2E6-392C-2041-9DBC361E7B67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6422400" y="4140000"/>
            <a:ext cx="521975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chart 2">
            <a:extLst>
              <a:ext uri="{FF2B5EF4-FFF2-40B4-BE49-F238E27FC236}">
                <a16:creationId xmlns:a16="http://schemas.microsoft.com/office/drawing/2014/main" id="{6223D905-14B7-CD1D-9172-1A5C8B458D4A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6421138" y="1980000"/>
            <a:ext cx="5220000" cy="216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6" name="subhead 2">
            <a:extLst>
              <a:ext uri="{FF2B5EF4-FFF2-40B4-BE49-F238E27FC236}">
                <a16:creationId xmlns:a16="http://schemas.microsoft.com/office/drawing/2014/main" id="{16E071D3-2976-8631-7AFB-E8B5162E5B7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text 1">
            <a:extLst>
              <a:ext uri="{FF2B5EF4-FFF2-40B4-BE49-F238E27FC236}">
                <a16:creationId xmlns:a16="http://schemas.microsoft.com/office/drawing/2014/main" id="{17DF5F79-59B2-9513-10F3-ECC1CBB9431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39750" y="4689474"/>
            <a:ext cx="5220000" cy="1476375"/>
          </a:xfrm>
        </p:spPr>
        <p:txBody>
          <a:bodyPr tIns="72000" rIns="1080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lang="en-US" sz="1200" b="0" kern="1200" spc="40" baseline="0" noProof="0" dirty="0">
                <a:solidFill>
                  <a:schemeClr val="accent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source">
            <a:extLst>
              <a:ext uri="{FF2B5EF4-FFF2-40B4-BE49-F238E27FC236}">
                <a16:creationId xmlns:a16="http://schemas.microsoft.com/office/drawing/2014/main" id="{51D263A4-0858-9597-BB45-EBA33CBC8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4140000"/>
            <a:ext cx="521975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chart 1">
            <a:extLst>
              <a:ext uri="{FF2B5EF4-FFF2-40B4-BE49-F238E27FC236}">
                <a16:creationId xmlns:a16="http://schemas.microsoft.com/office/drawing/2014/main" id="{7353C665-B8B9-7C83-82BA-3D87366A6A39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5220000" cy="216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23" name="subhead 1">
            <a:extLst>
              <a:ext uri="{FF2B5EF4-FFF2-40B4-BE49-F238E27FC236}">
                <a16:creationId xmlns:a16="http://schemas.microsoft.com/office/drawing/2014/main" id="{9F7ABEBB-4BEF-E80C-958E-D6B99A425F6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9127F8A9-5E27-D86C-3B03-51BCB3CA32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835446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7 : 3 charts : 3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350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>
            <a:extLst>
              <a:ext uri="{FF2B5EF4-FFF2-40B4-BE49-F238E27FC236}">
                <a16:creationId xmlns:a16="http://schemas.microsoft.com/office/drawing/2014/main" id="{E4863F31-810B-72F2-2844-7B8728681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1E4FBF7F-356B-B16C-9401-FFC6D9241E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8C850D5E-2A93-576A-70B5-811E43A558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4" name="source 3">
            <a:extLst>
              <a:ext uri="{FF2B5EF4-FFF2-40B4-BE49-F238E27FC236}">
                <a16:creationId xmlns:a16="http://schemas.microsoft.com/office/drawing/2014/main" id="{BABFA57E-C26B-6441-2916-2FFC606DBF31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8208000" y="5832000"/>
            <a:ext cx="3420000" cy="324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3" name="chart 3">
            <a:extLst>
              <a:ext uri="{FF2B5EF4-FFF2-40B4-BE49-F238E27FC236}">
                <a16:creationId xmlns:a16="http://schemas.microsoft.com/office/drawing/2014/main" id="{E6E1982C-F4E0-463E-837B-F95FDE60CD91}"/>
              </a:ext>
            </a:extLst>
          </p:cNvPr>
          <p:cNvSpPr>
            <a:spLocks noGrp="1"/>
          </p:cNvSpPr>
          <p:nvPr>
            <p:ph type="chart" sz="quarter" idx="45"/>
          </p:nvPr>
        </p:nvSpPr>
        <p:spPr>
          <a:xfrm>
            <a:off x="8208000" y="1980000"/>
            <a:ext cx="3420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0" name="subhead 3">
            <a:extLst>
              <a:ext uri="{FF2B5EF4-FFF2-40B4-BE49-F238E27FC236}">
                <a16:creationId xmlns:a16="http://schemas.microsoft.com/office/drawing/2014/main" id="{5FD95769-7D9A-22A3-E703-721E42B6905A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8208000" y="1475999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source 2">
            <a:extLst>
              <a:ext uri="{FF2B5EF4-FFF2-40B4-BE49-F238E27FC236}">
                <a16:creationId xmlns:a16="http://schemas.microsoft.com/office/drawing/2014/main" id="{8074E840-B84A-2781-C141-E8D84BB91E4B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4373875" y="5832000"/>
            <a:ext cx="3420000" cy="324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2" name="chart 2">
            <a:extLst>
              <a:ext uri="{FF2B5EF4-FFF2-40B4-BE49-F238E27FC236}">
                <a16:creationId xmlns:a16="http://schemas.microsoft.com/office/drawing/2014/main" id="{E2856504-6871-5A34-BC9D-4FDE561DEFEE}"/>
              </a:ext>
            </a:extLst>
          </p:cNvPr>
          <p:cNvSpPr>
            <a:spLocks noGrp="1"/>
          </p:cNvSpPr>
          <p:nvPr>
            <p:ph type="chart" sz="quarter" idx="44"/>
          </p:nvPr>
        </p:nvSpPr>
        <p:spPr>
          <a:xfrm>
            <a:off x="4373875" y="1980000"/>
            <a:ext cx="3420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9" name="subhead 2">
            <a:extLst>
              <a:ext uri="{FF2B5EF4-FFF2-40B4-BE49-F238E27FC236}">
                <a16:creationId xmlns:a16="http://schemas.microsoft.com/office/drawing/2014/main" id="{44185BE8-DF02-ADC4-2C3F-598824C24D1F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4373875" y="1475999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source 1">
            <a:extLst>
              <a:ext uri="{FF2B5EF4-FFF2-40B4-BE49-F238E27FC236}">
                <a16:creationId xmlns:a16="http://schemas.microsoft.com/office/drawing/2014/main" id="{6FD5BD2B-F446-5098-A6B3-1B0DF2978EE1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39750" y="5832000"/>
            <a:ext cx="3420000" cy="324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2" name="chart 1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3420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8" name="subhead 1">
            <a:extLst>
              <a:ext uri="{FF2B5EF4-FFF2-40B4-BE49-F238E27FC236}">
                <a16:creationId xmlns:a16="http://schemas.microsoft.com/office/drawing/2014/main" id="{7FD3290A-7031-7770-9646-817B4C73918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5" name="navigation">
            <a:extLst>
              <a:ext uri="{FF2B5EF4-FFF2-40B4-BE49-F238E27FC236}">
                <a16:creationId xmlns:a16="http://schemas.microsoft.com/office/drawing/2014/main" id="{5723AB1E-88FF-0368-9F04-4970BB9F4E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256675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8 : 4 charts : 4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3678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">
            <a:extLst>
              <a:ext uri="{FF2B5EF4-FFF2-40B4-BE49-F238E27FC236}">
                <a16:creationId xmlns:a16="http://schemas.microsoft.com/office/drawing/2014/main" id="{DEDE709E-20F8-05AF-7753-EAA002BC95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96B30112-9CF5-86C9-45BC-6E3B484D6C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2" name="date">
            <a:extLst>
              <a:ext uri="{FF2B5EF4-FFF2-40B4-BE49-F238E27FC236}">
                <a16:creationId xmlns:a16="http://schemas.microsoft.com/office/drawing/2014/main" id="{C6DA2335-AD62-A43C-4223-EC6BB5E3C0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1" name="source 4">
            <a:extLst>
              <a:ext uri="{FF2B5EF4-FFF2-40B4-BE49-F238E27FC236}">
                <a16:creationId xmlns:a16="http://schemas.microsoft.com/office/drawing/2014/main" id="{8074E840-B84A-2781-C141-E8D84BB91E4B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421138" y="5832000"/>
            <a:ext cx="5219750" cy="324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6" name="chart 4">
            <a:extLst>
              <a:ext uri="{FF2B5EF4-FFF2-40B4-BE49-F238E27FC236}">
                <a16:creationId xmlns:a16="http://schemas.microsoft.com/office/drawing/2014/main" id="{48A1718F-E6A1-2D1D-F320-0C14AC215E7A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6421138" y="4472764"/>
            <a:ext cx="5220000" cy="12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2" name="subhead 4">
            <a:extLst>
              <a:ext uri="{FF2B5EF4-FFF2-40B4-BE49-F238E27FC236}">
                <a16:creationId xmlns:a16="http://schemas.microsoft.com/office/drawing/2014/main" id="{E45627C3-1ABD-0953-C61A-51AA4E2122C1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6419111" y="3960000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6" name="source 3">
            <a:extLst>
              <a:ext uri="{FF2B5EF4-FFF2-40B4-BE49-F238E27FC236}">
                <a16:creationId xmlns:a16="http://schemas.microsoft.com/office/drawing/2014/main" id="{6FD5BD2B-F446-5098-A6B3-1B0DF2978EE1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40000" y="5832000"/>
            <a:ext cx="5219750" cy="324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8" name="chart 3">
            <a:extLst>
              <a:ext uri="{FF2B5EF4-FFF2-40B4-BE49-F238E27FC236}">
                <a16:creationId xmlns:a16="http://schemas.microsoft.com/office/drawing/2014/main" id="{41B73787-9571-1692-E61E-A393F7C9A595}"/>
              </a:ext>
            </a:extLst>
          </p:cNvPr>
          <p:cNvSpPr>
            <a:spLocks noGrp="1"/>
          </p:cNvSpPr>
          <p:nvPr>
            <p:ph type="chart" sz="quarter" idx="47"/>
          </p:nvPr>
        </p:nvSpPr>
        <p:spPr>
          <a:xfrm>
            <a:off x="539750" y="4472764"/>
            <a:ext cx="5220000" cy="12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3" name="subhead 3">
            <a:extLst>
              <a:ext uri="{FF2B5EF4-FFF2-40B4-BE49-F238E27FC236}">
                <a16:creationId xmlns:a16="http://schemas.microsoft.com/office/drawing/2014/main" id="{F80DDD01-36FB-F470-E150-873B903A3323}"/>
              </a:ext>
            </a:extLst>
          </p:cNvPr>
          <p:cNvSpPr>
            <a:spLocks noGrp="1"/>
          </p:cNvSpPr>
          <p:nvPr>
            <p:ph sz="quarter" idx="49"/>
          </p:nvPr>
        </p:nvSpPr>
        <p:spPr>
          <a:xfrm>
            <a:off x="540000" y="3960000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ource 2">
            <a:extLst>
              <a:ext uri="{FF2B5EF4-FFF2-40B4-BE49-F238E27FC236}">
                <a16:creationId xmlns:a16="http://schemas.microsoft.com/office/drawing/2014/main" id="{68E37CDA-3260-4E68-05BF-C9019DA6301A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6421138" y="3348000"/>
            <a:ext cx="5219750" cy="324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8" name="chart 2">
            <a:extLst>
              <a:ext uri="{FF2B5EF4-FFF2-40B4-BE49-F238E27FC236}">
                <a16:creationId xmlns:a16="http://schemas.microsoft.com/office/drawing/2014/main" id="{5D00C4C4-21BC-E403-5F96-529ED4036FC3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6421138" y="1989138"/>
            <a:ext cx="5220000" cy="12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9" name="subhead 2">
            <a:extLst>
              <a:ext uri="{FF2B5EF4-FFF2-40B4-BE49-F238E27FC236}">
                <a16:creationId xmlns:a16="http://schemas.microsoft.com/office/drawing/2014/main" id="{858F21A3-1754-7E4B-BF80-EAFA3BAD0A9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source 1">
            <a:extLst>
              <a:ext uri="{FF2B5EF4-FFF2-40B4-BE49-F238E27FC236}">
                <a16:creationId xmlns:a16="http://schemas.microsoft.com/office/drawing/2014/main" id="{5B60FFDD-783E-4EE9-72B9-056E60C15987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540000" y="3348000"/>
            <a:ext cx="5219750" cy="324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2" name="chart 1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9138"/>
            <a:ext cx="5220000" cy="12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0" name="subhead 1">
            <a:extLst>
              <a:ext uri="{FF2B5EF4-FFF2-40B4-BE49-F238E27FC236}">
                <a16:creationId xmlns:a16="http://schemas.microsoft.com/office/drawing/2014/main" id="{6648AFFC-B560-7A8C-6FD2-C5BD8D57A44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9" name="navigation">
            <a:extLst>
              <a:ext uri="{FF2B5EF4-FFF2-40B4-BE49-F238E27FC236}">
                <a16:creationId xmlns:a16="http://schemas.microsoft.com/office/drawing/2014/main" id="{FEA9236D-7F0A-4788-C95A-50AAFFD75C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949570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12 : 4 colored rows Icons : picture right 11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604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right 11cm">
            <a:extLst>
              <a:ext uri="{FF2B5EF4-FFF2-40B4-BE49-F238E27FC236}">
                <a16:creationId xmlns:a16="http://schemas.microsoft.com/office/drawing/2014/main" id="{88020849-41A9-AE9F-6BFC-C5EFB01C1A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0" name="freeshape 4">
            <a:extLst>
              <a:ext uri="{FF2B5EF4-FFF2-40B4-BE49-F238E27FC236}">
                <a16:creationId xmlns:a16="http://schemas.microsoft.com/office/drawing/2014/main" id="{33BCC3FB-2FA5-F650-2105-F194E41771DE}"/>
              </a:ext>
            </a:extLst>
          </p:cNvPr>
          <p:cNvSpPr/>
          <p:nvPr/>
        </p:nvSpPr>
        <p:spPr>
          <a:xfrm>
            <a:off x="2049812" y="4833000"/>
            <a:ext cx="5184000" cy="648000"/>
          </a:xfrm>
          <a:custGeom>
            <a:avLst/>
            <a:gdLst>
              <a:gd name="connsiteX0" fmla="*/ 324000 w 5184000"/>
              <a:gd name="connsiteY0" fmla="*/ 0 h 648000"/>
              <a:gd name="connsiteX1" fmla="*/ 4860000 w 5184000"/>
              <a:gd name="connsiteY1" fmla="*/ 0 h 648000"/>
              <a:gd name="connsiteX2" fmla="*/ 5184000 w 5184000"/>
              <a:gd name="connsiteY2" fmla="*/ 324000 h 648000"/>
              <a:gd name="connsiteX3" fmla="*/ 4860000 w 5184000"/>
              <a:gd name="connsiteY3" fmla="*/ 648000 h 648000"/>
              <a:gd name="connsiteX4" fmla="*/ 324000 w 5184000"/>
              <a:gd name="connsiteY4" fmla="*/ 648000 h 648000"/>
              <a:gd name="connsiteX5" fmla="*/ 0 w 5184000"/>
              <a:gd name="connsiteY5" fmla="*/ 324000 h 648000"/>
              <a:gd name="connsiteX6" fmla="*/ 324000 w 5184000"/>
              <a:gd name="connsiteY6" fmla="*/ 0 h 648000"/>
              <a:gd name="connsiteX7" fmla="*/ 330105 w 5184000"/>
              <a:gd name="connsiteY7" fmla="*/ 56922 h 648000"/>
              <a:gd name="connsiteX8" fmla="*/ 60105 w 5184000"/>
              <a:gd name="connsiteY8" fmla="*/ 326922 h 648000"/>
              <a:gd name="connsiteX9" fmla="*/ 330105 w 5184000"/>
              <a:gd name="connsiteY9" fmla="*/ 596922 h 648000"/>
              <a:gd name="connsiteX10" fmla="*/ 600105 w 5184000"/>
              <a:gd name="connsiteY10" fmla="*/ 326922 h 648000"/>
              <a:gd name="connsiteX11" fmla="*/ 330105 w 5184000"/>
              <a:gd name="connsiteY11" fmla="*/ 56922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84000" h="648000">
                <a:moveTo>
                  <a:pt x="324000" y="0"/>
                </a:moveTo>
                <a:lnTo>
                  <a:pt x="4860000" y="0"/>
                </a:lnTo>
                <a:cubicBezTo>
                  <a:pt x="5038940" y="0"/>
                  <a:pt x="5184000" y="145060"/>
                  <a:pt x="5184000" y="324000"/>
                </a:cubicBezTo>
                <a:cubicBezTo>
                  <a:pt x="5184000" y="502940"/>
                  <a:pt x="5038940" y="648000"/>
                  <a:pt x="4860000" y="648000"/>
                </a:cubicBezTo>
                <a:lnTo>
                  <a:pt x="324000" y="648000"/>
                </a:lnTo>
                <a:cubicBezTo>
                  <a:pt x="145060" y="648000"/>
                  <a:pt x="0" y="502940"/>
                  <a:pt x="0" y="324000"/>
                </a:cubicBezTo>
                <a:cubicBezTo>
                  <a:pt x="0" y="145060"/>
                  <a:pt x="145060" y="0"/>
                  <a:pt x="324000" y="0"/>
                </a:cubicBezTo>
                <a:close/>
                <a:moveTo>
                  <a:pt x="330105" y="56922"/>
                </a:moveTo>
                <a:cubicBezTo>
                  <a:pt x="180988" y="56922"/>
                  <a:pt x="60105" y="177805"/>
                  <a:pt x="60105" y="326922"/>
                </a:cubicBezTo>
                <a:cubicBezTo>
                  <a:pt x="60105" y="476039"/>
                  <a:pt x="180988" y="596922"/>
                  <a:pt x="330105" y="596922"/>
                </a:cubicBezTo>
                <a:cubicBezTo>
                  <a:pt x="479222" y="596922"/>
                  <a:pt x="600105" y="476039"/>
                  <a:pt x="600105" y="326922"/>
                </a:cubicBezTo>
                <a:cubicBezTo>
                  <a:pt x="600105" y="177805"/>
                  <a:pt x="479222" y="56922"/>
                  <a:pt x="330105" y="56922"/>
                </a:cubicBezTo>
                <a:close/>
              </a:path>
            </a:pathLst>
          </a:cu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 vert="horz" lIns="792000" tIns="36000" rIns="180000" bIns="36000" rtlCol="0" anchor="ctr">
            <a:noAutofit/>
          </a:bodyPr>
          <a:lstStyle/>
          <a:p>
            <a:pPr lvl="0" indent="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 sz="1400" b="0" baseline="0" noProof="0">
              <a:solidFill>
                <a:schemeClr val="bg1"/>
              </a:solidFill>
            </a:endParaRPr>
          </a:p>
        </p:txBody>
      </p:sp>
      <p:sp>
        <p:nvSpPr>
          <p:cNvPr id="11" name="text 4">
            <a:extLst>
              <a:ext uri="{FF2B5EF4-FFF2-40B4-BE49-F238E27FC236}">
                <a16:creationId xmlns:a16="http://schemas.microsoft.com/office/drawing/2014/main" id="{4D36156F-1552-11A4-A067-BB03795DBAB0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2800900" y="4887522"/>
            <a:ext cx="4140000" cy="540000"/>
          </a:xfrm>
        </p:spPr>
        <p:txBody>
          <a:bodyPr anchor="ctr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con 4">
            <a:extLst>
              <a:ext uri="{FF2B5EF4-FFF2-40B4-BE49-F238E27FC236}">
                <a16:creationId xmlns:a16="http://schemas.microsoft.com/office/drawing/2014/main" id="{15138CA9-B5BC-DBD4-B39A-1998E54EECD9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158306" y="4946892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freeshape 3">
            <a:extLst>
              <a:ext uri="{FF2B5EF4-FFF2-40B4-BE49-F238E27FC236}">
                <a16:creationId xmlns:a16="http://schemas.microsoft.com/office/drawing/2014/main" id="{BD8E9F08-BC14-BE41-C746-109C08D66386}"/>
              </a:ext>
            </a:extLst>
          </p:cNvPr>
          <p:cNvSpPr/>
          <p:nvPr/>
        </p:nvSpPr>
        <p:spPr>
          <a:xfrm>
            <a:off x="1510906" y="4009044"/>
            <a:ext cx="5184000" cy="648000"/>
          </a:xfrm>
          <a:custGeom>
            <a:avLst/>
            <a:gdLst>
              <a:gd name="connsiteX0" fmla="*/ 324000 w 5184000"/>
              <a:gd name="connsiteY0" fmla="*/ 0 h 648000"/>
              <a:gd name="connsiteX1" fmla="*/ 4860000 w 5184000"/>
              <a:gd name="connsiteY1" fmla="*/ 0 h 648000"/>
              <a:gd name="connsiteX2" fmla="*/ 5184000 w 5184000"/>
              <a:gd name="connsiteY2" fmla="*/ 324000 h 648000"/>
              <a:gd name="connsiteX3" fmla="*/ 4860000 w 5184000"/>
              <a:gd name="connsiteY3" fmla="*/ 648000 h 648000"/>
              <a:gd name="connsiteX4" fmla="*/ 324000 w 5184000"/>
              <a:gd name="connsiteY4" fmla="*/ 648000 h 648000"/>
              <a:gd name="connsiteX5" fmla="*/ 0 w 5184000"/>
              <a:gd name="connsiteY5" fmla="*/ 324000 h 648000"/>
              <a:gd name="connsiteX6" fmla="*/ 324000 w 5184000"/>
              <a:gd name="connsiteY6" fmla="*/ 0 h 648000"/>
              <a:gd name="connsiteX7" fmla="*/ 330105 w 5184000"/>
              <a:gd name="connsiteY7" fmla="*/ 56922 h 648000"/>
              <a:gd name="connsiteX8" fmla="*/ 60105 w 5184000"/>
              <a:gd name="connsiteY8" fmla="*/ 326922 h 648000"/>
              <a:gd name="connsiteX9" fmla="*/ 330105 w 5184000"/>
              <a:gd name="connsiteY9" fmla="*/ 596922 h 648000"/>
              <a:gd name="connsiteX10" fmla="*/ 600105 w 5184000"/>
              <a:gd name="connsiteY10" fmla="*/ 326922 h 648000"/>
              <a:gd name="connsiteX11" fmla="*/ 330105 w 5184000"/>
              <a:gd name="connsiteY11" fmla="*/ 56922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84000" h="648000">
                <a:moveTo>
                  <a:pt x="324000" y="0"/>
                </a:moveTo>
                <a:lnTo>
                  <a:pt x="4860000" y="0"/>
                </a:lnTo>
                <a:cubicBezTo>
                  <a:pt x="5038940" y="0"/>
                  <a:pt x="5184000" y="145060"/>
                  <a:pt x="5184000" y="324000"/>
                </a:cubicBezTo>
                <a:cubicBezTo>
                  <a:pt x="5184000" y="502940"/>
                  <a:pt x="5038940" y="648000"/>
                  <a:pt x="4860000" y="648000"/>
                </a:cubicBezTo>
                <a:lnTo>
                  <a:pt x="324000" y="648000"/>
                </a:lnTo>
                <a:cubicBezTo>
                  <a:pt x="145060" y="648000"/>
                  <a:pt x="0" y="502940"/>
                  <a:pt x="0" y="324000"/>
                </a:cubicBezTo>
                <a:cubicBezTo>
                  <a:pt x="0" y="145060"/>
                  <a:pt x="145060" y="0"/>
                  <a:pt x="324000" y="0"/>
                </a:cubicBezTo>
                <a:close/>
                <a:moveTo>
                  <a:pt x="330105" y="56922"/>
                </a:moveTo>
                <a:cubicBezTo>
                  <a:pt x="180988" y="56922"/>
                  <a:pt x="60105" y="177805"/>
                  <a:pt x="60105" y="326922"/>
                </a:cubicBezTo>
                <a:cubicBezTo>
                  <a:pt x="60105" y="476039"/>
                  <a:pt x="180988" y="596922"/>
                  <a:pt x="330105" y="596922"/>
                </a:cubicBezTo>
                <a:cubicBezTo>
                  <a:pt x="479222" y="596922"/>
                  <a:pt x="600105" y="476039"/>
                  <a:pt x="600105" y="326922"/>
                </a:cubicBezTo>
                <a:cubicBezTo>
                  <a:pt x="600105" y="177805"/>
                  <a:pt x="479222" y="56922"/>
                  <a:pt x="330105" y="56922"/>
                </a:cubicBezTo>
                <a:close/>
              </a:path>
            </a:pathLst>
          </a:cu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 vert="horz" lIns="792000" tIns="36000" rIns="180000" bIns="36000" rtlCol="0" anchor="ctr">
            <a:noAutofit/>
          </a:bodyPr>
          <a:lstStyle/>
          <a:p>
            <a:pPr lvl="0" indent="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 sz="1400" b="0" baseline="0" noProof="0">
              <a:solidFill>
                <a:schemeClr val="bg1"/>
              </a:solidFill>
            </a:endParaRPr>
          </a:p>
        </p:txBody>
      </p:sp>
      <p:sp>
        <p:nvSpPr>
          <p:cNvPr id="15" name="text 3">
            <a:extLst>
              <a:ext uri="{FF2B5EF4-FFF2-40B4-BE49-F238E27FC236}">
                <a16:creationId xmlns:a16="http://schemas.microsoft.com/office/drawing/2014/main" id="{44E94427-31D3-ED48-178D-8E33F47006BD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2265887" y="4063608"/>
            <a:ext cx="4140000" cy="540000"/>
          </a:xfrm>
        </p:spPr>
        <p:txBody>
          <a:bodyPr anchor="ctr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con 3">
            <a:extLst>
              <a:ext uri="{FF2B5EF4-FFF2-40B4-BE49-F238E27FC236}">
                <a16:creationId xmlns:a16="http://schemas.microsoft.com/office/drawing/2014/main" id="{2DA4F3EF-3FA8-3DB5-E571-2DD70EBCB67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1617812" y="4120820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freeshape 2">
            <a:extLst>
              <a:ext uri="{FF2B5EF4-FFF2-40B4-BE49-F238E27FC236}">
                <a16:creationId xmlns:a16="http://schemas.microsoft.com/office/drawing/2014/main" id="{B00C8122-BABB-E6B5-C4DC-B896FEC69659}"/>
              </a:ext>
            </a:extLst>
          </p:cNvPr>
          <p:cNvSpPr/>
          <p:nvPr/>
        </p:nvSpPr>
        <p:spPr>
          <a:xfrm>
            <a:off x="972000" y="3185089"/>
            <a:ext cx="5184000" cy="648000"/>
          </a:xfrm>
          <a:custGeom>
            <a:avLst/>
            <a:gdLst>
              <a:gd name="connsiteX0" fmla="*/ 324000 w 5184000"/>
              <a:gd name="connsiteY0" fmla="*/ 0 h 648000"/>
              <a:gd name="connsiteX1" fmla="*/ 4860000 w 5184000"/>
              <a:gd name="connsiteY1" fmla="*/ 0 h 648000"/>
              <a:gd name="connsiteX2" fmla="*/ 5184000 w 5184000"/>
              <a:gd name="connsiteY2" fmla="*/ 324000 h 648000"/>
              <a:gd name="connsiteX3" fmla="*/ 4860000 w 5184000"/>
              <a:gd name="connsiteY3" fmla="*/ 648000 h 648000"/>
              <a:gd name="connsiteX4" fmla="*/ 324000 w 5184000"/>
              <a:gd name="connsiteY4" fmla="*/ 648000 h 648000"/>
              <a:gd name="connsiteX5" fmla="*/ 0 w 5184000"/>
              <a:gd name="connsiteY5" fmla="*/ 324000 h 648000"/>
              <a:gd name="connsiteX6" fmla="*/ 324000 w 5184000"/>
              <a:gd name="connsiteY6" fmla="*/ 0 h 648000"/>
              <a:gd name="connsiteX7" fmla="*/ 330105 w 5184000"/>
              <a:gd name="connsiteY7" fmla="*/ 56922 h 648000"/>
              <a:gd name="connsiteX8" fmla="*/ 60105 w 5184000"/>
              <a:gd name="connsiteY8" fmla="*/ 326922 h 648000"/>
              <a:gd name="connsiteX9" fmla="*/ 330105 w 5184000"/>
              <a:gd name="connsiteY9" fmla="*/ 596922 h 648000"/>
              <a:gd name="connsiteX10" fmla="*/ 600105 w 5184000"/>
              <a:gd name="connsiteY10" fmla="*/ 326922 h 648000"/>
              <a:gd name="connsiteX11" fmla="*/ 330105 w 5184000"/>
              <a:gd name="connsiteY11" fmla="*/ 56922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84000" h="648000">
                <a:moveTo>
                  <a:pt x="324000" y="0"/>
                </a:moveTo>
                <a:lnTo>
                  <a:pt x="4860000" y="0"/>
                </a:lnTo>
                <a:cubicBezTo>
                  <a:pt x="5038940" y="0"/>
                  <a:pt x="5184000" y="145060"/>
                  <a:pt x="5184000" y="324000"/>
                </a:cubicBezTo>
                <a:cubicBezTo>
                  <a:pt x="5184000" y="502940"/>
                  <a:pt x="5038940" y="648000"/>
                  <a:pt x="4860000" y="648000"/>
                </a:cubicBezTo>
                <a:lnTo>
                  <a:pt x="324000" y="648000"/>
                </a:lnTo>
                <a:cubicBezTo>
                  <a:pt x="145060" y="648000"/>
                  <a:pt x="0" y="502940"/>
                  <a:pt x="0" y="324000"/>
                </a:cubicBezTo>
                <a:cubicBezTo>
                  <a:pt x="0" y="145060"/>
                  <a:pt x="145060" y="0"/>
                  <a:pt x="324000" y="0"/>
                </a:cubicBezTo>
                <a:close/>
                <a:moveTo>
                  <a:pt x="330105" y="56922"/>
                </a:moveTo>
                <a:cubicBezTo>
                  <a:pt x="180988" y="56922"/>
                  <a:pt x="60105" y="177805"/>
                  <a:pt x="60105" y="326922"/>
                </a:cubicBezTo>
                <a:cubicBezTo>
                  <a:pt x="60105" y="476039"/>
                  <a:pt x="180988" y="596922"/>
                  <a:pt x="330105" y="596922"/>
                </a:cubicBezTo>
                <a:cubicBezTo>
                  <a:pt x="479222" y="596922"/>
                  <a:pt x="600105" y="476039"/>
                  <a:pt x="600105" y="326922"/>
                </a:cubicBezTo>
                <a:cubicBezTo>
                  <a:pt x="600105" y="177805"/>
                  <a:pt x="479222" y="56922"/>
                  <a:pt x="330105" y="56922"/>
                </a:cubicBezTo>
                <a:close/>
              </a:path>
            </a:pathLst>
          </a:cu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 vert="horz" lIns="792000" tIns="36000" rIns="180000" bIns="36000" rtlCol="0" anchor="ctr">
            <a:noAutofit/>
          </a:bodyPr>
          <a:lstStyle/>
          <a:p>
            <a:pPr lvl="0" indent="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 sz="1400" b="0" baseline="0" noProof="0">
              <a:solidFill>
                <a:schemeClr val="bg1"/>
              </a:solidFill>
            </a:endParaRPr>
          </a:p>
        </p:txBody>
      </p:sp>
      <p:sp>
        <p:nvSpPr>
          <p:cNvPr id="25" name="text 2">
            <a:extLst>
              <a:ext uri="{FF2B5EF4-FFF2-40B4-BE49-F238E27FC236}">
                <a16:creationId xmlns:a16="http://schemas.microsoft.com/office/drawing/2014/main" id="{F15A23C6-FF19-68C4-E8B1-80E8580B2DF2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1763453" y="3234092"/>
            <a:ext cx="4140000" cy="540000"/>
          </a:xfrm>
        </p:spPr>
        <p:txBody>
          <a:bodyPr anchor="ctr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icon 2">
            <a:extLst>
              <a:ext uri="{FF2B5EF4-FFF2-40B4-BE49-F238E27FC236}">
                <a16:creationId xmlns:a16="http://schemas.microsoft.com/office/drawing/2014/main" id="{04CEDE73-7F99-B73F-1D58-6D8D1F4D3B16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1078906" y="3294748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freeshape 1">
            <a:extLst>
              <a:ext uri="{FF2B5EF4-FFF2-40B4-BE49-F238E27FC236}">
                <a16:creationId xmlns:a16="http://schemas.microsoft.com/office/drawing/2014/main" id="{50AC87C5-3284-6E75-C0E5-CA69A39338F8}"/>
              </a:ext>
            </a:extLst>
          </p:cNvPr>
          <p:cNvSpPr/>
          <p:nvPr/>
        </p:nvSpPr>
        <p:spPr>
          <a:xfrm>
            <a:off x="540000" y="2361134"/>
            <a:ext cx="5184000" cy="648000"/>
          </a:xfrm>
          <a:custGeom>
            <a:avLst/>
            <a:gdLst>
              <a:gd name="connsiteX0" fmla="*/ 324000 w 5184000"/>
              <a:gd name="connsiteY0" fmla="*/ 0 h 648000"/>
              <a:gd name="connsiteX1" fmla="*/ 4860000 w 5184000"/>
              <a:gd name="connsiteY1" fmla="*/ 0 h 648000"/>
              <a:gd name="connsiteX2" fmla="*/ 5184000 w 5184000"/>
              <a:gd name="connsiteY2" fmla="*/ 324000 h 648000"/>
              <a:gd name="connsiteX3" fmla="*/ 4860000 w 5184000"/>
              <a:gd name="connsiteY3" fmla="*/ 648000 h 648000"/>
              <a:gd name="connsiteX4" fmla="*/ 324000 w 5184000"/>
              <a:gd name="connsiteY4" fmla="*/ 648000 h 648000"/>
              <a:gd name="connsiteX5" fmla="*/ 0 w 5184000"/>
              <a:gd name="connsiteY5" fmla="*/ 324000 h 648000"/>
              <a:gd name="connsiteX6" fmla="*/ 324000 w 5184000"/>
              <a:gd name="connsiteY6" fmla="*/ 0 h 648000"/>
              <a:gd name="connsiteX7" fmla="*/ 330105 w 5184000"/>
              <a:gd name="connsiteY7" fmla="*/ 56922 h 648000"/>
              <a:gd name="connsiteX8" fmla="*/ 60105 w 5184000"/>
              <a:gd name="connsiteY8" fmla="*/ 326922 h 648000"/>
              <a:gd name="connsiteX9" fmla="*/ 330105 w 5184000"/>
              <a:gd name="connsiteY9" fmla="*/ 596922 h 648000"/>
              <a:gd name="connsiteX10" fmla="*/ 600105 w 5184000"/>
              <a:gd name="connsiteY10" fmla="*/ 326922 h 648000"/>
              <a:gd name="connsiteX11" fmla="*/ 330105 w 5184000"/>
              <a:gd name="connsiteY11" fmla="*/ 56922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84000" h="648000">
                <a:moveTo>
                  <a:pt x="324000" y="0"/>
                </a:moveTo>
                <a:lnTo>
                  <a:pt x="4860000" y="0"/>
                </a:lnTo>
                <a:cubicBezTo>
                  <a:pt x="5038940" y="0"/>
                  <a:pt x="5184000" y="145060"/>
                  <a:pt x="5184000" y="324000"/>
                </a:cubicBezTo>
                <a:cubicBezTo>
                  <a:pt x="5184000" y="502940"/>
                  <a:pt x="5038940" y="648000"/>
                  <a:pt x="4860000" y="648000"/>
                </a:cubicBezTo>
                <a:lnTo>
                  <a:pt x="324000" y="648000"/>
                </a:lnTo>
                <a:cubicBezTo>
                  <a:pt x="145060" y="648000"/>
                  <a:pt x="0" y="502940"/>
                  <a:pt x="0" y="324000"/>
                </a:cubicBezTo>
                <a:cubicBezTo>
                  <a:pt x="0" y="145060"/>
                  <a:pt x="145060" y="0"/>
                  <a:pt x="324000" y="0"/>
                </a:cubicBezTo>
                <a:close/>
                <a:moveTo>
                  <a:pt x="330105" y="56922"/>
                </a:moveTo>
                <a:cubicBezTo>
                  <a:pt x="180988" y="56922"/>
                  <a:pt x="60105" y="177805"/>
                  <a:pt x="60105" y="326922"/>
                </a:cubicBezTo>
                <a:cubicBezTo>
                  <a:pt x="60105" y="476039"/>
                  <a:pt x="180988" y="596922"/>
                  <a:pt x="330105" y="596922"/>
                </a:cubicBezTo>
                <a:cubicBezTo>
                  <a:pt x="479222" y="596922"/>
                  <a:pt x="600105" y="476039"/>
                  <a:pt x="600105" y="326922"/>
                </a:cubicBezTo>
                <a:cubicBezTo>
                  <a:pt x="600105" y="177805"/>
                  <a:pt x="479222" y="56922"/>
                  <a:pt x="330105" y="56922"/>
                </a:cubicBezTo>
                <a:close/>
              </a:path>
            </a:pathLst>
          </a:cu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 vert="horz" lIns="792000" tIns="36000" rIns="180000" bIns="36000" rtlCol="0" anchor="ctr">
            <a:noAutofit/>
          </a:bodyPr>
          <a:lstStyle/>
          <a:p>
            <a:pPr lvl="0" indent="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 sz="1400" b="0" baseline="0" noProof="0">
              <a:solidFill>
                <a:schemeClr val="bg1"/>
              </a:solidFill>
            </a:endParaRPr>
          </a:p>
        </p:txBody>
      </p:sp>
      <p:sp>
        <p:nvSpPr>
          <p:cNvPr id="33" name="text 1">
            <a:extLst>
              <a:ext uri="{FF2B5EF4-FFF2-40B4-BE49-F238E27FC236}">
                <a16:creationId xmlns:a16="http://schemas.microsoft.com/office/drawing/2014/main" id="{D6FC1170-8BB4-AABD-B741-2C58269AACFC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337820" y="2417650"/>
            <a:ext cx="4140000" cy="540000"/>
          </a:xfrm>
        </p:spPr>
        <p:txBody>
          <a:bodyPr anchor="ctr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icon 1">
            <a:extLst>
              <a:ext uri="{FF2B5EF4-FFF2-40B4-BE49-F238E27FC236}">
                <a16:creationId xmlns:a16="http://schemas.microsoft.com/office/drawing/2014/main" id="{5DE15324-D075-A2BF-BE5B-052880D503AD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46906" y="2468676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4871BBE7-625C-CDD4-5985-F918ED91B1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97222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9 : 6 charts : 6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694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">
            <a:extLst>
              <a:ext uri="{FF2B5EF4-FFF2-40B4-BE49-F238E27FC236}">
                <a16:creationId xmlns:a16="http://schemas.microsoft.com/office/drawing/2014/main" id="{B441E9EB-5A25-44BF-842B-65AF5100F7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">
            <a:extLst>
              <a:ext uri="{FF2B5EF4-FFF2-40B4-BE49-F238E27FC236}">
                <a16:creationId xmlns:a16="http://schemas.microsoft.com/office/drawing/2014/main" id="{4DAB7DCE-C59D-9169-F0A6-5D6391F01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9709957-6F7F-D59B-8D63-2ABF6E212B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source 6">
            <a:extLst>
              <a:ext uri="{FF2B5EF4-FFF2-40B4-BE49-F238E27FC236}">
                <a16:creationId xmlns:a16="http://schemas.microsoft.com/office/drawing/2014/main" id="{E8FD4020-B12B-57F9-D6CC-0B62B66EFDE1}"/>
              </a:ext>
            </a:extLst>
          </p:cNvPr>
          <p:cNvSpPr>
            <a:spLocks noGrp="1"/>
          </p:cNvSpPr>
          <p:nvPr>
            <p:ph type="body" idx="53"/>
          </p:nvPr>
        </p:nvSpPr>
        <p:spPr>
          <a:xfrm>
            <a:off x="8208000" y="5832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hart 6">
            <a:extLst>
              <a:ext uri="{FF2B5EF4-FFF2-40B4-BE49-F238E27FC236}">
                <a16:creationId xmlns:a16="http://schemas.microsoft.com/office/drawing/2014/main" id="{86CC700B-C7A6-25BB-D364-227D942CD9F8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08000" y="4463624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5" name="subhead 6">
            <a:extLst>
              <a:ext uri="{FF2B5EF4-FFF2-40B4-BE49-F238E27FC236}">
                <a16:creationId xmlns:a16="http://schemas.microsoft.com/office/drawing/2014/main" id="{301D76DE-ACF2-E794-1771-5D687981F248}"/>
              </a:ext>
            </a:extLst>
          </p:cNvPr>
          <p:cNvSpPr>
            <a:spLocks noGrp="1"/>
          </p:cNvSpPr>
          <p:nvPr>
            <p:ph sz="quarter" idx="55"/>
          </p:nvPr>
        </p:nvSpPr>
        <p:spPr>
          <a:xfrm>
            <a:off x="8208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source 5">
            <a:extLst>
              <a:ext uri="{FF2B5EF4-FFF2-40B4-BE49-F238E27FC236}">
                <a16:creationId xmlns:a16="http://schemas.microsoft.com/office/drawing/2014/main" id="{9546E5BF-8C5F-581B-BACA-D2195F4E49F4}"/>
              </a:ext>
            </a:extLst>
          </p:cNvPr>
          <p:cNvSpPr>
            <a:spLocks noGrp="1"/>
          </p:cNvSpPr>
          <p:nvPr>
            <p:ph type="body" idx="51"/>
          </p:nvPr>
        </p:nvSpPr>
        <p:spPr>
          <a:xfrm>
            <a:off x="4374000" y="5832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chart 5">
            <a:extLst>
              <a:ext uri="{FF2B5EF4-FFF2-40B4-BE49-F238E27FC236}">
                <a16:creationId xmlns:a16="http://schemas.microsoft.com/office/drawing/2014/main" id="{C64E0D5D-B852-08E3-C07B-14958A410B64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4374000" y="4463624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31" name="subhead 5">
            <a:extLst>
              <a:ext uri="{FF2B5EF4-FFF2-40B4-BE49-F238E27FC236}">
                <a16:creationId xmlns:a16="http://schemas.microsoft.com/office/drawing/2014/main" id="{7A447597-D947-02F5-6C3A-2A61FC024D64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74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2" name="source 4">
            <a:extLst>
              <a:ext uri="{FF2B5EF4-FFF2-40B4-BE49-F238E27FC236}">
                <a16:creationId xmlns:a16="http://schemas.microsoft.com/office/drawing/2014/main" id="{9CA324E6-C1BF-310B-5E47-6BCB77F1EFD3}"/>
              </a:ext>
            </a:extLst>
          </p:cNvPr>
          <p:cNvSpPr>
            <a:spLocks noGrp="1"/>
          </p:cNvSpPr>
          <p:nvPr>
            <p:ph type="body" idx="52"/>
          </p:nvPr>
        </p:nvSpPr>
        <p:spPr>
          <a:xfrm>
            <a:off x="539999" y="5832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chart 4">
            <a:extLst>
              <a:ext uri="{FF2B5EF4-FFF2-40B4-BE49-F238E27FC236}">
                <a16:creationId xmlns:a16="http://schemas.microsoft.com/office/drawing/2014/main" id="{8B285A21-EB89-994D-258D-2B3FCAB8F44D}"/>
              </a:ext>
            </a:extLst>
          </p:cNvPr>
          <p:cNvSpPr>
            <a:spLocks noGrp="1"/>
          </p:cNvSpPr>
          <p:nvPr>
            <p:ph type="chart" sz="quarter" idx="47"/>
          </p:nvPr>
        </p:nvSpPr>
        <p:spPr>
          <a:xfrm>
            <a:off x="539750" y="4463624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34" name="subhead 4">
            <a:extLst>
              <a:ext uri="{FF2B5EF4-FFF2-40B4-BE49-F238E27FC236}">
                <a16:creationId xmlns:a16="http://schemas.microsoft.com/office/drawing/2014/main" id="{AA74717E-1DD3-AADA-BA71-8B4380938135}"/>
              </a:ext>
            </a:extLst>
          </p:cNvPr>
          <p:cNvSpPr>
            <a:spLocks noGrp="1"/>
          </p:cNvSpPr>
          <p:nvPr>
            <p:ph sz="quarter" idx="49"/>
          </p:nvPr>
        </p:nvSpPr>
        <p:spPr>
          <a:xfrm>
            <a:off x="540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source 3">
            <a:extLst>
              <a:ext uri="{FF2B5EF4-FFF2-40B4-BE49-F238E27FC236}">
                <a16:creationId xmlns:a16="http://schemas.microsoft.com/office/drawing/2014/main" id="{19D448D3-E31B-A0B2-AF22-99335C336DAA}"/>
              </a:ext>
            </a:extLst>
          </p:cNvPr>
          <p:cNvSpPr>
            <a:spLocks noGrp="1"/>
          </p:cNvSpPr>
          <p:nvPr>
            <p:ph type="body" idx="56"/>
          </p:nvPr>
        </p:nvSpPr>
        <p:spPr>
          <a:xfrm>
            <a:off x="8208000" y="3348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chart 3">
            <a:extLst>
              <a:ext uri="{FF2B5EF4-FFF2-40B4-BE49-F238E27FC236}">
                <a16:creationId xmlns:a16="http://schemas.microsoft.com/office/drawing/2014/main" id="{165A044B-016E-5346-88C6-97A27EE6F27F}"/>
              </a:ext>
            </a:extLst>
          </p:cNvPr>
          <p:cNvSpPr>
            <a:spLocks noGrp="1"/>
          </p:cNvSpPr>
          <p:nvPr>
            <p:ph type="chart" sz="quarter" idx="57"/>
          </p:nvPr>
        </p:nvSpPr>
        <p:spPr>
          <a:xfrm>
            <a:off x="8208000" y="1979998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37" name="subhead 3">
            <a:extLst>
              <a:ext uri="{FF2B5EF4-FFF2-40B4-BE49-F238E27FC236}">
                <a16:creationId xmlns:a16="http://schemas.microsoft.com/office/drawing/2014/main" id="{527F24E8-D7FE-5176-E7E0-2029830B88CA}"/>
              </a:ext>
            </a:extLst>
          </p:cNvPr>
          <p:cNvSpPr>
            <a:spLocks noGrp="1"/>
          </p:cNvSpPr>
          <p:nvPr>
            <p:ph sz="quarter" idx="58"/>
          </p:nvPr>
        </p:nvSpPr>
        <p:spPr>
          <a:xfrm>
            <a:off x="8208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8" name="source 2">
            <a:extLst>
              <a:ext uri="{FF2B5EF4-FFF2-40B4-BE49-F238E27FC236}">
                <a16:creationId xmlns:a16="http://schemas.microsoft.com/office/drawing/2014/main" id="{16C5E172-ADBB-3D85-ED18-AA8BB3C66EF1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4374000" y="3348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chart 2">
            <a:extLst>
              <a:ext uri="{FF2B5EF4-FFF2-40B4-BE49-F238E27FC236}">
                <a16:creationId xmlns:a16="http://schemas.microsoft.com/office/drawing/2014/main" id="{58F544D8-3A64-5685-E927-5ADA90DD98BE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4374000" y="1979998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40" name="subhead 2">
            <a:extLst>
              <a:ext uri="{FF2B5EF4-FFF2-40B4-BE49-F238E27FC236}">
                <a16:creationId xmlns:a16="http://schemas.microsoft.com/office/drawing/2014/main" id="{508BFFEB-34A5-2A0A-B7B5-48DAAF3668F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4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1" name="source 1">
            <a:extLst>
              <a:ext uri="{FF2B5EF4-FFF2-40B4-BE49-F238E27FC236}">
                <a16:creationId xmlns:a16="http://schemas.microsoft.com/office/drawing/2014/main" id="{D034BDF9-7227-D723-6AAA-8D685C27CA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3348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chart 1">
            <a:extLst>
              <a:ext uri="{FF2B5EF4-FFF2-40B4-BE49-F238E27FC236}">
                <a16:creationId xmlns:a16="http://schemas.microsoft.com/office/drawing/2014/main" id="{A669A4BB-B37A-0CEC-86D9-D5D6068BEB5B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79998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43" name="subhead 1">
            <a:extLst>
              <a:ext uri="{FF2B5EF4-FFF2-40B4-BE49-F238E27FC236}">
                <a16:creationId xmlns:a16="http://schemas.microsoft.com/office/drawing/2014/main" id="{1E1C712F-677A-4DA9-8E05-6420904CF2D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831E6820-8E72-B86D-4A31-992132A4A3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8570961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60 : 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611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source">
            <a:extLst>
              <a:ext uri="{FF2B5EF4-FFF2-40B4-BE49-F238E27FC236}">
                <a16:creationId xmlns:a16="http://schemas.microsoft.com/office/drawing/2014/main" id="{6FD5BD2B-F446-5098-A6B3-1B0DF2978EE1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40000" y="5809721"/>
            <a:ext cx="11101138" cy="360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9" name="table">
            <a:extLst>
              <a:ext uri="{FF2B5EF4-FFF2-40B4-BE49-F238E27FC236}">
                <a16:creationId xmlns:a16="http://schemas.microsoft.com/office/drawing/2014/main" id="{CDBF0C3F-C6C8-73BF-3E3E-7D4A763FCCE6}"/>
              </a:ext>
            </a:extLst>
          </p:cNvPr>
          <p:cNvSpPr>
            <a:spLocks noGrp="1"/>
          </p:cNvSpPr>
          <p:nvPr>
            <p:ph type="tbl" sz="quarter" idx="40"/>
          </p:nvPr>
        </p:nvSpPr>
        <p:spPr>
          <a:xfrm>
            <a:off x="540000" y="5562601"/>
            <a:ext cx="11109209" cy="247120"/>
          </a:xfrm>
        </p:spPr>
        <p:txBody>
          <a:bodyPr lIns="0" tIns="0" rIns="0" bIns="0" anchor="b" anchorCtr="0"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13" name="text 1">
            <a:extLst>
              <a:ext uri="{FF2B5EF4-FFF2-40B4-BE49-F238E27FC236}">
                <a16:creationId xmlns:a16="http://schemas.microsoft.com/office/drawing/2014/main" id="{E103DC66-EA7E-9147-FF36-842134C5C10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25350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2">
            <a:extLst>
              <a:ext uri="{FF2B5EF4-FFF2-40B4-BE49-F238E27FC236}">
                <a16:creationId xmlns:a16="http://schemas.microsoft.com/office/drawing/2014/main" id="{98FB9F3D-51E3-DA7A-72C1-9D9EC3D8B1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0435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5CF659D6-1CA1-113A-C4A5-BC2D1BCCDA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5519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text 4">
            <a:extLst>
              <a:ext uri="{FF2B5EF4-FFF2-40B4-BE49-F238E27FC236}">
                <a16:creationId xmlns:a16="http://schemas.microsoft.com/office/drawing/2014/main" id="{99462D85-7E35-EDFA-C68E-E4A351201D5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00604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text 5">
            <a:extLst>
              <a:ext uri="{FF2B5EF4-FFF2-40B4-BE49-F238E27FC236}">
                <a16:creationId xmlns:a16="http://schemas.microsoft.com/office/drawing/2014/main" id="{2226BC48-C006-A3AF-A36B-63C2D3CA6BB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25688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text 6">
            <a:extLst>
              <a:ext uri="{FF2B5EF4-FFF2-40B4-BE49-F238E27FC236}">
                <a16:creationId xmlns:a16="http://schemas.microsoft.com/office/drawing/2014/main" id="{D7E98674-0010-6A4A-2092-C2342C1C972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50773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 7">
            <a:extLst>
              <a:ext uri="{FF2B5EF4-FFF2-40B4-BE49-F238E27FC236}">
                <a16:creationId xmlns:a16="http://schemas.microsoft.com/office/drawing/2014/main" id="{D9CE5412-1544-1ACC-B26C-DC64CB412F4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75857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 8">
            <a:extLst>
              <a:ext uri="{FF2B5EF4-FFF2-40B4-BE49-F238E27FC236}">
                <a16:creationId xmlns:a16="http://schemas.microsoft.com/office/drawing/2014/main" id="{92D36E5B-C594-07D8-1556-F61BAD6438F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00942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8" name="line">
            <a:extLst>
              <a:ext uri="{FF2B5EF4-FFF2-40B4-BE49-F238E27FC236}">
                <a16:creationId xmlns:a16="http://schemas.microsoft.com/office/drawing/2014/main" id="{90ADF8F4-69E2-18D8-2A65-38E33E06BD05}"/>
              </a:ext>
            </a:extLst>
          </p:cNvPr>
          <p:cNvCxnSpPr/>
          <p:nvPr/>
        </p:nvCxnSpPr>
        <p:spPr>
          <a:xfrm>
            <a:off x="550863" y="3472812"/>
            <a:ext cx="11109209" cy="0"/>
          </a:xfrm>
          <a:prstGeom prst="line">
            <a:avLst/>
          </a:pr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9" name="text 1">
            <a:extLst>
              <a:ext uri="{FF2B5EF4-FFF2-40B4-BE49-F238E27FC236}">
                <a16:creationId xmlns:a16="http://schemas.microsoft.com/office/drawing/2014/main" id="{9791F7F5-F90B-F440-B357-05CFDFC6E70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25350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0" name="text 2">
            <a:extLst>
              <a:ext uri="{FF2B5EF4-FFF2-40B4-BE49-F238E27FC236}">
                <a16:creationId xmlns:a16="http://schemas.microsoft.com/office/drawing/2014/main" id="{51B9D552-7689-4FAE-5FF0-1E53A33BFB83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50435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1" name="text 3">
            <a:extLst>
              <a:ext uri="{FF2B5EF4-FFF2-40B4-BE49-F238E27FC236}">
                <a16:creationId xmlns:a16="http://schemas.microsoft.com/office/drawing/2014/main" id="{AC0D6FC5-8114-4F86-7A13-896396BC3B4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75519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2" name="text 4">
            <a:extLst>
              <a:ext uri="{FF2B5EF4-FFF2-40B4-BE49-F238E27FC236}">
                <a16:creationId xmlns:a16="http://schemas.microsoft.com/office/drawing/2014/main" id="{35874900-7F40-5E32-DA1A-B532F6E6B57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00604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3" name="text 5">
            <a:extLst>
              <a:ext uri="{FF2B5EF4-FFF2-40B4-BE49-F238E27FC236}">
                <a16:creationId xmlns:a16="http://schemas.microsoft.com/office/drawing/2014/main" id="{11051CCF-88A7-6245-A7ED-5E92BCF254C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5688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4" name="text 6">
            <a:extLst>
              <a:ext uri="{FF2B5EF4-FFF2-40B4-BE49-F238E27FC236}">
                <a16:creationId xmlns:a16="http://schemas.microsoft.com/office/drawing/2014/main" id="{C6532634-485C-EBC5-74B9-6AD575B42BA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50773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5" name="text 7">
            <a:extLst>
              <a:ext uri="{FF2B5EF4-FFF2-40B4-BE49-F238E27FC236}">
                <a16:creationId xmlns:a16="http://schemas.microsoft.com/office/drawing/2014/main" id="{1CAE7171-408D-2DAC-8E3E-1F3F57CF23DE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75857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6" name="text 8">
            <a:extLst>
              <a:ext uri="{FF2B5EF4-FFF2-40B4-BE49-F238E27FC236}">
                <a16:creationId xmlns:a16="http://schemas.microsoft.com/office/drawing/2014/main" id="{03C59CD8-6B8F-4E44-062C-C6CB0D46E79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000942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C217556C-AB0F-BB2C-F74F-DD00A97DD2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3F64A1E-E451-ACD8-5613-104A49B8A1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">
            <a:extLst>
              <a:ext uri="{FF2B5EF4-FFF2-40B4-BE49-F238E27FC236}">
                <a16:creationId xmlns:a16="http://schemas.microsoft.com/office/drawing/2014/main" id="{38E9E637-79CC-884B-0711-7B48CAF30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A5C4DDFE-490E-47FF-D6F3-E5BCE68A63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90508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ease do not use : only guidiance placehol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BB0A28-794C-B1C7-31B2-419DB41E25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3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BB0A28-794C-B1C7-31B2-419DB41E25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E7D3CCF1-660E-7AB1-06AD-93225FDD1D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484312"/>
            <a:ext cx="11088000" cy="4662751"/>
          </a:xfrm>
        </p:spPr>
        <p:txBody>
          <a:bodyPr vert="horz"/>
          <a:lstStyle>
            <a:lvl1pPr>
              <a:lnSpc>
                <a:spcPct val="100000"/>
              </a:lnSpc>
              <a:defRPr lang="de-DE" sz="11000" b="0" kern="1200" spc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37585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1 : title page shap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4BB14D95-49AB-4529-5662-66D2A1B2685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6120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6120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2108200"/>
            <a:ext cx="6120000" cy="16718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55" name="valantic logo">
            <a:extLst>
              <a:ext uri="{FF2B5EF4-FFF2-40B4-BE49-F238E27FC236}">
                <a16:creationId xmlns:a16="http://schemas.microsoft.com/office/drawing/2014/main" id="{F7AE2AE6-2DD6-B611-8273-3605A63BC1C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64123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01 : BASIC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>
            <a:extLst>
              <a:ext uri="{FF2B5EF4-FFF2-40B4-BE49-F238E27FC236}">
                <a16:creationId xmlns:a16="http://schemas.microsoft.com/office/drawing/2014/main" id="{2B8DCA8E-E758-A02D-2104-E01EE369E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6579E58F-8136-67AD-3280-33201D869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6A0A194C-20EC-8385-1671-2BE66E04C7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11088000" cy="468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  <a:lvl6pPr>
              <a:defRPr lang="en-US" dirty="0" smtClean="0"/>
            </a:lvl6pPr>
            <a:lvl7pPr>
              <a:defRPr lang="en-US" dirty="0" smtClean="0"/>
            </a:lvl7pPr>
            <a:lvl8pPr>
              <a:defRPr lang="en-US" dirty="0" smtClean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2006E74-F413-42A1-5EBE-FFA34D108A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845358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01 : BASIC :  Footnote  : 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>
            <a:extLst>
              <a:ext uri="{FF2B5EF4-FFF2-40B4-BE49-F238E27FC236}">
                <a16:creationId xmlns:a16="http://schemas.microsoft.com/office/drawing/2014/main" id="{2B8DCA8E-E758-A02D-2104-E01EE369E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6579E58F-8136-67AD-3280-33201D869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6A0A194C-20EC-8385-1671-2BE66E04C7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4C750ABB-F946-1DE1-308F-B93DC07A106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40000" y="5831998"/>
            <a:ext cx="11124000" cy="360001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4">
                    <a:lumMod val="75000"/>
                  </a:schemeClr>
                </a:solidFill>
              </a:defRPr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11088000" cy="43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  <a:lvl6pPr>
              <a:defRPr lang="en-US" dirty="0" smtClean="0"/>
            </a:lvl6pPr>
            <a:lvl7pPr>
              <a:defRPr lang="en-US" dirty="0" smtClean="0"/>
            </a:lvl7pPr>
            <a:lvl8pPr>
              <a:defRPr lang="en-US" dirty="0" smtClean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2006E74-F413-42A1-5EBE-FFA34D108A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728348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02 :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BC8BA2C0-FF86-7160-B605-4AFD8142A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68B1DC0-E2F4-964B-BEBC-F781A34B4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0BFB18-B358-A527-A325-CBA53A65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38863" y="1475999"/>
            <a:ext cx="540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40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57A2D597-3CE6-BDC7-EFD7-433C543868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73100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02a :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BC8BA2C0-FF86-7160-B605-4AFD8142A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68B1DC0-E2F4-964B-BEBC-F781A34B4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0BFB18-B358-A527-A325-CBA53A65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" name="content 2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8" y="1475999"/>
            <a:ext cx="756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151C2032-2FFD-81F1-32B0-C2E2F77BD5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172294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3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BC8BA2C0-FF86-7160-B605-4AFD8142A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68B1DC0-E2F4-964B-BEBC-F781A34B4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0BFB18-B358-A527-A325-CBA53A65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151C2032-2FFD-81F1-32B0-C2E2F77BD5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845133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4 :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>
            <a:extLst>
              <a:ext uri="{FF2B5EF4-FFF2-40B4-BE49-F238E27FC236}">
                <a16:creationId xmlns:a16="http://schemas.microsoft.com/office/drawing/2014/main" id="{7587F319-9817-5E8C-3267-E8B5F5655F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F5CDEDD9-5767-BF78-73FE-C497E4578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84078D7-3AA4-7E7A-E9A2-7479782512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046863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11242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75621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E2DB2781-02B7-8F48-880C-0864DAF6A9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80367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3 : content : 2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08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" name="picture below">
            <a:extLst>
              <a:ext uri="{FF2B5EF4-FFF2-40B4-BE49-F238E27FC236}">
                <a16:creationId xmlns:a16="http://schemas.microsoft.com/office/drawing/2014/main" id="{64B5A92D-5A2D-40C8-EC14-0A74FFA043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64424" y="2636838"/>
            <a:ext cx="4176713" cy="2592387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0" name="picture top">
            <a:extLst>
              <a:ext uri="{FF2B5EF4-FFF2-40B4-BE49-F238E27FC236}">
                <a16:creationId xmlns:a16="http://schemas.microsoft.com/office/drawing/2014/main" id="{1B4CD723-14EE-5CF9-C037-07B25FC9BA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51162" y="-143606"/>
            <a:ext cx="3617045" cy="2635981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7999"/>
            <a:ext cx="612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504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navigation">
            <a:extLst>
              <a:ext uri="{FF2B5EF4-FFF2-40B4-BE49-F238E27FC236}">
                <a16:creationId xmlns:a16="http://schemas.microsoft.com/office/drawing/2014/main" id="{6A77231E-06C6-10F9-814A-EBF83BBE4C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504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887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66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5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>
            <a:extLst>
              <a:ext uri="{FF2B5EF4-FFF2-40B4-BE49-F238E27FC236}">
                <a16:creationId xmlns:a16="http://schemas.microsoft.com/office/drawing/2014/main" id="{CF0F75B6-3EDE-F843-4662-8A1F50C18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847B67F7-92A3-77BE-E39C-D6653DB0D1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A607CBA-1A2F-48DC-062D-E74D1128CE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658863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endParaRPr lang="en-US"/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379148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99432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819716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8277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5F2144B7-05FA-9A39-1950-AAFC1FABED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016097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6 : 6 contents :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>
            <a:extLst>
              <a:ext uri="{FF2B5EF4-FFF2-40B4-BE49-F238E27FC236}">
                <a16:creationId xmlns:a16="http://schemas.microsoft.com/office/drawing/2014/main" id="{CF0F75B6-3EDE-F843-4662-8A1F50C18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847B67F7-92A3-77BE-E39C-D6653DB0D1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A607CBA-1A2F-48DC-062D-E74D1128CE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9" name="content 6">
            <a:extLst>
              <a:ext uri="{FF2B5EF4-FFF2-40B4-BE49-F238E27FC236}">
                <a16:creationId xmlns:a16="http://schemas.microsoft.com/office/drawing/2014/main" id="{893D58FE-0196-E823-0665-65C00CFB184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900618" y="1476000"/>
            <a:ext cx="1728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028496" y="1476000"/>
            <a:ext cx="1728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156372" y="1476000"/>
            <a:ext cx="1728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84248" y="1476000"/>
            <a:ext cx="1728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412124" y="1476000"/>
            <a:ext cx="1728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1728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618" y="622301"/>
            <a:ext cx="11088000" cy="648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5F2144B7-05FA-9A39-1950-AAFC1FABED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407681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6 : 6 rectang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678EE2D6-D24D-BA37-ABA6-646300685C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">
            <a:extLst>
              <a:ext uri="{FF2B5EF4-FFF2-40B4-BE49-F238E27FC236}">
                <a16:creationId xmlns:a16="http://schemas.microsoft.com/office/drawing/2014/main" id="{DC5969B5-F0D2-CF3A-F4ED-F5344E082E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5F2B97CA-2092-323E-F00E-2C8F8CB8F0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nl-NL" noProof="0" dirty="0"/>
            </a:lvl9pPr>
          </a:lstStyle>
          <a:p>
            <a:pPr lvl="0"/>
            <a:endParaRPr lang="nl-NL" noProof="0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nl-NL" noProof="0" dirty="0"/>
            </a:lvl9pPr>
          </a:lstStyle>
          <a:p>
            <a:pPr lvl="0"/>
            <a:endParaRPr lang="nl-NL" noProof="0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AFFFFF47-76BE-0C31-FAC0-58FE020C53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973426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7 : 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>
            <a:extLst>
              <a:ext uri="{FF2B5EF4-FFF2-40B4-BE49-F238E27FC236}">
                <a16:creationId xmlns:a16="http://schemas.microsoft.com/office/drawing/2014/main" id="{9C2549D5-7902-05C3-BA6E-F3FCE55E3E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B0528374-4148-93BC-40AD-371D0F4E7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B36025A7-E938-A69D-AFCB-12FF43B05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598DE614-BE92-7773-D42B-7B7F203DDC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228850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8 :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A17B63CE-D09A-A5B2-92DE-97357DEAC2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264ABE22-2F6A-7F37-B086-AE7A106AE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7E501AC6-15A5-DC2E-289E-6EB6F31C9B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807171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09 : video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ilm">
            <a:extLst>
              <a:ext uri="{FF2B5EF4-FFF2-40B4-BE49-F238E27FC236}">
                <a16:creationId xmlns:a16="http://schemas.microsoft.com/office/drawing/2014/main" id="{0833981F-AEE0-01D6-B2C9-2F71CD5FE813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73EA888E-C1BB-D71B-E0FC-835A13A60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960000"/>
            <a:ext cx="11088000" cy="21960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400" dirty="0"/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67288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0 : content : picture right 17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right">
            <a:extLst>
              <a:ext uri="{FF2B5EF4-FFF2-40B4-BE49-F238E27FC236}">
                <a16:creationId xmlns:a16="http://schemas.microsoft.com/office/drawing/2014/main" id="{4EC65E8B-7999-AF44-0508-B3DDFC09561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20000" y="0"/>
            <a:ext cx="612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89" name="slide number">
            <a:extLst>
              <a:ext uri="{FF2B5EF4-FFF2-40B4-BE49-F238E27FC236}">
                <a16:creationId xmlns:a16="http://schemas.microsoft.com/office/drawing/2014/main" id="{4A9A79FA-B946-DC94-8CD4-F9781F90A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fld id="{3AB0EB1E-25C5-4740-9782-54CCC0C83B03}" type="slidenum">
              <a:rPr lang="en-US" smtClean="0"/>
              <a:t>‹#›</a:t>
            </a:fld>
            <a:endParaRPr lang="en-US"/>
          </a:p>
        </p:txBody>
      </p:sp>
      <p:sp>
        <p:nvSpPr>
          <p:cNvPr id="90" name="footer">
            <a:extLst>
              <a:ext uri="{FF2B5EF4-FFF2-40B4-BE49-F238E27FC236}">
                <a16:creationId xmlns:a16="http://schemas.microsoft.com/office/drawing/2014/main" id="{CF6B3373-7C3F-A77B-C0D2-AC7E92A6E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70749" y="6379200"/>
            <a:ext cx="4082389" cy="180000"/>
          </a:xfrm>
        </p:spPr>
        <p:txBody>
          <a:bodyPr/>
          <a:lstStyle/>
          <a:p>
            <a:r>
              <a:rPr lang="en-GB"/>
              <a:t>valantic layout samples Route B</a:t>
            </a:r>
            <a:endParaRPr lang="en-US"/>
          </a:p>
        </p:txBody>
      </p:sp>
      <p:sp>
        <p:nvSpPr>
          <p:cNvPr id="91" name="date">
            <a:extLst>
              <a:ext uri="{FF2B5EF4-FFF2-40B4-BE49-F238E27FC236}">
                <a16:creationId xmlns:a16="http://schemas.microsoft.com/office/drawing/2014/main" id="{7D661A03-7125-BDF0-8272-47D38FA50B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0000" y="6379200"/>
            <a:ext cx="2160000" cy="180000"/>
          </a:xfrm>
        </p:spPr>
        <p:txBody>
          <a:bodyPr/>
          <a:lstStyle/>
          <a:p>
            <a:r>
              <a:rPr lang="en-US"/>
              <a:t>April 26, 2024</a:t>
            </a:r>
          </a:p>
        </p:txBody>
      </p:sp>
      <p:sp>
        <p:nvSpPr>
          <p:cNvPr id="2" name="content">
            <a:extLst>
              <a:ext uri="{FF2B5EF4-FFF2-40B4-BE49-F238E27FC236}">
                <a16:creationId xmlns:a16="http://schemas.microsoft.com/office/drawing/2014/main" id="{705F9221-2C7B-794A-1A1F-B66C5F3FDC5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8" y="2628000"/>
            <a:ext cx="504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42B1C18-F605-0005-B448-E48E1BADD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5400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2BCA0C52-1240-1F0B-D3D8-154CFEAF4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5364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5087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1 : content : picture right 11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right 11cm">
            <a:extLst>
              <a:ext uri="{FF2B5EF4-FFF2-40B4-BE49-F238E27FC236}">
                <a16:creationId xmlns:a16="http://schemas.microsoft.com/office/drawing/2014/main" id="{BA5DD37E-79B5-4F36-AAD5-9CFEC62428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8000"/>
            <a:ext cx="720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5DB48FB-A4EC-78AE-12A2-F3231AD823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13162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12 : 4 rows Icons : picture right 11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right 11cm">
            <a:extLst>
              <a:ext uri="{FF2B5EF4-FFF2-40B4-BE49-F238E27FC236}">
                <a16:creationId xmlns:a16="http://schemas.microsoft.com/office/drawing/2014/main" id="{88020849-41A9-AE9F-6BFC-C5EFB01C1A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8" name="picture 4">
            <a:extLst>
              <a:ext uri="{FF2B5EF4-FFF2-40B4-BE49-F238E27FC236}">
                <a16:creationId xmlns:a16="http://schemas.microsoft.com/office/drawing/2014/main" id="{3969FD43-10D8-53B3-1466-FA8F47748BE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045237" y="4833000"/>
            <a:ext cx="5184000" cy="648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720000" anchor="ctr"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2" name="icon 4">
            <a:extLst>
              <a:ext uri="{FF2B5EF4-FFF2-40B4-BE49-F238E27FC236}">
                <a16:creationId xmlns:a16="http://schemas.microsoft.com/office/drawing/2014/main" id="{9A51D476-71BB-18C0-EA44-3E9619A76B9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158306" y="4941000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6" name="picture 3">
            <a:extLst>
              <a:ext uri="{FF2B5EF4-FFF2-40B4-BE49-F238E27FC236}">
                <a16:creationId xmlns:a16="http://schemas.microsoft.com/office/drawing/2014/main" id="{90E038E2-5AF3-9C5E-C76E-839FDE837EA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510906" y="4013616"/>
            <a:ext cx="5184000" cy="648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720000" anchor="ctr"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3" name="icon 3">
            <a:extLst>
              <a:ext uri="{FF2B5EF4-FFF2-40B4-BE49-F238E27FC236}">
                <a16:creationId xmlns:a16="http://schemas.microsoft.com/office/drawing/2014/main" id="{E3FBBF55-D03C-4130-4790-064E0EA09308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1617812" y="4121616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picture 2">
            <a:extLst>
              <a:ext uri="{FF2B5EF4-FFF2-40B4-BE49-F238E27FC236}">
                <a16:creationId xmlns:a16="http://schemas.microsoft.com/office/drawing/2014/main" id="{D81C2E44-5F3A-5EBA-F642-D6E338329D9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78675" y="3194232"/>
            <a:ext cx="5184000" cy="648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720000" anchor="ctr"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4" name="icon 2">
            <a:extLst>
              <a:ext uri="{FF2B5EF4-FFF2-40B4-BE49-F238E27FC236}">
                <a16:creationId xmlns:a16="http://schemas.microsoft.com/office/drawing/2014/main" id="{BC3C9CE3-6A11-0F0F-342A-19C30DB11451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1078906" y="3302232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5" name="picture 1">
            <a:extLst>
              <a:ext uri="{FF2B5EF4-FFF2-40B4-BE49-F238E27FC236}">
                <a16:creationId xmlns:a16="http://schemas.microsoft.com/office/drawing/2014/main" id="{9CB66747-F806-9B94-6C73-4C5AFB445F9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40000" y="2374848"/>
            <a:ext cx="5184000" cy="648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720000" anchor="ctr"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5" name="icon 1">
            <a:extLst>
              <a:ext uri="{FF2B5EF4-FFF2-40B4-BE49-F238E27FC236}">
                <a16:creationId xmlns:a16="http://schemas.microsoft.com/office/drawing/2014/main" id="{60DBDD10-84E1-C678-9327-E9D8B09548E6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46906" y="2482848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4871BBE7-625C-CDD4-5985-F918ED91B1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2637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3 : content : 2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" name="picture below">
            <a:extLst>
              <a:ext uri="{FF2B5EF4-FFF2-40B4-BE49-F238E27FC236}">
                <a16:creationId xmlns:a16="http://schemas.microsoft.com/office/drawing/2014/main" id="{64B5A92D-5A2D-40C8-EC14-0A74FFA043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64424" y="2636838"/>
            <a:ext cx="4176713" cy="2592387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endParaRPr lang="en-DE"/>
          </a:p>
        </p:txBody>
      </p:sp>
      <p:sp>
        <p:nvSpPr>
          <p:cNvPr id="10" name="picture top">
            <a:extLst>
              <a:ext uri="{FF2B5EF4-FFF2-40B4-BE49-F238E27FC236}">
                <a16:creationId xmlns:a16="http://schemas.microsoft.com/office/drawing/2014/main" id="{1B4CD723-14EE-5CF9-C037-07B25FC9BA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51162" y="-143606"/>
            <a:ext cx="3617045" cy="2635981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7999"/>
            <a:ext cx="612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5040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3" name="navigation">
            <a:extLst>
              <a:ext uri="{FF2B5EF4-FFF2-40B4-BE49-F238E27FC236}">
                <a16:creationId xmlns:a16="http://schemas.microsoft.com/office/drawing/2014/main" id="{6A77231E-06C6-10F9-814A-EBF83BBE4C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504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8465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66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4 : content : 2 pictures right : color-text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2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picture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64424" y="3780000"/>
            <a:ext cx="4176713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" name="picture top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20000" y="1476000"/>
            <a:ext cx="2880000" cy="2196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5" name="color-text-box">
            <a:extLst>
              <a:ext uri="{FF2B5EF4-FFF2-40B4-BE49-F238E27FC236}">
                <a16:creationId xmlns:a16="http://schemas.microsoft.com/office/drawing/2014/main" id="{6103A93F-ED21-3458-4157-6CA989FA5CA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791575" y="3218400"/>
            <a:ext cx="2448000" cy="900000"/>
          </a:xfrm>
          <a:prstGeom prst="roundRect">
            <a:avLst>
              <a:gd name="adj" fmla="val 9259"/>
            </a:avLst>
          </a:prstGeom>
          <a:solidFill>
            <a:schemeClr val="accent1"/>
          </a:solidFill>
        </p:spPr>
        <p:txBody>
          <a:bodyPr lIns="108000" tIns="72000" rIns="72000"/>
          <a:lstStyle>
            <a:lvl1pPr>
              <a:defRPr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accent4"/>
                </a:solidFill>
                <a:latin typeface="+mj-lt"/>
              </a:defRPr>
            </a:lvl2pPr>
            <a:lvl3pPr>
              <a:defRPr>
                <a:solidFill>
                  <a:schemeClr val="accent4"/>
                </a:solidFill>
                <a:latin typeface="+mj-lt"/>
              </a:defRPr>
            </a:lvl3pPr>
            <a:lvl4pPr>
              <a:defRPr>
                <a:solidFill>
                  <a:schemeClr val="accent4"/>
                </a:solidFill>
                <a:latin typeface="+mj-lt"/>
              </a:defRPr>
            </a:lvl4pPr>
            <a:lvl5pPr>
              <a:defRPr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7999"/>
            <a:ext cx="5544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D8BCFDF7-1D5B-8DAC-DC2F-D54BF2A365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70742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66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4 : content : 2 pictures right : color-text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picture below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64424" y="3780000"/>
            <a:ext cx="4176713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4" name="picture top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20000" y="1476000"/>
            <a:ext cx="2880000" cy="2196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15" name="color-text-box">
            <a:extLst>
              <a:ext uri="{FF2B5EF4-FFF2-40B4-BE49-F238E27FC236}">
                <a16:creationId xmlns:a16="http://schemas.microsoft.com/office/drawing/2014/main" id="{6103A93F-ED21-3458-4157-6CA989FA5CA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791575" y="3218400"/>
            <a:ext cx="2448000" cy="900000"/>
          </a:xfrm>
          <a:prstGeom prst="roundRect">
            <a:avLst>
              <a:gd name="adj" fmla="val 9259"/>
            </a:avLst>
          </a:prstGeom>
          <a:solidFill>
            <a:schemeClr val="accent1"/>
          </a:solidFill>
        </p:spPr>
        <p:txBody>
          <a:bodyPr lIns="108000" tIns="72000" rIns="72000"/>
          <a:lstStyle>
            <a:lvl1pPr>
              <a:defRPr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accent4"/>
                </a:solidFill>
                <a:latin typeface="+mj-lt"/>
              </a:defRPr>
            </a:lvl2pPr>
            <a:lvl3pPr>
              <a:defRPr>
                <a:solidFill>
                  <a:schemeClr val="accent4"/>
                </a:solidFill>
                <a:latin typeface="+mj-lt"/>
              </a:defRPr>
            </a:lvl3pPr>
            <a:lvl4pPr>
              <a:defRPr>
                <a:solidFill>
                  <a:schemeClr val="accent4"/>
                </a:solidFill>
                <a:latin typeface="+mj-lt"/>
              </a:defRPr>
            </a:lvl4pPr>
            <a:lvl5pPr>
              <a:defRPr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endParaRPr lang="en-US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7999"/>
            <a:ext cx="5544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D8BCFDF7-1D5B-8DAC-DC2F-D54BF2A365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0072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66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5 : 2 contents :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right 11cm">
            <a:extLst>
              <a:ext uri="{FF2B5EF4-FFF2-40B4-BE49-F238E27FC236}">
                <a16:creationId xmlns:a16="http://schemas.microsoft.com/office/drawing/2014/main" id="{5CD7E801-2CA0-914E-7C58-8A9BA829F6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content right">
            <a:extLst>
              <a:ext uri="{FF2B5EF4-FFF2-40B4-BE49-F238E27FC236}">
                <a16:creationId xmlns:a16="http://schemas.microsoft.com/office/drawing/2014/main" id="{A01F8A8C-5D5A-9E22-C97F-06DCBAFD563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140000" y="2628000"/>
            <a:ext cx="3600000" cy="352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4" name="content lef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8000"/>
            <a:ext cx="3600000" cy="352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4" name="content top">
            <a:extLst>
              <a:ext uri="{FF2B5EF4-FFF2-40B4-BE49-F238E27FC236}">
                <a16:creationId xmlns:a16="http://schemas.microsoft.com/office/drawing/2014/main" id="{EDF317B4-5023-FCA5-FC22-BCF91AB4C3C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484313"/>
            <a:ext cx="7200000" cy="100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7FDF0AB8-4A72-DBED-E3BA-57CD35D7F5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203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15a : picture left : 2 textbox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left 11cm">
            <a:extLst>
              <a:ext uri="{FF2B5EF4-FFF2-40B4-BE49-F238E27FC236}">
                <a16:creationId xmlns:a16="http://schemas.microsoft.com/office/drawing/2014/main" id="{74ED0BBF-0E8C-44D4-921F-066BA5C9B1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960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en-US"/>
              <a:t>Click icon to add picture</a:t>
            </a:r>
            <a:endParaRPr lang="en-ID"/>
          </a:p>
        </p:txBody>
      </p:sp>
      <p:sp>
        <p:nvSpPr>
          <p:cNvPr id="8" name="logo placeholder">
            <a:extLst>
              <a:ext uri="{FF2B5EF4-FFF2-40B4-BE49-F238E27FC236}">
                <a16:creationId xmlns:a16="http://schemas.microsoft.com/office/drawing/2014/main" id="{1F75B0BC-6C5A-1CD1-854C-F1D8676D772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BEB57DBE-63B8-E581-3096-F2652E6BC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A0884F85-B37A-46FC-CACB-D048B0C1E0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C36A1B14-05F1-8B1B-20DA-31A9A97A78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CAE3D3F0-664E-ABBC-3640-50F182DB9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13138" y="1475999"/>
            <a:ext cx="3528000" cy="468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000" smtClean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/>
            </a:lvl4pPr>
            <a:lvl5pPr>
              <a:defRPr lang="en-US" sz="1200" smtClean="0"/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defRPr lang="en-US" sz="1200"/>
            </a:lvl9pPr>
          </a:lstStyle>
          <a:p>
            <a:pPr lvl="0"/>
            <a:endParaRPr lang="en-US"/>
          </a:p>
        </p:txBody>
      </p:sp>
      <p:sp>
        <p:nvSpPr>
          <p:cNvPr id="9" name="circle 2">
            <a:extLst>
              <a:ext uri="{FF2B5EF4-FFF2-40B4-BE49-F238E27FC236}">
                <a16:creationId xmlns:a16="http://schemas.microsoft.com/office/drawing/2014/main" id="{D6269545-42AA-46E1-9D73-61DDF60EAF88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10935381" y="1324614"/>
            <a:ext cx="720000" cy="72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icon-placeholder 2">
            <a:extLst>
              <a:ext uri="{FF2B5EF4-FFF2-40B4-BE49-F238E27FC236}">
                <a16:creationId xmlns:a16="http://schemas.microsoft.com/office/drawing/2014/main" id="{FE48F49F-7F06-F02A-2F05-39DB2C69ECB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1115381" y="15046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292821D-E361-102A-F29E-3F6CA54EC1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20000" y="1475999"/>
            <a:ext cx="3528000" cy="468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000" smtClean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/>
            </a:lvl4pPr>
            <a:lvl5pPr>
              <a:defRPr lang="en-US" sz="1200" smtClean="0"/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3" name="circle 1">
            <a:extLst>
              <a:ext uri="{FF2B5EF4-FFF2-40B4-BE49-F238E27FC236}">
                <a16:creationId xmlns:a16="http://schemas.microsoft.com/office/drawing/2014/main" id="{66EF865A-E383-A7AB-B70C-D48BE142441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42243" y="1324614"/>
            <a:ext cx="720000" cy="72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icon-placeholder 1">
            <a:extLst>
              <a:ext uri="{FF2B5EF4-FFF2-40B4-BE49-F238E27FC236}">
                <a16:creationId xmlns:a16="http://schemas.microsoft.com/office/drawing/2014/main" id="{39A352DB-4E1A-E132-A720-1AD484EBE7C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22243" y="15046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A7461C7-A592-D8D9-0006-53F1781C6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0" y="622301"/>
            <a:ext cx="7313414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C0586414-654D-FD5A-5B01-5890021AF4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41827" y="396000"/>
            <a:ext cx="7313414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875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15b : picture right : 2 textbox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right 11cm">
            <a:extLst>
              <a:ext uri="{FF2B5EF4-FFF2-40B4-BE49-F238E27FC236}">
                <a16:creationId xmlns:a16="http://schemas.microsoft.com/office/drawing/2014/main" id="{CF39BB89-805E-246B-1F3B-083751F3DF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en-US"/>
              <a:t>Click icon to add picture</a:t>
            </a:r>
            <a:endParaRPr lang="en-ID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BEB57DBE-63B8-E581-3096-F2652E6BC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A0884F85-B37A-46FC-CACB-D048B0C1E0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C36A1B14-05F1-8B1B-20DA-31A9A97A78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CAE3D3F0-664E-ABBC-3640-50F182DB9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20000" y="1475999"/>
            <a:ext cx="3528000" cy="468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000" smtClean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/>
            </a:lvl4pPr>
            <a:lvl5pPr>
              <a:defRPr lang="en-US" sz="1200" b="0" kern="1200" spc="4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defRPr lang="en-US" sz="1200" smtClean="0"/>
            </a:lvl9pPr>
          </a:lstStyle>
          <a:p>
            <a:pPr lvl="0"/>
            <a:endParaRPr lang="en-US"/>
          </a:p>
        </p:txBody>
      </p:sp>
      <p:sp>
        <p:nvSpPr>
          <p:cNvPr id="5" name="circle 2">
            <a:extLst>
              <a:ext uri="{FF2B5EF4-FFF2-40B4-BE49-F238E27FC236}">
                <a16:creationId xmlns:a16="http://schemas.microsoft.com/office/drawing/2014/main" id="{6D1C1D24-B674-E5C9-9486-71BE10D2EEBC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146244" y="1324614"/>
            <a:ext cx="720000" cy="72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icon-placeholder 2">
            <a:extLst>
              <a:ext uri="{FF2B5EF4-FFF2-40B4-BE49-F238E27FC236}">
                <a16:creationId xmlns:a16="http://schemas.microsoft.com/office/drawing/2014/main" id="{790F5E0A-19E3-265A-7183-C398C67DE05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7326244" y="15046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292821D-E361-102A-F29E-3F6CA54EC1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0000" y="1476000"/>
            <a:ext cx="3528000" cy="468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000" smtClean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/>
            </a:lvl4pPr>
            <a:lvl5pPr>
              <a:defRPr lang="en-US" sz="1200" smtClean="0"/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" name="circle 1">
            <a:extLst>
              <a:ext uri="{FF2B5EF4-FFF2-40B4-BE49-F238E27FC236}">
                <a16:creationId xmlns:a16="http://schemas.microsoft.com/office/drawing/2014/main" id="{5DDC773C-CFDB-6822-7E82-53F46B554E3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53106" y="1324614"/>
            <a:ext cx="720000" cy="72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icon-placeholder 1">
            <a:extLst>
              <a:ext uri="{FF2B5EF4-FFF2-40B4-BE49-F238E27FC236}">
                <a16:creationId xmlns:a16="http://schemas.microsoft.com/office/drawing/2014/main" id="{0FA06DFB-AE24-87F6-49B6-DC89CB1E078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533106" y="15046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A7461C7-A592-D8D9-0006-53F1781C6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344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1" name="navigation">
            <a:extLst>
              <a:ext uri="{FF2B5EF4-FFF2-40B4-BE49-F238E27FC236}">
                <a16:creationId xmlns:a16="http://schemas.microsoft.com/office/drawing/2014/main" id="{5ED1B3BB-ED8E-414F-C7FA-C46A025ECB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30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352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6 : content top : 2 picture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mtClean="0"/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picture right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0000" y="3798472"/>
            <a:ext cx="5112000" cy="2376000"/>
          </a:xfrm>
          <a:prstGeom prst="roundRect">
            <a:avLst>
              <a:gd name="adj" fmla="val 2810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4" name="picture left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0" y="3798472"/>
            <a:ext cx="5112000" cy="2376000"/>
          </a:xfrm>
          <a:prstGeom prst="roundRect">
            <a:avLst>
              <a:gd name="adj" fmla="val 2963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800000" y="1476000"/>
            <a:ext cx="9864000" cy="2160000"/>
          </a:xfrm>
          <a:noFill/>
        </p:spPr>
        <p:txBody>
          <a:bodyPr vert="horz" lIns="0" tIns="0" rIns="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8F6EF335-A824-493F-EF26-F29C4D10FD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1527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7 : 2 contents : 2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20BD20B0-44FC-5A88-79A0-DCADC338C2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D861FB85-24E1-52B5-92C3-DFCDDD4C7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9C40A435-687C-A3A2-46E3-09D4D87E58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picture right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0000" y="3798472"/>
            <a:ext cx="5112000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4" name="picture left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0" y="3798472"/>
            <a:ext cx="5112000" cy="2376000"/>
          </a:xfrm>
          <a:prstGeom prst="roundRect">
            <a:avLst>
              <a:gd name="adj" fmla="val 2953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2" name="content right">
            <a:extLst>
              <a:ext uri="{FF2B5EF4-FFF2-40B4-BE49-F238E27FC236}">
                <a16:creationId xmlns:a16="http://schemas.microsoft.com/office/drawing/2014/main" id="{7AE5D198-395E-4863-A7A5-07680FA32CD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400000" y="1476000"/>
            <a:ext cx="6264000" cy="1800000"/>
          </a:xfrm>
          <a:noFill/>
        </p:spPr>
        <p:txBody>
          <a:bodyPr vert="horz" lIns="0" tIns="0" rIns="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4" name="content lef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800000" y="1476000"/>
            <a:ext cx="3240000" cy="1800000"/>
          </a:xfrm>
          <a:noFill/>
        </p:spPr>
        <p:txBody>
          <a:bodyPr vert="horz" lIns="0" tIns="0" rIns="36000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19CB1578-86A9-0BDA-D183-9BADBB4E4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0227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8 : title small : 3 pictures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43A8C717-4722-397F-A0C8-433FF5FE6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FBD8772-FE66-8FDF-84A4-30F5BE97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E99FB28A-22AA-994E-7043-22AAEC7A3A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4" name="content 3">
            <a:extLst>
              <a:ext uri="{FF2B5EF4-FFF2-40B4-BE49-F238E27FC236}">
                <a16:creationId xmlns:a16="http://schemas.microsoft.com/office/drawing/2014/main" id="{BAD52ADE-440B-F73C-8384-4062C1392F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939478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0" name="picture 3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34972" y="-180000"/>
            <a:ext cx="2700000" cy="32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23" name="content 2">
            <a:extLst>
              <a:ext uri="{FF2B5EF4-FFF2-40B4-BE49-F238E27FC236}">
                <a16:creationId xmlns:a16="http://schemas.microsoft.com/office/drawing/2014/main" id="{36EDB524-3828-3196-B148-EA4D6A28C4C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79652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3" name="picture 2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87486" y="-180000"/>
            <a:ext cx="2700000" cy="32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14" name="content 1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19825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4" name="picture 1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0000" y="-180000"/>
            <a:ext cx="2700000" cy="3240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EE4F1825-9269-3164-D5CF-9080D1FE03C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9999" y="3148551"/>
            <a:ext cx="2520000" cy="300745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lang="en-US" sz="2400" spc="0" baseline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ts val="2800"/>
              </a:lnSpc>
              <a:spcBef>
                <a:spcPct val="0"/>
              </a:spcBef>
              <a:tabLst>
                <a:tab pos="10760075" algn="r"/>
              </a:tabLst>
            </a:pPr>
            <a:endParaRPr lang="de-DE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2519999" cy="2507398"/>
          </a:xfrm>
        </p:spPr>
        <p:txBody>
          <a:bodyPr vert="horz" anchor="b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D6AF56D-58A3-40A6-7508-E33636848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25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1243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18a : title small : 3 contents 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43A8C717-4722-397F-A0C8-433FF5FE6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FBD8772-FE66-8FDF-84A4-30F5BE97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E99FB28A-22AA-994E-7043-22AAEC7A3A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4" name="content 3">
            <a:extLst>
              <a:ext uri="{FF2B5EF4-FFF2-40B4-BE49-F238E27FC236}">
                <a16:creationId xmlns:a16="http://schemas.microsoft.com/office/drawing/2014/main" id="{BAD52ADE-440B-F73C-8384-4062C1392F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928000" y="1476000"/>
            <a:ext cx="2700000" cy="46800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/>
            </a:lvl1pPr>
            <a:lvl2pPr>
              <a:defRPr lang="de-DE" dirty="0"/>
            </a:lvl2pPr>
            <a:lvl3pPr>
              <a:defRPr lang="de-DE" dirty="0"/>
            </a:lvl3pPr>
            <a:lvl4pPr>
              <a:defRPr lang="de-DE" dirty="0"/>
            </a:lvl4pPr>
            <a:lvl5pPr>
              <a:defRPr lang="en-US" dirty="0"/>
            </a:lvl5pPr>
          </a:lstStyle>
          <a:p>
            <a:pPr lvl="0">
              <a:tabLst>
                <a:tab pos="723900" algn="r"/>
              </a:tabLst>
            </a:pPr>
            <a:endParaRPr lang="en-US"/>
          </a:p>
        </p:txBody>
      </p:sp>
      <p:sp>
        <p:nvSpPr>
          <p:cNvPr id="5" name="picture 3">
            <a:extLst>
              <a:ext uri="{FF2B5EF4-FFF2-40B4-BE49-F238E27FC236}">
                <a16:creationId xmlns:a16="http://schemas.microsoft.com/office/drawing/2014/main" id="{D7D0480A-C3B5-74C8-1304-1EAB20CA39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28000" y="-108000"/>
            <a:ext cx="2700000" cy="1296000"/>
          </a:xfrm>
          <a:prstGeom prst="roundRect">
            <a:avLst>
              <a:gd name="adj" fmla="val 339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en-US"/>
              <a:t>Click icon to add picture</a:t>
            </a:r>
            <a:endParaRPr lang="en-ID"/>
          </a:p>
        </p:txBody>
      </p:sp>
      <p:sp>
        <p:nvSpPr>
          <p:cNvPr id="6" name="content 2">
            <a:extLst>
              <a:ext uri="{FF2B5EF4-FFF2-40B4-BE49-F238E27FC236}">
                <a16:creationId xmlns:a16="http://schemas.microsoft.com/office/drawing/2014/main" id="{2C21E649-D4FE-225C-3B18-3AD92B4AC51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73912" y="1476000"/>
            <a:ext cx="2700000" cy="46800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/>
            </a:lvl1pPr>
            <a:lvl2pPr>
              <a:defRPr lang="de-DE" dirty="0"/>
            </a:lvl2pPr>
            <a:lvl3pPr>
              <a:defRPr lang="de-DE" dirty="0"/>
            </a:lvl3pPr>
            <a:lvl4pPr>
              <a:defRPr lang="de-DE" dirty="0"/>
            </a:lvl4pPr>
            <a:lvl5pPr>
              <a:defRPr lang="en-US" dirty="0"/>
            </a:lvl5pPr>
          </a:lstStyle>
          <a:p>
            <a:pPr lvl="0">
              <a:tabLst>
                <a:tab pos="723900" algn="r"/>
              </a:tabLst>
            </a:pPr>
            <a:endParaRPr lang="en-US"/>
          </a:p>
        </p:txBody>
      </p:sp>
      <p:sp>
        <p:nvSpPr>
          <p:cNvPr id="4" name="picture 2">
            <a:extLst>
              <a:ext uri="{FF2B5EF4-FFF2-40B4-BE49-F238E27FC236}">
                <a16:creationId xmlns:a16="http://schemas.microsoft.com/office/drawing/2014/main" id="{39CC87F6-AD8E-F897-AEA1-26E3489CE46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-108000"/>
            <a:ext cx="2700000" cy="1296000"/>
          </a:xfrm>
          <a:prstGeom prst="roundRect">
            <a:avLst>
              <a:gd name="adj" fmla="val 339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en-US"/>
              <a:t>Click icon to add picture</a:t>
            </a:r>
            <a:endParaRPr lang="en-ID"/>
          </a:p>
        </p:txBody>
      </p:sp>
      <p:sp>
        <p:nvSpPr>
          <p:cNvPr id="14" name="content 1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19824" y="1476000"/>
            <a:ext cx="2700000" cy="46800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tabLst>
                <a:tab pos="723900" algn="r"/>
              </a:tabLst>
              <a:defRPr lang="de-DE"/>
            </a:lvl1pPr>
            <a:lvl2pPr>
              <a:tabLst>
                <a:tab pos="723900" algn="r"/>
              </a:tabLst>
              <a:defRPr lang="de-DE"/>
            </a:lvl2pPr>
            <a:lvl3pPr>
              <a:tabLst>
                <a:tab pos="723900" algn="r"/>
              </a:tabLst>
              <a:defRPr lang="de-DE"/>
            </a:lvl3pPr>
            <a:lvl4pPr>
              <a:tabLst>
                <a:tab pos="723900" algn="r"/>
              </a:tabLst>
              <a:defRPr lang="de-DE"/>
            </a:lvl4pPr>
            <a:lvl5pPr>
              <a:tabLst>
                <a:tab pos="723900" algn="r"/>
              </a:tabLst>
              <a:defRPr lang="en-US" dirty="0"/>
            </a:lvl5pPr>
          </a:lstStyle>
          <a:p>
            <a:pPr lvl="0"/>
            <a:endParaRPr lang="en-US"/>
          </a:p>
        </p:txBody>
      </p:sp>
      <p:sp>
        <p:nvSpPr>
          <p:cNvPr id="3" name="picture 1">
            <a:extLst>
              <a:ext uri="{FF2B5EF4-FFF2-40B4-BE49-F238E27FC236}">
                <a16:creationId xmlns:a16="http://schemas.microsoft.com/office/drawing/2014/main" id="{A151D760-B972-579B-82FB-106085E476A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19824" y="-108000"/>
            <a:ext cx="2700000" cy="1296000"/>
          </a:xfrm>
          <a:prstGeom prst="roundRect">
            <a:avLst>
              <a:gd name="adj" fmla="val 339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en-US"/>
              <a:t>Click icon to add picture</a:t>
            </a:r>
            <a:endParaRPr lang="en-ID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EE4F1825-9269-3164-D5CF-9080D1FE03C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9999" y="3148551"/>
            <a:ext cx="2520000" cy="300745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lang="en-US" sz="2400" spc="0" baseline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ts val="2800"/>
              </a:lnSpc>
              <a:spcBef>
                <a:spcPct val="0"/>
              </a:spcBef>
              <a:tabLst>
                <a:tab pos="10760075" algn="r"/>
              </a:tabLst>
            </a:pPr>
            <a:endParaRPr lang="de-DE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0713"/>
            <a:ext cx="2519999" cy="2508985"/>
          </a:xfrm>
        </p:spPr>
        <p:txBody>
          <a:bodyPr vert="horz" anchor="b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D6AF56D-58A3-40A6-7508-E33636848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25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6768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18b : 3 pictures sqare :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3" name="text 3">
            <a:extLst>
              <a:ext uri="{FF2B5EF4-FFF2-40B4-BE49-F238E27FC236}">
                <a16:creationId xmlns:a16="http://schemas.microsoft.com/office/drawing/2014/main" id="{922FD02A-6203-52CA-225A-E7F36E0C977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82913" y="4176000"/>
            <a:ext cx="3456000" cy="198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3">
            <a:extLst>
              <a:ext uri="{FF2B5EF4-FFF2-40B4-BE49-F238E27FC236}">
                <a16:creationId xmlns:a16="http://schemas.microsoft.com/office/drawing/2014/main" id="{9FF70640-2E25-EBCF-C164-4D8776EDCC0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82913" y="1980000"/>
            <a:ext cx="3456000" cy="2052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2" name="name 3">
            <a:extLst>
              <a:ext uri="{FF2B5EF4-FFF2-40B4-BE49-F238E27FC236}">
                <a16:creationId xmlns:a16="http://schemas.microsoft.com/office/drawing/2014/main" id="{2033DDBB-2B0E-458B-10EE-E156E7DE26D3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8182911" y="1512000"/>
            <a:ext cx="3456000" cy="360000"/>
          </a:xfrm>
        </p:spPr>
        <p:txBody>
          <a:bodyPr lIns="0" rIns="0" anchor="b" anchorCtr="0"/>
          <a:lstStyle>
            <a:lvl1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lang="en-US" sz="1200" b="0" kern="1200" cap="all" spc="100" baseline="0" noProof="0">
                <a:solidFill>
                  <a:schemeClr val="tx2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/>
          </a:p>
        </p:txBody>
      </p:sp>
      <p:sp>
        <p:nvSpPr>
          <p:cNvPr id="22" name="text 2">
            <a:extLst>
              <a:ext uri="{FF2B5EF4-FFF2-40B4-BE49-F238E27FC236}">
                <a16:creationId xmlns:a16="http://schemas.microsoft.com/office/drawing/2014/main" id="{47A720F8-6495-0A90-0B2B-96D743618C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72087" y="4176000"/>
            <a:ext cx="3456000" cy="1980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2">
            <a:extLst>
              <a:ext uri="{FF2B5EF4-FFF2-40B4-BE49-F238E27FC236}">
                <a16:creationId xmlns:a16="http://schemas.microsoft.com/office/drawing/2014/main" id="{55B5AD6C-F5DC-9656-D99B-A67A0B7E50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372087" y="1980000"/>
            <a:ext cx="3456000" cy="2052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3" name="name 2">
            <a:extLst>
              <a:ext uri="{FF2B5EF4-FFF2-40B4-BE49-F238E27FC236}">
                <a16:creationId xmlns:a16="http://schemas.microsoft.com/office/drawing/2014/main" id="{843833B8-0DB0-55DA-F1C7-E7F79792FF2A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4361454" y="1512000"/>
            <a:ext cx="3456000" cy="360000"/>
          </a:xfrm>
        </p:spPr>
        <p:txBody>
          <a:bodyPr lIns="0" rIns="0" anchor="b" anchorCtr="0"/>
          <a:lstStyle>
            <a:lvl1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lang="en-US" sz="1200" b="0" kern="1200" cap="all" spc="100" baseline="0" noProof="0">
                <a:solidFill>
                  <a:schemeClr val="tx2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/>
          </a:p>
        </p:txBody>
      </p:sp>
      <p:sp>
        <p:nvSpPr>
          <p:cNvPr id="21" name="text 1">
            <a:extLst>
              <a:ext uri="{FF2B5EF4-FFF2-40B4-BE49-F238E27FC236}">
                <a16:creationId xmlns:a16="http://schemas.microsoft.com/office/drawing/2014/main" id="{1BF1AC36-FCCB-7183-0800-6570315803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7012" y="4176000"/>
            <a:ext cx="3456000" cy="1980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1">
            <a:extLst>
              <a:ext uri="{FF2B5EF4-FFF2-40B4-BE49-F238E27FC236}">
                <a16:creationId xmlns:a16="http://schemas.microsoft.com/office/drawing/2014/main" id="{48BC97E5-F4FC-CFC7-7C93-504C59D7A2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7012" y="1980000"/>
            <a:ext cx="3456000" cy="2052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5" name="name 1">
            <a:extLst>
              <a:ext uri="{FF2B5EF4-FFF2-40B4-BE49-F238E27FC236}">
                <a16:creationId xmlns:a16="http://schemas.microsoft.com/office/drawing/2014/main" id="{B0E966B6-2B9A-56EB-46A3-E08F077C0420}"/>
              </a:ext>
            </a:extLst>
          </p:cNvPr>
          <p:cNvSpPr>
            <a:spLocks noGrp="1"/>
          </p:cNvSpPr>
          <p:nvPr>
            <p:ph type="body" idx="51"/>
          </p:nvPr>
        </p:nvSpPr>
        <p:spPr>
          <a:xfrm>
            <a:off x="539998" y="1512000"/>
            <a:ext cx="3456000" cy="360000"/>
          </a:xfrm>
        </p:spPr>
        <p:txBody>
          <a:bodyPr lIns="0" rIns="0" anchor="b" anchorCtr="0"/>
          <a:lstStyle>
            <a:lvl1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1969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9 : 4 pictures top :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>
            <a:extLst>
              <a:ext uri="{FF2B5EF4-FFF2-40B4-BE49-F238E27FC236}">
                <a16:creationId xmlns:a16="http://schemas.microsoft.com/office/drawing/2014/main" id="{63D2B20F-0609-55E7-7FB3-B5EE7402F6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15CFD07B-B345-C5CF-102F-714DA927D2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629EB2D1-84A0-2CF1-B415-FC5E5FD7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4" name="content 4">
            <a:extLst>
              <a:ext uri="{FF2B5EF4-FFF2-40B4-BE49-F238E27FC236}">
                <a16:creationId xmlns:a16="http://schemas.microsoft.com/office/drawing/2014/main" id="{BAD52ADE-440B-F73C-8384-4062C1392F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108292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0" name="picture 4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08292" y="1476000"/>
            <a:ext cx="2520000" cy="1440000"/>
          </a:xfrm>
          <a:prstGeom prst="roundRect">
            <a:avLst>
              <a:gd name="adj" fmla="val 4941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23" name="content 3">
            <a:extLst>
              <a:ext uri="{FF2B5EF4-FFF2-40B4-BE49-F238E27FC236}">
                <a16:creationId xmlns:a16="http://schemas.microsoft.com/office/drawing/2014/main" id="{36EDB524-3828-3196-B148-EA4D6A28C4C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60098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3" name="picture 3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52194" y="1476000"/>
            <a:ext cx="2520000" cy="1440000"/>
          </a:xfrm>
          <a:prstGeom prst="roundRect">
            <a:avLst>
              <a:gd name="adj" fmla="val 4941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11904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4" name="picture 2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96097" y="1476000"/>
            <a:ext cx="2520000" cy="1440000"/>
          </a:xfrm>
          <a:prstGeom prst="roundRect">
            <a:avLst>
              <a:gd name="adj" fmla="val 4647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10" name="content 1">
            <a:extLst>
              <a:ext uri="{FF2B5EF4-FFF2-40B4-BE49-F238E27FC236}">
                <a16:creationId xmlns:a16="http://schemas.microsoft.com/office/drawing/2014/main" id="{40482FD8-4BA0-D9DD-B70D-CF60E58832E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63710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6D4F5E74-E4BC-26A1-6B3C-B594169526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0000" y="1476000"/>
            <a:ext cx="2520000" cy="1440000"/>
          </a:xfrm>
          <a:prstGeom prst="roundRect">
            <a:avLst>
              <a:gd name="adj" fmla="val 4895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3754094-CFF9-5176-ADA0-C7C302BF1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285D18D8-AB0C-71A7-8522-08C65978C7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6857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5 : 2 contents :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346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right 11cm">
            <a:extLst>
              <a:ext uri="{FF2B5EF4-FFF2-40B4-BE49-F238E27FC236}">
                <a16:creationId xmlns:a16="http://schemas.microsoft.com/office/drawing/2014/main" id="{5CD7E801-2CA0-914E-7C58-8A9BA829F6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8000"/>
            <a:ext cx="3600000" cy="352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A01F8A8C-5D5A-9E22-C97F-06DCBAFD563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140000" y="2628000"/>
            <a:ext cx="3600000" cy="352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7FDF0AB8-4A72-DBED-E3BA-57CD35D7F5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69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0 : picture left : 4 textbox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left 11cm">
            <a:extLst>
              <a:ext uri="{FF2B5EF4-FFF2-40B4-BE49-F238E27FC236}">
                <a16:creationId xmlns:a16="http://schemas.microsoft.com/office/drawing/2014/main" id="{74ED0BBF-0E8C-44D4-921F-066BA5C9B1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960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8" name="logo placeholder">
            <a:extLst>
              <a:ext uri="{FF2B5EF4-FFF2-40B4-BE49-F238E27FC236}">
                <a16:creationId xmlns:a16="http://schemas.microsoft.com/office/drawing/2014/main" id="{1F75B0BC-6C5A-1CD1-854C-F1D8676D772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BEB57DBE-63B8-E581-3096-F2652E6BC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A0884F85-B37A-46FC-CACB-D048B0C1E0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C36A1B14-05F1-8B1B-20DA-31A9A97A78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E318E77B-CFEA-5F69-2552-9B3EE92ACF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833138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8" name="text 3">
            <a:extLst>
              <a:ext uri="{FF2B5EF4-FFF2-40B4-BE49-F238E27FC236}">
                <a16:creationId xmlns:a16="http://schemas.microsoft.com/office/drawing/2014/main" id="{759DB7E1-A1AC-4FE8-5983-602E59EB1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080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CAE3D3F0-664E-ABBC-3640-50F182DB9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33138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292821D-E361-102A-F29E-3F6CA54EC1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" name="circle 1">
            <a:extLst>
              <a:ext uri="{FF2B5EF4-FFF2-40B4-BE49-F238E27FC236}">
                <a16:creationId xmlns:a16="http://schemas.microsoft.com/office/drawing/2014/main" id="{E5B88703-E9BF-0C2F-4269-A9F19C40121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89172" y="1044000"/>
            <a:ext cx="864000" cy="864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8" name="icon-placeholder">
            <a:extLst>
              <a:ext uri="{FF2B5EF4-FFF2-40B4-BE49-F238E27FC236}">
                <a16:creationId xmlns:a16="http://schemas.microsoft.com/office/drawing/2014/main" id="{7A046E54-CAF8-82C1-9111-5F55CCBA55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505172" y="1260000"/>
            <a:ext cx="432000" cy="432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A7461C7-A592-D8D9-0006-53F1781C6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0" y="622301"/>
            <a:ext cx="6120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C0586414-654D-FD5A-5B01-5890021AF4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2103" y="396000"/>
            <a:ext cx="61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7160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1 : 4 textboxes left :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right 11cm">
            <a:extLst>
              <a:ext uri="{FF2B5EF4-FFF2-40B4-BE49-F238E27FC236}">
                <a16:creationId xmlns:a16="http://schemas.microsoft.com/office/drawing/2014/main" id="{A5FFCE91-6216-65F0-E99E-12B1B5E936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1C22490-789B-BFF9-B222-ED971D27A7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DBF89A56-A523-E8FD-12B8-C64B68EC9D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413D237B-B50A-AE37-8CA0-41A8F798B5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E318E77B-CFEA-5F69-2552-9B3EE92ACF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664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endParaRPr lang="en-US"/>
          </a:p>
        </p:txBody>
      </p:sp>
      <p:sp>
        <p:nvSpPr>
          <p:cNvPr id="18" name="text 3">
            <a:extLst>
              <a:ext uri="{FF2B5EF4-FFF2-40B4-BE49-F238E27FC236}">
                <a16:creationId xmlns:a16="http://schemas.microsoft.com/office/drawing/2014/main" id="{759DB7E1-A1AC-4FE8-5983-602E59EB1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endParaRPr lang="en-US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CAE3D3F0-664E-ABBC-3640-50F182DB9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664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endParaRPr lang="en-US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292821D-E361-102A-F29E-3F6CA54EC1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00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endParaRPr lang="en-US"/>
          </a:p>
        </p:txBody>
      </p:sp>
      <p:sp>
        <p:nvSpPr>
          <p:cNvPr id="3" name="circle 1">
            <a:extLst>
              <a:ext uri="{FF2B5EF4-FFF2-40B4-BE49-F238E27FC236}">
                <a16:creationId xmlns:a16="http://schemas.microsoft.com/office/drawing/2014/main" id="{18E2054A-5D53-43EA-47D9-97D7ECD1D94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27200" y="1044000"/>
            <a:ext cx="864000" cy="864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icon-placeholder">
            <a:extLst>
              <a:ext uri="{FF2B5EF4-FFF2-40B4-BE49-F238E27FC236}">
                <a16:creationId xmlns:a16="http://schemas.microsoft.com/office/drawing/2014/main" id="{42DC2C6F-C5E6-4054-16E0-E9CD4D28965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243200" y="1260000"/>
            <a:ext cx="432000" cy="432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A7461C7-A592-D8D9-0006-53F1781C6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862" y="1493156"/>
            <a:ext cx="2880000" cy="3600000"/>
          </a:xfrm>
        </p:spPr>
        <p:txBody>
          <a:bodyPr vert="horz" anchor="ctr"/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tabLst>
                <a:tab pos="10760075" algn="r"/>
              </a:tabLst>
              <a:defRPr lang="en-US" sz="2400" b="1" i="0" kern="1200" spc="100" baseline="0" noProof="0" dirty="0">
                <a:solidFill>
                  <a:schemeClr val="bg2"/>
                </a:solidFill>
                <a:latin typeface="Segoe UI Semibold" panose="020B0502040204020203" pitchFamily="34" charset="0"/>
                <a:ea typeface="Segoe UI Black" panose="020B0A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2C29F309-EA97-F8D7-B9E5-7F0D7433E6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61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27502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2 : cover references : full page picture : text :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">
            <a:extLst>
              <a:ext uri="{FF2B5EF4-FFF2-40B4-BE49-F238E27FC236}">
                <a16:creationId xmlns:a16="http://schemas.microsoft.com/office/drawing/2014/main" id="{940ECA07-E3D7-CFCA-C677-0BD690AD1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B7DF5438-CE54-DB76-7519-6B492C3531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F49D278-F4EF-105E-D394-837DBAD3E5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E6CEDB-A8CD-4A71-1981-445288A065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" name="logo placeholder">
            <a:extLst>
              <a:ext uri="{FF2B5EF4-FFF2-40B4-BE49-F238E27FC236}">
                <a16:creationId xmlns:a16="http://schemas.microsoft.com/office/drawing/2014/main" id="{F34A17B4-9EFA-E101-8CCF-87C31702833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" name="text below">
            <a:extLst>
              <a:ext uri="{FF2B5EF4-FFF2-40B4-BE49-F238E27FC236}">
                <a16:creationId xmlns:a16="http://schemas.microsoft.com/office/drawing/2014/main" id="{A2CE80B2-8B9A-D0FB-C427-6D3137DAE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4000" y="1981074"/>
            <a:ext cx="4320000" cy="4176000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b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sz="1200" dirty="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lang="en-US" sz="1200" dirty="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lang="en-US" sz="1200" dirty="0">
                <a:solidFill>
                  <a:schemeClr val="tx1"/>
                </a:solidFill>
              </a:defRPr>
            </a:lvl4pPr>
            <a:lvl5pPr>
              <a:defRPr lang="en-US" sz="1600" dirty="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5" name="logo placeholder white">
            <a:extLst>
              <a:ext uri="{FF2B5EF4-FFF2-40B4-BE49-F238E27FC236}">
                <a16:creationId xmlns:a16="http://schemas.microsoft.com/office/drawing/2014/main" id="{468BE9AE-1E5A-D12A-64D1-88E2074751A3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9179337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 </a:t>
            </a:r>
          </a:p>
        </p:txBody>
      </p:sp>
      <p:sp>
        <p:nvSpPr>
          <p:cNvPr id="6" name="customer logo">
            <a:extLst>
              <a:ext uri="{FF2B5EF4-FFF2-40B4-BE49-F238E27FC236}">
                <a16:creationId xmlns:a16="http://schemas.microsoft.com/office/drawing/2014/main" id="{8DBDF38A-4389-1ECE-562B-874287CF8DD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395337" y="603936"/>
            <a:ext cx="1728000" cy="576000"/>
          </a:xfrm>
          <a:prstGeom prst="roundRect">
            <a:avLst>
              <a:gd name="adj" fmla="val 7414"/>
            </a:avLst>
          </a:prstGeom>
          <a:noFill/>
        </p:spPr>
        <p:txBody>
          <a:bodyPr anchor="ctr" anchorCtr="1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 CUSTOMER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45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 022a : references : long 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hg">
            <a:extLst>
              <a:ext uri="{FF2B5EF4-FFF2-40B4-BE49-F238E27FC236}">
                <a16:creationId xmlns:a16="http://schemas.microsoft.com/office/drawing/2014/main" id="{7CB97BF9-FAF4-B54D-AC1F-41FDC277823E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8881200" y="0"/>
            <a:ext cx="331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 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459B900-5FE1-00F0-A4B9-051ACF007E4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GB" smtClean="0"/>
            </a:lvl1pPr>
          </a:lstStyle>
          <a:p>
            <a:fld id="{D7B5DC5B-6873-43DB-ADC7-B15ACCE0DFD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1D38B9FD-F6EF-9E86-A8F2-ED5A7EBD06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" name="date">
            <a:extLst>
              <a:ext uri="{FF2B5EF4-FFF2-40B4-BE49-F238E27FC236}">
                <a16:creationId xmlns:a16="http://schemas.microsoft.com/office/drawing/2014/main" id="{5FEEC918-95BC-9B14-BDE8-A2EC4732897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April 26, 2024</a:t>
            </a:r>
            <a:endParaRPr lang="nl-NL"/>
          </a:p>
        </p:txBody>
      </p:sp>
      <p:sp>
        <p:nvSpPr>
          <p:cNvPr id="13" name="button 3">
            <a:extLst>
              <a:ext uri="{FF2B5EF4-FFF2-40B4-BE49-F238E27FC236}">
                <a16:creationId xmlns:a16="http://schemas.microsoft.com/office/drawing/2014/main" id="{0028027F-77E7-E5A3-FCB4-A76BAC4380D6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9179336" y="4939884"/>
            <a:ext cx="2484000" cy="72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lIns="180000" tIns="0" rIns="648000" bIns="0" anchor="ctr"/>
          <a:lstStyle>
            <a:lvl1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1pPr>
            <a:lvl2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2pPr>
            <a:lvl3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3pPr>
            <a:lvl4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4pPr>
            <a:lvl5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ircle 3">
            <a:extLst>
              <a:ext uri="{FF2B5EF4-FFF2-40B4-BE49-F238E27FC236}">
                <a16:creationId xmlns:a16="http://schemas.microsoft.com/office/drawing/2014/main" id="{1A59375E-4E5C-5355-94F0-B0E3A0089C8D}"/>
              </a:ext>
            </a:extLst>
          </p:cNvPr>
          <p:cNvSpPr>
            <a:spLocks noGrp="1"/>
          </p:cNvSpPr>
          <p:nvPr>
            <p:ph type="body" idx="81" hasCustomPrompt="1"/>
          </p:nvPr>
        </p:nvSpPr>
        <p:spPr>
          <a:xfrm>
            <a:off x="10960710" y="4936233"/>
            <a:ext cx="720000" cy="720000"/>
          </a:xfrm>
          <a:prstGeom prst="ellipse">
            <a:avLst/>
          </a:prstGeom>
          <a:solidFill>
            <a:schemeClr val="accent2"/>
          </a:solidFill>
          <a:ln w="3175">
            <a:noFill/>
          </a:ln>
          <a:effectLst/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icon-placeholder 3">
            <a:extLst>
              <a:ext uri="{FF2B5EF4-FFF2-40B4-BE49-F238E27FC236}">
                <a16:creationId xmlns:a16="http://schemas.microsoft.com/office/drawing/2014/main" id="{827DB83A-A77F-4F1F-E9DE-0516A980101C}"/>
              </a:ext>
            </a:extLst>
          </p:cNvPr>
          <p:cNvSpPr>
            <a:spLocks noGrp="1"/>
          </p:cNvSpPr>
          <p:nvPr>
            <p:ph sz="quarter" idx="82"/>
          </p:nvPr>
        </p:nvSpPr>
        <p:spPr>
          <a:xfrm>
            <a:off x="11110025" y="5086583"/>
            <a:ext cx="432000" cy="432000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utton 2">
            <a:extLst>
              <a:ext uri="{FF2B5EF4-FFF2-40B4-BE49-F238E27FC236}">
                <a16:creationId xmlns:a16="http://schemas.microsoft.com/office/drawing/2014/main" id="{116C5A0F-2DE9-F729-A9A5-0BB95001B7CD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9179336" y="3704913"/>
            <a:ext cx="2484000" cy="72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lIns="180000" tIns="0" rIns="648000" bIns="0" anchor="ctr"/>
          <a:lstStyle>
            <a:lvl1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1pPr>
            <a:lvl2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2pPr>
            <a:lvl3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3pPr>
            <a:lvl4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4pPr>
            <a:lvl5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ircle 2">
            <a:extLst>
              <a:ext uri="{FF2B5EF4-FFF2-40B4-BE49-F238E27FC236}">
                <a16:creationId xmlns:a16="http://schemas.microsoft.com/office/drawing/2014/main" id="{A1A9BD3A-61F0-98B9-1F49-01DD9B1D3000}"/>
              </a:ext>
            </a:extLst>
          </p:cNvPr>
          <p:cNvSpPr>
            <a:spLocks noGrp="1"/>
          </p:cNvSpPr>
          <p:nvPr>
            <p:ph type="body" idx="79" hasCustomPrompt="1"/>
          </p:nvPr>
        </p:nvSpPr>
        <p:spPr>
          <a:xfrm>
            <a:off x="10960710" y="3703087"/>
            <a:ext cx="720000" cy="720000"/>
          </a:xfrm>
          <a:prstGeom prst="ellipse">
            <a:avLst/>
          </a:prstGeom>
          <a:solidFill>
            <a:schemeClr val="accent2"/>
          </a:solidFill>
          <a:ln w="3175">
            <a:noFill/>
          </a:ln>
          <a:effectLst/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icon-placeholder 2">
            <a:extLst>
              <a:ext uri="{FF2B5EF4-FFF2-40B4-BE49-F238E27FC236}">
                <a16:creationId xmlns:a16="http://schemas.microsoft.com/office/drawing/2014/main" id="{E514FF21-5A7C-4F7F-720B-28B168C2713C}"/>
              </a:ext>
            </a:extLst>
          </p:cNvPr>
          <p:cNvSpPr>
            <a:spLocks noGrp="1"/>
          </p:cNvSpPr>
          <p:nvPr>
            <p:ph sz="quarter" idx="80"/>
          </p:nvPr>
        </p:nvSpPr>
        <p:spPr>
          <a:xfrm>
            <a:off x="11110025" y="3853437"/>
            <a:ext cx="432000" cy="432000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button 1">
            <a:extLst>
              <a:ext uri="{FF2B5EF4-FFF2-40B4-BE49-F238E27FC236}">
                <a16:creationId xmlns:a16="http://schemas.microsoft.com/office/drawing/2014/main" id="{4271B51A-87CA-692F-C9DF-8D624A90B9A5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9179336" y="2469942"/>
            <a:ext cx="2484000" cy="72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lIns="180000" tIns="0" rIns="648000" bIns="0" anchor="ctr"/>
          <a:lstStyle>
            <a:lvl1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1pPr>
            <a:lvl2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2pPr>
            <a:lvl3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3pPr>
            <a:lvl4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4pPr>
            <a:lvl5pPr>
              <a:lnSpc>
                <a:spcPts val="1200"/>
              </a:lnSpc>
              <a:spcAft>
                <a:spcPts val="0"/>
              </a:spcAft>
              <a:defRPr sz="1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ircle 1">
            <a:extLst>
              <a:ext uri="{FF2B5EF4-FFF2-40B4-BE49-F238E27FC236}">
                <a16:creationId xmlns:a16="http://schemas.microsoft.com/office/drawing/2014/main" id="{732B39F3-0C53-EBC9-400C-2DB4D1352698}"/>
              </a:ext>
            </a:extLst>
          </p:cNvPr>
          <p:cNvSpPr>
            <a:spLocks noGrp="1"/>
          </p:cNvSpPr>
          <p:nvPr>
            <p:ph type="body" idx="78" hasCustomPrompt="1"/>
          </p:nvPr>
        </p:nvSpPr>
        <p:spPr>
          <a:xfrm>
            <a:off x="10960710" y="2469942"/>
            <a:ext cx="720000" cy="720000"/>
          </a:xfrm>
          <a:prstGeom prst="ellipse">
            <a:avLst/>
          </a:prstGeom>
          <a:solidFill>
            <a:schemeClr val="accent2"/>
          </a:solidFill>
          <a:ln w="3175">
            <a:noFill/>
          </a:ln>
          <a:effectLst/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1" name="icon-placeholder 1">
            <a:extLst>
              <a:ext uri="{FF2B5EF4-FFF2-40B4-BE49-F238E27FC236}">
                <a16:creationId xmlns:a16="http://schemas.microsoft.com/office/drawing/2014/main" id="{5F2A848B-8C60-507A-317D-5EA95EEB41F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1110025" y="2620292"/>
            <a:ext cx="432000" cy="432000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subhead 4">
            <a:extLst>
              <a:ext uri="{FF2B5EF4-FFF2-40B4-BE49-F238E27FC236}">
                <a16:creationId xmlns:a16="http://schemas.microsoft.com/office/drawing/2014/main" id="{EBB9113A-9913-C6D2-6C35-02AB7F8760C8}"/>
              </a:ext>
            </a:extLst>
          </p:cNvPr>
          <p:cNvSpPr>
            <a:spLocks noGrp="1"/>
          </p:cNvSpPr>
          <p:nvPr>
            <p:ph type="body" idx="87"/>
          </p:nvPr>
        </p:nvSpPr>
        <p:spPr>
          <a:xfrm>
            <a:off x="9464188" y="1495939"/>
            <a:ext cx="2160001" cy="4320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spc="0" smtClean="0">
                <a:solidFill>
                  <a:schemeClr val="tx1"/>
                </a:solidFill>
                <a:latin typeface="+mn-lt"/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4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2" name="logo placeholder white">
            <a:extLst>
              <a:ext uri="{FF2B5EF4-FFF2-40B4-BE49-F238E27FC236}">
                <a16:creationId xmlns:a16="http://schemas.microsoft.com/office/drawing/2014/main" id="{94172B6B-6B33-E669-22A9-FA37565B7C91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9179336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 </a:t>
            </a:r>
          </a:p>
        </p:txBody>
      </p:sp>
      <p:sp>
        <p:nvSpPr>
          <p:cNvPr id="63" name="customer logo">
            <a:extLst>
              <a:ext uri="{FF2B5EF4-FFF2-40B4-BE49-F238E27FC236}">
                <a16:creationId xmlns:a16="http://schemas.microsoft.com/office/drawing/2014/main" id="{B35E3D6E-6FE0-7FC6-AC5B-7CB179A6DC63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395337" y="603936"/>
            <a:ext cx="1728000" cy="576000"/>
          </a:xfrm>
          <a:prstGeom prst="roundRect">
            <a:avLst>
              <a:gd name="adj" fmla="val 7414"/>
            </a:avLst>
          </a:prstGeom>
          <a:noFill/>
        </p:spPr>
        <p:txBody>
          <a:bodyPr anchor="ctr" anchorCtr="1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 CUSTOMER LOGO</a:t>
            </a:r>
            <a:endParaRPr lang="en-US"/>
          </a:p>
        </p:txBody>
      </p:sp>
      <p:sp>
        <p:nvSpPr>
          <p:cNvPr id="64" name="text 3">
            <a:extLst>
              <a:ext uri="{FF2B5EF4-FFF2-40B4-BE49-F238E27FC236}">
                <a16:creationId xmlns:a16="http://schemas.microsoft.com/office/drawing/2014/main" id="{C7B7B0F1-1389-039B-1882-E56204926F31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11242" y="2205544"/>
            <a:ext cx="2556000" cy="396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lIns="0" tIns="0" rIns="180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6" name="subhead 3">
            <a:extLst>
              <a:ext uri="{FF2B5EF4-FFF2-40B4-BE49-F238E27FC236}">
                <a16:creationId xmlns:a16="http://schemas.microsoft.com/office/drawing/2014/main" id="{846451F4-8E98-411D-0946-B13B5FE3C523}"/>
              </a:ext>
            </a:extLst>
          </p:cNvPr>
          <p:cNvSpPr>
            <a:spLocks noGrp="1"/>
          </p:cNvSpPr>
          <p:nvPr>
            <p:ph type="body" idx="77"/>
          </p:nvPr>
        </p:nvSpPr>
        <p:spPr>
          <a:xfrm>
            <a:off x="6751242" y="1495939"/>
            <a:ext cx="2016000" cy="4320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spc="0" smtClean="0">
                <a:solidFill>
                  <a:schemeClr val="tx1"/>
                </a:solidFill>
                <a:latin typeface="+mn-lt"/>
              </a:defRPr>
            </a:lvl1pPr>
            <a:lvl5pPr>
              <a:defRPr>
                <a:solidFill>
                  <a:schemeClr val="tx2"/>
                </a:solidFill>
              </a:defRPr>
            </a:lvl5pPr>
          </a:lstStyle>
          <a:p>
            <a:pPr lvl="4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icon-placeholder 3">
            <a:extLst>
              <a:ext uri="{FF2B5EF4-FFF2-40B4-BE49-F238E27FC236}">
                <a16:creationId xmlns:a16="http://schemas.microsoft.com/office/drawing/2014/main" id="{BFB3EA2C-5D23-5BF0-590E-32A3AB43815A}"/>
              </a:ext>
            </a:extLst>
          </p:cNvPr>
          <p:cNvSpPr>
            <a:spLocks noGrp="1"/>
          </p:cNvSpPr>
          <p:nvPr>
            <p:ph sz="quarter" idx="51"/>
          </p:nvPr>
        </p:nvSpPr>
        <p:spPr>
          <a:xfrm>
            <a:off x="6211242" y="1486685"/>
            <a:ext cx="432000" cy="432000"/>
          </a:xfrm>
        </p:spPr>
        <p:txBody>
          <a:bodyPr rIns="108000" anchor="t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67" name="text 2">
            <a:extLst>
              <a:ext uri="{FF2B5EF4-FFF2-40B4-BE49-F238E27FC236}">
                <a16:creationId xmlns:a16="http://schemas.microsoft.com/office/drawing/2014/main" id="{AA604985-0A44-1DF3-DF06-3B7BD48E4A68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375621" y="2205544"/>
            <a:ext cx="2556000" cy="396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lIns="0" tIns="0" rIns="180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8" name="subhead 2">
            <a:extLst>
              <a:ext uri="{FF2B5EF4-FFF2-40B4-BE49-F238E27FC236}">
                <a16:creationId xmlns:a16="http://schemas.microsoft.com/office/drawing/2014/main" id="{F39425E0-90BF-E5FE-F105-C62FFF09ACDD}"/>
              </a:ext>
            </a:extLst>
          </p:cNvPr>
          <p:cNvSpPr>
            <a:spLocks noGrp="1"/>
          </p:cNvSpPr>
          <p:nvPr>
            <p:ph type="body" idx="76"/>
          </p:nvPr>
        </p:nvSpPr>
        <p:spPr>
          <a:xfrm>
            <a:off x="3915621" y="1495939"/>
            <a:ext cx="2016000" cy="4320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spc="0" smtClean="0">
                <a:solidFill>
                  <a:schemeClr val="tx1"/>
                </a:solidFill>
                <a:latin typeface="+mn-lt"/>
              </a:defRPr>
            </a:lvl1pPr>
            <a:lvl5pPr>
              <a:defRPr>
                <a:solidFill>
                  <a:schemeClr val="tx2"/>
                </a:solidFill>
              </a:defRPr>
            </a:lvl5pPr>
          </a:lstStyle>
          <a:p>
            <a:pPr lvl="4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9" name="Icon-placeholder 2">
            <a:extLst>
              <a:ext uri="{FF2B5EF4-FFF2-40B4-BE49-F238E27FC236}">
                <a16:creationId xmlns:a16="http://schemas.microsoft.com/office/drawing/2014/main" id="{D70E11D8-22E4-1BB0-2CEE-EAEB8AE57491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375621" y="1495939"/>
            <a:ext cx="432000" cy="432000"/>
          </a:xfrm>
        </p:spPr>
        <p:txBody>
          <a:bodyPr rIns="108000" anchor="t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70" name="text 1">
            <a:extLst>
              <a:ext uri="{FF2B5EF4-FFF2-40B4-BE49-F238E27FC236}">
                <a16:creationId xmlns:a16="http://schemas.microsoft.com/office/drawing/2014/main" id="{F5B698AB-1131-C547-D24A-AD8CCAF6CE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36602" y="2205544"/>
            <a:ext cx="2556000" cy="396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lIns="0" tIns="0" rIns="180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0" name="subhead 1">
            <a:extLst>
              <a:ext uri="{FF2B5EF4-FFF2-40B4-BE49-F238E27FC236}">
                <a16:creationId xmlns:a16="http://schemas.microsoft.com/office/drawing/2014/main" id="{B94A39BB-A1D0-73B8-7C78-9D5EF776744D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1076602" y="1495939"/>
            <a:ext cx="2016000" cy="4320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spc="0" smtClean="0">
                <a:solidFill>
                  <a:schemeClr val="tx1"/>
                </a:solidFill>
                <a:latin typeface="+mn-lt"/>
              </a:defRPr>
            </a:lvl1pPr>
            <a:lvl5pPr>
              <a:defRPr>
                <a:solidFill>
                  <a:schemeClr val="tx2"/>
                </a:solidFill>
              </a:defRPr>
            </a:lvl5pPr>
          </a:lstStyle>
          <a:p>
            <a:pPr lvl="4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1" name="icon-placeholder 1">
            <a:extLst>
              <a:ext uri="{FF2B5EF4-FFF2-40B4-BE49-F238E27FC236}">
                <a16:creationId xmlns:a16="http://schemas.microsoft.com/office/drawing/2014/main" id="{22BE5786-D506-9333-7BCF-B840E043FBB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59774" y="1495939"/>
            <a:ext cx="432000" cy="432000"/>
          </a:xfrm>
        </p:spPr>
        <p:txBody>
          <a:bodyPr rIns="108000" anchor="t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75" name="title">
            <a:extLst>
              <a:ext uri="{FF2B5EF4-FFF2-40B4-BE49-F238E27FC236}">
                <a16:creationId xmlns:a16="http://schemas.microsoft.com/office/drawing/2014/main" id="{FAF29352-6CFD-356E-04FF-146566787C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8208000" cy="648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4" name="navigation">
            <a:extLst>
              <a:ext uri="{FF2B5EF4-FFF2-40B4-BE49-F238E27FC236}">
                <a16:creationId xmlns:a16="http://schemas.microsoft.com/office/drawing/2014/main" id="{FAAB39D1-6F84-16FA-0F65-D7F3CF76F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8172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776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orient="horz" pos="1207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22b : references : content left : picture right : citia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g gradient">
            <a:extLst>
              <a:ext uri="{FF2B5EF4-FFF2-40B4-BE49-F238E27FC236}">
                <a16:creationId xmlns:a16="http://schemas.microsoft.com/office/drawing/2014/main" id="{D64A880E-B408-A8EF-1752-56090A7E900C}"/>
              </a:ext>
            </a:extLst>
          </p:cNvPr>
          <p:cNvSpPr/>
          <p:nvPr/>
        </p:nvSpPr>
        <p:spPr>
          <a:xfrm>
            <a:off x="8881524" y="0"/>
            <a:ext cx="3310475" cy="6858000"/>
          </a:xfrm>
          <a:prstGeom prst="rect">
            <a:avLst/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endParaRPr lang="en-DE" sz="1600" b="1" i="0" noProof="0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5" name="picture left 11cm">
            <a:extLst>
              <a:ext uri="{FF2B5EF4-FFF2-40B4-BE49-F238E27FC236}">
                <a16:creationId xmlns:a16="http://schemas.microsoft.com/office/drawing/2014/main" id="{07669673-F448-1693-0028-5B9E6376EC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79375" y="0"/>
            <a:ext cx="3312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0005317A-714E-6129-0C03-108F88B10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bg1"/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21C5E44E-70EA-7058-57E6-01C1C0DC51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D6B2871C-75F6-A225-CE39-62007A0863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8" name="text box">
            <a:extLst>
              <a:ext uri="{FF2B5EF4-FFF2-40B4-BE49-F238E27FC236}">
                <a16:creationId xmlns:a16="http://schemas.microsoft.com/office/drawing/2014/main" id="{6FA9A6C5-711D-0B6D-55AB-5E4C59811D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30750" y="1476000"/>
            <a:ext cx="2232695" cy="4680000"/>
          </a:xfrm>
          <a:prstGeom prst="roundRect">
            <a:avLst>
              <a:gd name="adj" fmla="val 0"/>
            </a:avLst>
          </a:prstGeom>
          <a:noFill/>
          <a:effectLst/>
        </p:spPr>
        <p:txBody>
          <a:bodyPr lIns="0" tIns="360000" rIns="0" bIns="3600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0" name="quote sign">
            <a:extLst>
              <a:ext uri="{FF2B5EF4-FFF2-40B4-BE49-F238E27FC236}">
                <a16:creationId xmlns:a16="http://schemas.microsoft.com/office/drawing/2014/main" id="{360CD8C4-DDA3-F69A-4DF6-7FC09596E4A0}"/>
              </a:ext>
            </a:extLst>
          </p:cNvPr>
          <p:cNvSpPr/>
          <p:nvPr/>
        </p:nvSpPr>
        <p:spPr>
          <a:xfrm>
            <a:off x="9216000" y="612000"/>
            <a:ext cx="681460" cy="576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industry">
            <a:extLst>
              <a:ext uri="{FF2B5EF4-FFF2-40B4-BE49-F238E27FC236}">
                <a16:creationId xmlns:a16="http://schemas.microsoft.com/office/drawing/2014/main" id="{59A98800-DA0A-0FA8-DBD9-591CCB872EF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5891927" y="1507551"/>
            <a:ext cx="2880000" cy="36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="0" cap="all" spc="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logo placeholder white">
            <a:extLst>
              <a:ext uri="{FF2B5EF4-FFF2-40B4-BE49-F238E27FC236}">
                <a16:creationId xmlns:a16="http://schemas.microsoft.com/office/drawing/2014/main" id="{3DE755F3-9F3D-FA53-9A94-CFFA43974D1C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5890302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 </a:t>
            </a:r>
          </a:p>
        </p:txBody>
      </p:sp>
      <p:sp>
        <p:nvSpPr>
          <p:cNvPr id="13" name="customer logo">
            <a:extLst>
              <a:ext uri="{FF2B5EF4-FFF2-40B4-BE49-F238E27FC236}">
                <a16:creationId xmlns:a16="http://schemas.microsoft.com/office/drawing/2014/main" id="{9FF0D743-933C-8EB2-55C0-BB3DD8567E31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6106302" y="603936"/>
            <a:ext cx="1728000" cy="576000"/>
          </a:xfrm>
          <a:prstGeom prst="roundRect">
            <a:avLst>
              <a:gd name="adj" fmla="val 7414"/>
            </a:avLst>
          </a:prstGeom>
          <a:noFill/>
        </p:spPr>
        <p:txBody>
          <a:bodyPr anchor="ctr" anchorCtr="1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 </a:t>
            </a:r>
            <a:endParaRPr lang="en-US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55460CD8-7F20-3092-8A14-190F979D779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1989138"/>
            <a:ext cx="4680000" cy="4166862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24D79DE1-5191-A9D7-9EAB-2EC78ABF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4680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16" name="navigation">
            <a:extLst>
              <a:ext uri="{FF2B5EF4-FFF2-40B4-BE49-F238E27FC236}">
                <a16:creationId xmlns:a16="http://schemas.microsoft.com/office/drawing/2014/main" id="{756EB541-0893-E536-3461-F1B4F0BC3B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468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609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253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3a : 4 contents : picture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>
            <a:extLst>
              <a:ext uri="{FF2B5EF4-FFF2-40B4-BE49-F238E27FC236}">
                <a16:creationId xmlns:a16="http://schemas.microsoft.com/office/drawing/2014/main" id="{7587F319-9817-5E8C-3267-E8B5F5655F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F5CDEDD9-5767-BF78-73FE-C497E4578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84078D7-3AA4-7E7A-E9A2-7479782512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3830FDEA-EA00-C121-8031-B1412F780AD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589138" y="2138200"/>
            <a:ext cx="2052000" cy="4032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tabLst>
                <a:tab pos="182563" algn="l"/>
              </a:tabLst>
              <a:defRPr lang="en-US" sz="10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10" name="content 3">
            <a:extLst>
              <a:ext uri="{FF2B5EF4-FFF2-40B4-BE49-F238E27FC236}">
                <a16:creationId xmlns:a16="http://schemas.microsoft.com/office/drawing/2014/main" id="{18389146-967B-7864-AB07-8E11BE69C32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388758" y="2138200"/>
            <a:ext cx="2052000" cy="4032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tabLst>
                <a:tab pos="182563" algn="l"/>
              </a:tabLst>
              <a:defRPr lang="en-US" sz="1000" b="0" kern="1200" spc="4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188379" y="2138200"/>
            <a:ext cx="2052000" cy="4032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tabLst>
                <a:tab pos="182563" algn="l"/>
              </a:tabLst>
              <a:defRPr lang="en-US" sz="10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7" y="2138200"/>
            <a:ext cx="4500003" cy="4032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000" dirty="0"/>
            </a:lvl1pPr>
            <a:lvl2pPr>
              <a:defRPr lang="en-US" sz="1000" dirty="0"/>
            </a:lvl2pPr>
            <a:lvl3pPr>
              <a:defRPr lang="en-US" sz="1000" dirty="0"/>
            </a:lvl3pPr>
            <a:lvl4pPr>
              <a:defRPr lang="en-US" sz="1000" dirty="0"/>
            </a:lvl4pPr>
            <a:lvl5pPr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defRPr lang="en-US" sz="1000" dirty="0">
                <a:solidFill>
                  <a:schemeClr val="tx1"/>
                </a:solidFill>
              </a:defRPr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endParaRPr lang="en-US"/>
          </a:p>
        </p:txBody>
      </p:sp>
      <p:sp>
        <p:nvSpPr>
          <p:cNvPr id="8" name="picture right">
            <a:extLst>
              <a:ext uri="{FF2B5EF4-FFF2-40B4-BE49-F238E27FC236}">
                <a16:creationId xmlns:a16="http://schemas.microsoft.com/office/drawing/2014/main" id="{500BF364-B154-B732-45F8-3424E506904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188379" y="-101600"/>
            <a:ext cx="6480000" cy="1980000"/>
          </a:xfrm>
          <a:prstGeom prst="roundRect">
            <a:avLst>
              <a:gd name="adj" fmla="val 339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en-US"/>
              <a:t>Click icon to add picture</a:t>
            </a:r>
            <a:endParaRPr lang="en-ID"/>
          </a:p>
        </p:txBody>
      </p:sp>
      <p:sp>
        <p:nvSpPr>
          <p:cNvPr id="6" name="customer logo">
            <a:extLst>
              <a:ext uri="{FF2B5EF4-FFF2-40B4-BE49-F238E27FC236}">
                <a16:creationId xmlns:a16="http://schemas.microsoft.com/office/drawing/2014/main" id="{6F6BF07D-D104-2E05-4531-3EB7767A3D92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3707999" y="1044000"/>
            <a:ext cx="1332000" cy="828000"/>
          </a:xfrm>
          <a:prstGeom prst="roundRect">
            <a:avLst>
              <a:gd name="adj" fmla="val 7414"/>
            </a:avLst>
          </a:prstGeom>
          <a:noFill/>
        </p:spPr>
        <p:txBody>
          <a:bodyPr anchor="ctr" anchorCtr="1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 </a:t>
            </a:r>
            <a:endParaRPr lang="en-US"/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0633A486-8FC4-7B86-52CC-410B63F32E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7" y="1497200"/>
            <a:ext cx="3132000" cy="491938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spc="70" baseline="0">
                <a:gradFill>
                  <a:gsLst>
                    <a:gs pos="0">
                      <a:srgbClr val="FF4D4A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C42A5394-0582-37AA-737C-9A22F650E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3132000" cy="828000"/>
          </a:xfrm>
        </p:spPr>
        <p:txBody>
          <a:bodyPr vert="horz" anchor="b"/>
          <a:lstStyle/>
          <a:p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E2DB2781-02B7-8F48-880C-0864DAF6A9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29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7228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3b : 5 contents :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>
            <a:extLst>
              <a:ext uri="{FF2B5EF4-FFF2-40B4-BE49-F238E27FC236}">
                <a16:creationId xmlns:a16="http://schemas.microsoft.com/office/drawing/2014/main" id="{7587F319-9817-5E8C-3267-E8B5F5655F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F5CDEDD9-5767-BF78-73FE-C497E4578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84078D7-3AA4-7E7A-E9A2-7479782512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1" name="content C">
            <a:extLst>
              <a:ext uri="{FF2B5EF4-FFF2-40B4-BE49-F238E27FC236}">
                <a16:creationId xmlns:a16="http://schemas.microsoft.com/office/drawing/2014/main" id="{3830FDEA-EA00-C121-8031-B1412F780ADB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769138" y="3283974"/>
            <a:ext cx="1872000" cy="28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b="0" baseline="0" smtClean="0"/>
            </a:lvl2pPr>
            <a:lvl3pPr>
              <a:defRPr lang="en-US" sz="1200" smtClean="0"/>
            </a:lvl3pPr>
            <a:lvl4pPr>
              <a:defRPr lang="en-US" sz="1200" smtClean="0">
                <a:solidFill>
                  <a:schemeClr val="tx2"/>
                </a:solidFill>
                <a:cs typeface="+mn-cs"/>
              </a:defRPr>
            </a:lvl4pPr>
            <a:lvl5pPr>
              <a:defRPr lang="en-US" sz="1200" smtClean="0"/>
            </a:lvl5pPr>
            <a:lvl6pPr>
              <a:defRPr lang="en-US" sz="1200" smtClean="0"/>
            </a:lvl6pPr>
            <a:lvl7pPr>
              <a:defRPr lang="en-US" sz="1200" smtClean="0"/>
            </a:lvl7pPr>
            <a:lvl8pPr>
              <a:defRPr lang="en-US" sz="1200" smtClean="0"/>
            </a:lvl8pPr>
            <a:lvl9pPr>
              <a:defRPr lang="en-US" sz="1200" smtClean="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>
              <a:lnSpc>
                <a:spcPts val="1800"/>
              </a:lnSpc>
              <a:spcBef>
                <a:spcPts val="300"/>
              </a:spcBef>
            </a:pPr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>
              <a:spcBef>
                <a:spcPts val="300"/>
              </a:spcBef>
            </a:pPr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5" name="picture 3">
            <a:extLst>
              <a:ext uri="{FF2B5EF4-FFF2-40B4-BE49-F238E27FC236}">
                <a16:creationId xmlns:a16="http://schemas.microsoft.com/office/drawing/2014/main" id="{CB19C893-3E43-7B55-F09D-404F65ECC95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780002" y="1993437"/>
            <a:ext cx="1872000" cy="1152000"/>
          </a:xfrm>
          <a:prstGeom prst="roundRect">
            <a:avLst>
              <a:gd name="adj" fmla="val 5816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10" name="content B">
            <a:extLst>
              <a:ext uri="{FF2B5EF4-FFF2-40B4-BE49-F238E27FC236}">
                <a16:creationId xmlns:a16="http://schemas.microsoft.com/office/drawing/2014/main" id="{18389146-967B-7864-AB07-8E11BE69C32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645138" y="3283974"/>
            <a:ext cx="1872000" cy="28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b="0" baseline="0" smtClean="0"/>
            </a:lvl2pPr>
            <a:lvl3pPr>
              <a:defRPr lang="en-US" sz="1200" smtClean="0"/>
            </a:lvl3pPr>
            <a:lvl4pPr>
              <a:defRPr lang="en-US" sz="1200" smtClean="0">
                <a:solidFill>
                  <a:schemeClr val="tx2"/>
                </a:solidFill>
                <a:cs typeface="+mn-cs"/>
              </a:defRPr>
            </a:lvl4pPr>
            <a:lvl5pPr>
              <a:defRPr lang="en-US" sz="1200" smtClean="0"/>
            </a:lvl5pPr>
            <a:lvl6pPr>
              <a:defRPr lang="en-US" sz="1200" smtClean="0"/>
            </a:lvl6pPr>
            <a:lvl7pPr>
              <a:defRPr lang="en-US" sz="1200" smtClean="0"/>
            </a:lvl7pPr>
            <a:lvl8pPr>
              <a:defRPr lang="en-US" sz="1200" smtClean="0"/>
            </a:lvl8pPr>
            <a:lvl9pPr>
              <a:defRPr lang="en-US" sz="1200" smtClean="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>
              <a:lnSpc>
                <a:spcPts val="1800"/>
              </a:lnSpc>
              <a:spcBef>
                <a:spcPts val="300"/>
              </a:spcBef>
            </a:pPr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>
              <a:spcBef>
                <a:spcPts val="300"/>
              </a:spcBef>
            </a:pPr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6" name="picture 2">
            <a:extLst>
              <a:ext uri="{FF2B5EF4-FFF2-40B4-BE49-F238E27FC236}">
                <a16:creationId xmlns:a16="http://schemas.microsoft.com/office/drawing/2014/main" id="{B610BDAE-37E1-B34F-0439-C8A4845B6F8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645138" y="1993437"/>
            <a:ext cx="1872000" cy="1152000"/>
          </a:xfrm>
          <a:prstGeom prst="roundRect">
            <a:avLst>
              <a:gd name="adj" fmla="val 6061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3" name="content A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21138" y="3283974"/>
            <a:ext cx="1872000" cy="28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300"/>
              </a:spcBef>
              <a:tabLst>
                <a:tab pos="182563" algn="l"/>
              </a:tabLst>
              <a:defRPr lang="en-US" sz="12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lnSpc>
                <a:spcPts val="1800"/>
              </a:lnSpc>
              <a:spcBef>
                <a:spcPts val="300"/>
              </a:spcBef>
              <a:tabLst>
                <a:tab pos="182563" algn="l"/>
              </a:tabLst>
              <a:defRPr lang="en-US" sz="12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ts val="1800"/>
              </a:lnSpc>
              <a:spcBef>
                <a:spcPts val="300"/>
              </a:spcBef>
              <a:tabLst>
                <a:tab pos="182563" algn="l"/>
              </a:tabLst>
              <a:defRPr lang="en-US" sz="12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ts val="1800"/>
              </a:lnSpc>
              <a:spcBef>
                <a:spcPts val="300"/>
              </a:spcBef>
              <a:tabLst>
                <a:tab pos="182563" algn="l"/>
              </a:tabLst>
              <a:defRPr lang="en-US" sz="12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lnSpc>
                <a:spcPts val="1800"/>
              </a:lnSpc>
              <a:spcBef>
                <a:spcPts val="300"/>
              </a:spcBef>
              <a:tabLst>
                <a:tab pos="182563" algn="l"/>
              </a:tabLst>
              <a:defRPr lang="en-US" sz="1200" smtClean="0"/>
            </a:lvl5pPr>
            <a:lvl6pPr>
              <a:lnSpc>
                <a:spcPts val="1800"/>
              </a:lnSpc>
              <a:spcBef>
                <a:spcPts val="300"/>
              </a:spcBef>
              <a:defRPr lang="en-US" sz="1200" dirty="0"/>
            </a:lvl6pPr>
            <a:lvl7pPr>
              <a:lnSpc>
                <a:spcPts val="1800"/>
              </a:lnSpc>
              <a:spcBef>
                <a:spcPts val="300"/>
              </a:spcBef>
              <a:defRPr lang="en-US" sz="1200" dirty="0"/>
            </a:lvl7pPr>
            <a:lvl8pPr>
              <a:lnSpc>
                <a:spcPts val="1800"/>
              </a:lnSpc>
              <a:spcBef>
                <a:spcPts val="300"/>
              </a:spcBef>
              <a:defRPr lang="en-US" sz="1200" dirty="0"/>
            </a:lvl8pPr>
            <a:lvl9pPr>
              <a:lnSpc>
                <a:spcPts val="1800"/>
              </a:lnSpc>
              <a:spcBef>
                <a:spcPts val="300"/>
              </a:spcBef>
              <a:defRPr lang="en-US" sz="1200" dirty="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7" name="picture 1">
            <a:extLst>
              <a:ext uri="{FF2B5EF4-FFF2-40B4-BE49-F238E27FC236}">
                <a16:creationId xmlns:a16="http://schemas.microsoft.com/office/drawing/2014/main" id="{A2181A85-67F3-4040-0C70-CD4B92E7B17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21138" y="1993437"/>
            <a:ext cx="1872000" cy="1152000"/>
          </a:xfrm>
          <a:prstGeom prst="roundRect">
            <a:avLst>
              <a:gd name="adj" fmla="val 6172"/>
            </a:avLst>
          </a:prstGeom>
          <a:solidFill>
            <a:schemeClr val="bg1"/>
          </a:solidFill>
          <a:effectLst/>
        </p:spPr>
        <p:txBody>
          <a:bodyPr/>
          <a:lstStyle/>
          <a:p>
            <a:endParaRPr lang="en-DE"/>
          </a:p>
        </p:txBody>
      </p:sp>
      <p:sp>
        <p:nvSpPr>
          <p:cNvPr id="28" name="content 3">
            <a:extLst>
              <a:ext uri="{FF2B5EF4-FFF2-40B4-BE49-F238E27FC236}">
                <a16:creationId xmlns:a16="http://schemas.microsoft.com/office/drawing/2014/main" id="{C1680A4C-F25B-0267-212B-AD9960BC73B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5521138" y="1484313"/>
            <a:ext cx="6120000" cy="5048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b="0" baseline="0" smtClean="0"/>
            </a:lvl2pPr>
            <a:lvl3pPr>
              <a:defRPr lang="en-US" sz="1200" smtClean="0"/>
            </a:lvl3pPr>
            <a:lvl4pPr>
              <a:defRPr lang="en-US" sz="1200" smtClean="0">
                <a:solidFill>
                  <a:schemeClr val="tx2"/>
                </a:solidFill>
                <a:cs typeface="+mn-cs"/>
              </a:defRPr>
            </a:lvl4pPr>
            <a:lvl5pPr>
              <a:defRPr lang="en-US" sz="1200" smtClean="0"/>
            </a:lvl5pPr>
            <a:lvl6pPr>
              <a:defRPr lang="en-US" sz="1200" smtClean="0"/>
            </a:lvl6pPr>
            <a:lvl7pPr>
              <a:defRPr lang="en-US" sz="1200" smtClean="0"/>
            </a:lvl7pPr>
            <a:lvl8pPr>
              <a:defRPr lang="en-US" sz="1200" smtClean="0"/>
            </a:lvl8pPr>
            <a:lvl9pPr>
              <a:defRPr lang="en-US" sz="1200" smtClean="0"/>
            </a:lvl9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4" name="content 2">
            <a:extLst>
              <a:ext uri="{FF2B5EF4-FFF2-40B4-BE49-F238E27FC236}">
                <a16:creationId xmlns:a16="http://schemas.microsoft.com/office/drawing/2014/main" id="{7A5FAD4D-21B9-A852-4BBD-6443D406EB19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2843997" y="1484313"/>
            <a:ext cx="198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b="0" baseline="0" smtClean="0"/>
            </a:lvl2pPr>
            <a:lvl3pPr>
              <a:defRPr lang="en-US" sz="1200" smtClean="0"/>
            </a:lvl3pPr>
            <a:lvl4pPr>
              <a:defRPr lang="en-US" sz="1200" smtClean="0">
                <a:solidFill>
                  <a:schemeClr val="tx2"/>
                </a:solidFill>
                <a:cs typeface="+mn-cs"/>
              </a:defRPr>
            </a:lvl4pPr>
            <a:lvl5pPr>
              <a:defRPr lang="en-US" sz="1200" smtClean="0"/>
            </a:lvl5pPr>
            <a:lvl6pPr>
              <a:defRPr lang="en-US" sz="1200" smtClean="0"/>
            </a:lvl6pPr>
            <a:lvl7pPr>
              <a:defRPr lang="en-US" sz="1200" smtClean="0"/>
            </a:lvl7pPr>
            <a:lvl8pPr>
              <a:defRPr lang="en-US" sz="1200" smtClean="0"/>
            </a:lvl8pPr>
            <a:lvl9pPr>
              <a:defRPr lang="en-US" sz="1200" smtClean="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>
              <a:lnSpc>
                <a:spcPts val="1800"/>
              </a:lnSpc>
              <a:spcBef>
                <a:spcPts val="300"/>
              </a:spcBef>
            </a:pPr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>
              <a:spcBef>
                <a:spcPts val="300"/>
              </a:spcBef>
            </a:pPr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9997" y="1484313"/>
            <a:ext cx="198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b="0" baseline="0" smtClean="0"/>
            </a:lvl2pPr>
            <a:lvl3pPr>
              <a:defRPr lang="en-US" sz="1200" smtClean="0"/>
            </a:lvl3pPr>
            <a:lvl4pPr>
              <a:defRPr lang="en-US" sz="1200" smtClean="0">
                <a:solidFill>
                  <a:schemeClr val="tx2"/>
                </a:solidFill>
                <a:cs typeface="+mn-cs"/>
              </a:defRPr>
            </a:lvl4pPr>
            <a:lvl5pPr>
              <a:defRPr lang="en-US" sz="1200" smtClean="0"/>
            </a:lvl5pPr>
            <a:lvl6pPr>
              <a:defRPr lang="en-US" sz="1200" smtClean="0"/>
            </a:lvl6pPr>
            <a:lvl7pPr>
              <a:defRPr lang="en-US" sz="1200" smtClean="0"/>
            </a:lvl7pPr>
            <a:lvl8pPr>
              <a:defRPr lang="en-US" sz="1200" smtClean="0"/>
            </a:lvl8pPr>
            <a:lvl9pPr>
              <a:defRPr lang="en-US" sz="1200" smtClean="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>
              <a:lnSpc>
                <a:spcPts val="1800"/>
              </a:lnSpc>
              <a:spcBef>
                <a:spcPts val="300"/>
              </a:spcBef>
            </a:pPr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>
              <a:spcBef>
                <a:spcPts val="300"/>
              </a:spcBef>
            </a:pPr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C42A5394-0582-37AA-737C-9A22F650E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828000"/>
          </a:xfrm>
        </p:spPr>
        <p:txBody>
          <a:bodyPr vert="horz" anchor="t"/>
          <a:lstStyle/>
          <a:p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E2DB2781-02B7-8F48-880C-0864DAF6A9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52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71335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4a : pc : content 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onitor">
            <a:extLst>
              <a:ext uri="{FF2B5EF4-FFF2-40B4-BE49-F238E27FC236}">
                <a16:creationId xmlns:a16="http://schemas.microsoft.com/office/drawing/2014/main" id="{52D77C3B-A6D0-1D9E-FA96-551FAA9D6427}"/>
              </a:ext>
            </a:extLst>
          </p:cNvPr>
          <p:cNvSpPr txBox="1">
            <a:spLocks/>
          </p:cNvSpPr>
          <p:nvPr userDrawn="1"/>
        </p:nvSpPr>
        <p:spPr>
          <a:xfrm>
            <a:off x="540000" y="1484312"/>
            <a:ext cx="5419342" cy="4917145"/>
          </a:xfrm>
          <a:prstGeom prst="rect">
            <a:avLst/>
          </a:prstGeom>
          <a:blipFill>
            <a:blip r:embed="rId2"/>
            <a:srcRect/>
            <a:stretch>
              <a:fillRect l="410" t="-1" r="410" b="4153"/>
            </a:stretch>
          </a:blipFill>
          <a:effectLst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1338" indent="-2762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6450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Verdana" panose="020B060403050404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b="0" kern="1200" cap="all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6pPr>
            <a:lvl7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lphaLcPeriod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413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4B4B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endParaRPr kumimoji="0" lang="nl-NL" sz="1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43A8C717-4722-397F-A0C8-433FF5FE6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FBD8772-FE66-8FDF-84A4-30F5BE97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E99FB28A-22AA-994E-7043-22AAEC7A3A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8" name="content">
            <a:extLst>
              <a:ext uri="{FF2B5EF4-FFF2-40B4-BE49-F238E27FC236}">
                <a16:creationId xmlns:a16="http://schemas.microsoft.com/office/drawing/2014/main" id="{DD0A18D2-5F71-F86D-980D-AF35B8104C7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456363" y="1484313"/>
            <a:ext cx="5184000" cy="46815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picture front">
            <a:extLst>
              <a:ext uri="{FF2B5EF4-FFF2-40B4-BE49-F238E27FC236}">
                <a16:creationId xmlns:a16="http://schemas.microsoft.com/office/drawing/2014/main" id="{2E74DA68-A790-58DF-BCB9-34E3B7F38E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20080" y="1656273"/>
            <a:ext cx="5040000" cy="2999116"/>
          </a:xfrm>
          <a:prstGeom prst="roundRect">
            <a:avLst>
              <a:gd name="adj" fmla="val 2688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FE1E167-5B62-BEF8-DF11-0EE0B2E2F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D6AF56D-58A3-40A6-7508-E33636848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52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394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4b : mobile :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obile with hand">
            <a:extLst>
              <a:ext uri="{FF2B5EF4-FFF2-40B4-BE49-F238E27FC236}">
                <a16:creationId xmlns:a16="http://schemas.microsoft.com/office/drawing/2014/main" id="{59821215-9BE7-DA38-5A7B-6A43DF0C476B}"/>
              </a:ext>
            </a:extLst>
          </p:cNvPr>
          <p:cNvSpPr txBox="1">
            <a:spLocks/>
          </p:cNvSpPr>
          <p:nvPr userDrawn="1"/>
        </p:nvSpPr>
        <p:spPr>
          <a:xfrm>
            <a:off x="7870050" y="1495552"/>
            <a:ext cx="4278407" cy="5362448"/>
          </a:xfrm>
          <a:prstGeom prst="rect">
            <a:avLst/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92" r="-24040"/>
            </a:stretch>
          </a:blipFill>
          <a:effectLst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1338" indent="-2762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6450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Verdana" panose="020B060403050404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b="0" kern="1200" cap="all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6pPr>
            <a:lvl7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lphaLcPeriod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413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4B4B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kumimoji="0" lang="nl-NL" sz="1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43A8C717-4722-397F-A0C8-433FF5FE6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FBD8772-FE66-8FDF-84A4-30F5BE97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E99FB28A-22AA-994E-7043-22AAEC7A3A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1" name="picture front">
            <a:extLst>
              <a:ext uri="{FF2B5EF4-FFF2-40B4-BE49-F238E27FC236}">
                <a16:creationId xmlns:a16="http://schemas.microsoft.com/office/drawing/2014/main" id="{2E74DA68-A790-58DF-BCB9-34E3B7F38E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12002" y="1627187"/>
            <a:ext cx="2340000" cy="4613955"/>
          </a:xfrm>
          <a:prstGeom prst="roundRect">
            <a:avLst>
              <a:gd name="adj" fmla="val 11275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15" name="content 2">
            <a:extLst>
              <a:ext uri="{FF2B5EF4-FFF2-40B4-BE49-F238E27FC236}">
                <a16:creationId xmlns:a16="http://schemas.microsoft.com/office/drawing/2014/main" id="{721B5AA9-0EFD-C504-CCC2-7DA201A8708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05025" y="1476000"/>
            <a:ext cx="3420000" cy="46815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content 1">
            <a:extLst>
              <a:ext uri="{FF2B5EF4-FFF2-40B4-BE49-F238E27FC236}">
                <a16:creationId xmlns:a16="http://schemas.microsoft.com/office/drawing/2014/main" id="{DD0A18D2-5F71-F86D-980D-AF35B8104C7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0000" y="1476000"/>
            <a:ext cx="3420000" cy="46815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FE1E167-5B62-BEF8-DF11-0EE0B2E2F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D6AF56D-58A3-40A6-7508-E33636848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52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295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4c : pc : mobile : lap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43A8C717-4722-397F-A0C8-433FF5FE6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FBD8772-FE66-8FDF-84A4-30F5BE97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E99FB28A-22AA-994E-7043-22AAEC7A3A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8" name="content 1">
            <a:extLst>
              <a:ext uri="{FF2B5EF4-FFF2-40B4-BE49-F238E27FC236}">
                <a16:creationId xmlns:a16="http://schemas.microsoft.com/office/drawing/2014/main" id="{DD0A18D2-5F71-F86D-980D-AF35B8104C7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0000" y="1476000"/>
            <a:ext cx="2759246" cy="46815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FE1E167-5B62-BEF8-DF11-0EE0B2E2F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D6AF56D-58A3-40A6-7508-E33636848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52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5A858E-D580-32EE-9F1A-F03391D997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27118" y="1568896"/>
            <a:ext cx="8187638" cy="4627265"/>
          </a:xfrm>
          <a:prstGeom prst="rect">
            <a:avLst/>
          </a:prstGeom>
        </p:spPr>
      </p:pic>
      <p:sp>
        <p:nvSpPr>
          <p:cNvPr id="5" name="picture front">
            <a:extLst>
              <a:ext uri="{FF2B5EF4-FFF2-40B4-BE49-F238E27FC236}">
                <a16:creationId xmlns:a16="http://schemas.microsoft.com/office/drawing/2014/main" id="{9EA85C24-08AD-4B32-61D4-31BFD8E2758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728203" y="1757686"/>
            <a:ext cx="4422992" cy="2621823"/>
          </a:xfrm>
          <a:custGeom>
            <a:avLst/>
            <a:gdLst>
              <a:gd name="connsiteX0" fmla="*/ 0 w 4796460"/>
              <a:gd name="connsiteY0" fmla="*/ 74741 h 2780557"/>
              <a:gd name="connsiteX1" fmla="*/ 74741 w 4796460"/>
              <a:gd name="connsiteY1" fmla="*/ 0 h 2780557"/>
              <a:gd name="connsiteX2" fmla="*/ 4721719 w 4796460"/>
              <a:gd name="connsiteY2" fmla="*/ 0 h 2780557"/>
              <a:gd name="connsiteX3" fmla="*/ 4796460 w 4796460"/>
              <a:gd name="connsiteY3" fmla="*/ 74741 h 2780557"/>
              <a:gd name="connsiteX4" fmla="*/ 4796460 w 4796460"/>
              <a:gd name="connsiteY4" fmla="*/ 2705816 h 2780557"/>
              <a:gd name="connsiteX5" fmla="*/ 4721719 w 4796460"/>
              <a:gd name="connsiteY5" fmla="*/ 2780557 h 2780557"/>
              <a:gd name="connsiteX6" fmla="*/ 74741 w 4796460"/>
              <a:gd name="connsiteY6" fmla="*/ 2780557 h 2780557"/>
              <a:gd name="connsiteX7" fmla="*/ 0 w 4796460"/>
              <a:gd name="connsiteY7" fmla="*/ 2705816 h 2780557"/>
              <a:gd name="connsiteX8" fmla="*/ 0 w 4796460"/>
              <a:gd name="connsiteY8" fmla="*/ 74741 h 2780557"/>
              <a:gd name="connsiteX0" fmla="*/ 0 w 4796460"/>
              <a:gd name="connsiteY0" fmla="*/ 74741 h 2780557"/>
              <a:gd name="connsiteX1" fmla="*/ 74741 w 4796460"/>
              <a:gd name="connsiteY1" fmla="*/ 0 h 2780557"/>
              <a:gd name="connsiteX2" fmla="*/ 4721719 w 4796460"/>
              <a:gd name="connsiteY2" fmla="*/ 0 h 2780557"/>
              <a:gd name="connsiteX3" fmla="*/ 4796460 w 4796460"/>
              <a:gd name="connsiteY3" fmla="*/ 74741 h 2780557"/>
              <a:gd name="connsiteX4" fmla="*/ 4796460 w 4796460"/>
              <a:gd name="connsiteY4" fmla="*/ 2705816 h 2780557"/>
              <a:gd name="connsiteX5" fmla="*/ 4423269 w 4796460"/>
              <a:gd name="connsiteY5" fmla="*/ 2780557 h 2780557"/>
              <a:gd name="connsiteX6" fmla="*/ 74741 w 4796460"/>
              <a:gd name="connsiteY6" fmla="*/ 2780557 h 2780557"/>
              <a:gd name="connsiteX7" fmla="*/ 0 w 4796460"/>
              <a:gd name="connsiteY7" fmla="*/ 2705816 h 2780557"/>
              <a:gd name="connsiteX8" fmla="*/ 0 w 4796460"/>
              <a:gd name="connsiteY8" fmla="*/ 74741 h 2780557"/>
              <a:gd name="connsiteX0" fmla="*/ 0 w 4802810"/>
              <a:gd name="connsiteY0" fmla="*/ 74741 h 2780557"/>
              <a:gd name="connsiteX1" fmla="*/ 74741 w 4802810"/>
              <a:gd name="connsiteY1" fmla="*/ 0 h 2780557"/>
              <a:gd name="connsiteX2" fmla="*/ 4721719 w 4802810"/>
              <a:gd name="connsiteY2" fmla="*/ 0 h 2780557"/>
              <a:gd name="connsiteX3" fmla="*/ 4796460 w 4802810"/>
              <a:gd name="connsiteY3" fmla="*/ 74741 h 2780557"/>
              <a:gd name="connsiteX4" fmla="*/ 4802810 w 4802810"/>
              <a:gd name="connsiteY4" fmla="*/ 1480266 h 2780557"/>
              <a:gd name="connsiteX5" fmla="*/ 4423269 w 4802810"/>
              <a:gd name="connsiteY5" fmla="*/ 2780557 h 2780557"/>
              <a:gd name="connsiteX6" fmla="*/ 74741 w 4802810"/>
              <a:gd name="connsiteY6" fmla="*/ 2780557 h 2780557"/>
              <a:gd name="connsiteX7" fmla="*/ 0 w 4802810"/>
              <a:gd name="connsiteY7" fmla="*/ 2705816 h 2780557"/>
              <a:gd name="connsiteX8" fmla="*/ 0 w 4802810"/>
              <a:gd name="connsiteY8" fmla="*/ 74741 h 2780557"/>
              <a:gd name="connsiteX0" fmla="*/ 0 w 4802810"/>
              <a:gd name="connsiteY0" fmla="*/ 74741 h 2780557"/>
              <a:gd name="connsiteX1" fmla="*/ 74741 w 4802810"/>
              <a:gd name="connsiteY1" fmla="*/ 0 h 2780557"/>
              <a:gd name="connsiteX2" fmla="*/ 4721719 w 4802810"/>
              <a:gd name="connsiteY2" fmla="*/ 0 h 2780557"/>
              <a:gd name="connsiteX3" fmla="*/ 4796460 w 4802810"/>
              <a:gd name="connsiteY3" fmla="*/ 74741 h 2780557"/>
              <a:gd name="connsiteX4" fmla="*/ 4802810 w 4802810"/>
              <a:gd name="connsiteY4" fmla="*/ 1480266 h 2780557"/>
              <a:gd name="connsiteX5" fmla="*/ 4433434 w 4802810"/>
              <a:gd name="connsiteY5" fmla="*/ 1552397 h 2780557"/>
              <a:gd name="connsiteX6" fmla="*/ 4423269 w 4802810"/>
              <a:gd name="connsiteY6" fmla="*/ 2780557 h 2780557"/>
              <a:gd name="connsiteX7" fmla="*/ 74741 w 4802810"/>
              <a:gd name="connsiteY7" fmla="*/ 2780557 h 2780557"/>
              <a:gd name="connsiteX8" fmla="*/ 0 w 4802810"/>
              <a:gd name="connsiteY8" fmla="*/ 2705816 h 2780557"/>
              <a:gd name="connsiteX9" fmla="*/ 0 w 4802810"/>
              <a:gd name="connsiteY9" fmla="*/ 74741 h 2780557"/>
              <a:gd name="connsiteX0" fmla="*/ 0 w 4802810"/>
              <a:gd name="connsiteY0" fmla="*/ 74741 h 2780557"/>
              <a:gd name="connsiteX1" fmla="*/ 74741 w 4802810"/>
              <a:gd name="connsiteY1" fmla="*/ 0 h 2780557"/>
              <a:gd name="connsiteX2" fmla="*/ 4721719 w 4802810"/>
              <a:gd name="connsiteY2" fmla="*/ 0 h 2780557"/>
              <a:gd name="connsiteX3" fmla="*/ 4796460 w 4802810"/>
              <a:gd name="connsiteY3" fmla="*/ 74741 h 2780557"/>
              <a:gd name="connsiteX4" fmla="*/ 4802810 w 4802810"/>
              <a:gd name="connsiteY4" fmla="*/ 1480266 h 2780557"/>
              <a:gd name="connsiteX5" fmla="*/ 4433434 w 4802810"/>
              <a:gd name="connsiteY5" fmla="*/ 1552397 h 2780557"/>
              <a:gd name="connsiteX6" fmla="*/ 4423269 w 4802810"/>
              <a:gd name="connsiteY6" fmla="*/ 2780557 h 2780557"/>
              <a:gd name="connsiteX7" fmla="*/ 74741 w 4802810"/>
              <a:gd name="connsiteY7" fmla="*/ 2780557 h 2780557"/>
              <a:gd name="connsiteX8" fmla="*/ 0 w 4802810"/>
              <a:gd name="connsiteY8" fmla="*/ 2705816 h 2780557"/>
              <a:gd name="connsiteX9" fmla="*/ 0 w 4802810"/>
              <a:gd name="connsiteY9" fmla="*/ 74741 h 2780557"/>
              <a:gd name="connsiteX0" fmla="*/ 0 w 4802810"/>
              <a:gd name="connsiteY0" fmla="*/ 74741 h 2780557"/>
              <a:gd name="connsiteX1" fmla="*/ 74741 w 4802810"/>
              <a:gd name="connsiteY1" fmla="*/ 0 h 2780557"/>
              <a:gd name="connsiteX2" fmla="*/ 4721719 w 4802810"/>
              <a:gd name="connsiteY2" fmla="*/ 0 h 2780557"/>
              <a:gd name="connsiteX3" fmla="*/ 4796460 w 4802810"/>
              <a:gd name="connsiteY3" fmla="*/ 74741 h 2780557"/>
              <a:gd name="connsiteX4" fmla="*/ 4802810 w 4802810"/>
              <a:gd name="connsiteY4" fmla="*/ 1480266 h 2780557"/>
              <a:gd name="connsiteX5" fmla="*/ 4433434 w 4802810"/>
              <a:gd name="connsiteY5" fmla="*/ 1552397 h 2780557"/>
              <a:gd name="connsiteX6" fmla="*/ 4423269 w 4802810"/>
              <a:gd name="connsiteY6" fmla="*/ 2780557 h 2780557"/>
              <a:gd name="connsiteX7" fmla="*/ 74741 w 4802810"/>
              <a:gd name="connsiteY7" fmla="*/ 2780557 h 2780557"/>
              <a:gd name="connsiteX8" fmla="*/ 0 w 4802810"/>
              <a:gd name="connsiteY8" fmla="*/ 2705816 h 2780557"/>
              <a:gd name="connsiteX9" fmla="*/ 0 w 4802810"/>
              <a:gd name="connsiteY9" fmla="*/ 74741 h 2780557"/>
              <a:gd name="connsiteX0" fmla="*/ 0 w 4802810"/>
              <a:gd name="connsiteY0" fmla="*/ 74741 h 2780557"/>
              <a:gd name="connsiteX1" fmla="*/ 74741 w 4802810"/>
              <a:gd name="connsiteY1" fmla="*/ 0 h 2780557"/>
              <a:gd name="connsiteX2" fmla="*/ 4721719 w 4802810"/>
              <a:gd name="connsiteY2" fmla="*/ 0 h 2780557"/>
              <a:gd name="connsiteX3" fmla="*/ 4796460 w 4802810"/>
              <a:gd name="connsiteY3" fmla="*/ 74741 h 2780557"/>
              <a:gd name="connsiteX4" fmla="*/ 4802810 w 4802810"/>
              <a:gd name="connsiteY4" fmla="*/ 1480266 h 2780557"/>
              <a:gd name="connsiteX5" fmla="*/ 4433434 w 4802810"/>
              <a:gd name="connsiteY5" fmla="*/ 1552397 h 2780557"/>
              <a:gd name="connsiteX6" fmla="*/ 4423269 w 4802810"/>
              <a:gd name="connsiteY6" fmla="*/ 2780557 h 2780557"/>
              <a:gd name="connsiteX7" fmla="*/ 74741 w 4802810"/>
              <a:gd name="connsiteY7" fmla="*/ 2780557 h 2780557"/>
              <a:gd name="connsiteX8" fmla="*/ 0 w 4802810"/>
              <a:gd name="connsiteY8" fmla="*/ 2705816 h 2780557"/>
              <a:gd name="connsiteX9" fmla="*/ 0 w 4802810"/>
              <a:gd name="connsiteY9" fmla="*/ 74741 h 2780557"/>
              <a:gd name="connsiteX0" fmla="*/ 0 w 4802810"/>
              <a:gd name="connsiteY0" fmla="*/ 74741 h 2780557"/>
              <a:gd name="connsiteX1" fmla="*/ 74741 w 4802810"/>
              <a:gd name="connsiteY1" fmla="*/ 0 h 2780557"/>
              <a:gd name="connsiteX2" fmla="*/ 4721719 w 4802810"/>
              <a:gd name="connsiteY2" fmla="*/ 0 h 2780557"/>
              <a:gd name="connsiteX3" fmla="*/ 4796460 w 4802810"/>
              <a:gd name="connsiteY3" fmla="*/ 74741 h 2780557"/>
              <a:gd name="connsiteX4" fmla="*/ 4802810 w 4802810"/>
              <a:gd name="connsiteY4" fmla="*/ 1480266 h 2780557"/>
              <a:gd name="connsiteX5" fmla="*/ 4433434 w 4802810"/>
              <a:gd name="connsiteY5" fmla="*/ 1552397 h 2780557"/>
              <a:gd name="connsiteX6" fmla="*/ 4423269 w 4802810"/>
              <a:gd name="connsiteY6" fmla="*/ 2780557 h 2780557"/>
              <a:gd name="connsiteX7" fmla="*/ 74741 w 4802810"/>
              <a:gd name="connsiteY7" fmla="*/ 2780557 h 2780557"/>
              <a:gd name="connsiteX8" fmla="*/ 0 w 4802810"/>
              <a:gd name="connsiteY8" fmla="*/ 2705816 h 2780557"/>
              <a:gd name="connsiteX9" fmla="*/ 0 w 4802810"/>
              <a:gd name="connsiteY9" fmla="*/ 74741 h 2780557"/>
              <a:gd name="connsiteX0" fmla="*/ 0 w 4802810"/>
              <a:gd name="connsiteY0" fmla="*/ 74741 h 3424582"/>
              <a:gd name="connsiteX1" fmla="*/ 74741 w 4802810"/>
              <a:gd name="connsiteY1" fmla="*/ 0 h 3424582"/>
              <a:gd name="connsiteX2" fmla="*/ 4721719 w 4802810"/>
              <a:gd name="connsiteY2" fmla="*/ 0 h 3424582"/>
              <a:gd name="connsiteX3" fmla="*/ 4796460 w 4802810"/>
              <a:gd name="connsiteY3" fmla="*/ 74741 h 3424582"/>
              <a:gd name="connsiteX4" fmla="*/ 4802810 w 4802810"/>
              <a:gd name="connsiteY4" fmla="*/ 1480266 h 3424582"/>
              <a:gd name="connsiteX5" fmla="*/ 4433434 w 4802810"/>
              <a:gd name="connsiteY5" fmla="*/ 1552397 h 3424582"/>
              <a:gd name="connsiteX6" fmla="*/ 4423269 w 4802810"/>
              <a:gd name="connsiteY6" fmla="*/ 2780557 h 3424582"/>
              <a:gd name="connsiteX7" fmla="*/ 74741 w 4802810"/>
              <a:gd name="connsiteY7" fmla="*/ 2780557 h 3424582"/>
              <a:gd name="connsiteX8" fmla="*/ 0 w 4802810"/>
              <a:gd name="connsiteY8" fmla="*/ 2705816 h 3424582"/>
              <a:gd name="connsiteX9" fmla="*/ 0 w 4802810"/>
              <a:gd name="connsiteY9" fmla="*/ 74741 h 3424582"/>
              <a:gd name="connsiteX0" fmla="*/ 0 w 4802810"/>
              <a:gd name="connsiteY0" fmla="*/ 74741 h 3424582"/>
              <a:gd name="connsiteX1" fmla="*/ 74741 w 4802810"/>
              <a:gd name="connsiteY1" fmla="*/ 0 h 3424582"/>
              <a:gd name="connsiteX2" fmla="*/ 4721719 w 4802810"/>
              <a:gd name="connsiteY2" fmla="*/ 0 h 3424582"/>
              <a:gd name="connsiteX3" fmla="*/ 4796460 w 4802810"/>
              <a:gd name="connsiteY3" fmla="*/ 74741 h 3424582"/>
              <a:gd name="connsiteX4" fmla="*/ 4802810 w 4802810"/>
              <a:gd name="connsiteY4" fmla="*/ 1480266 h 3424582"/>
              <a:gd name="connsiteX5" fmla="*/ 4433434 w 4802810"/>
              <a:gd name="connsiteY5" fmla="*/ 1552397 h 3424582"/>
              <a:gd name="connsiteX6" fmla="*/ 4423269 w 4802810"/>
              <a:gd name="connsiteY6" fmla="*/ 2780557 h 3424582"/>
              <a:gd name="connsiteX7" fmla="*/ 74741 w 4802810"/>
              <a:gd name="connsiteY7" fmla="*/ 2780557 h 3424582"/>
              <a:gd name="connsiteX8" fmla="*/ 0 w 4802810"/>
              <a:gd name="connsiteY8" fmla="*/ 2705816 h 3424582"/>
              <a:gd name="connsiteX9" fmla="*/ 0 w 4802810"/>
              <a:gd name="connsiteY9" fmla="*/ 74741 h 3424582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33434 w 4802810"/>
              <a:gd name="connsiteY5" fmla="*/ 15523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90584 w 4802810"/>
              <a:gd name="connsiteY5" fmla="*/ 15142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90584 w 4802810"/>
              <a:gd name="connsiteY5" fmla="*/ 15142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90584 w 4802810"/>
              <a:gd name="connsiteY5" fmla="*/ 15142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90584 w 4802810"/>
              <a:gd name="connsiteY5" fmla="*/ 15142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90584 w 4802810"/>
              <a:gd name="connsiteY5" fmla="*/ 15142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90584 w 4802810"/>
              <a:gd name="connsiteY5" fmla="*/ 15142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65184 w 4802810"/>
              <a:gd name="connsiteY5" fmla="*/ 15142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480266 h 2783938"/>
              <a:gd name="connsiteX5" fmla="*/ 4465184 w 4802810"/>
              <a:gd name="connsiteY5" fmla="*/ 1514297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0 w 4807572"/>
              <a:gd name="connsiteY0" fmla="*/ 74741 h 2783938"/>
              <a:gd name="connsiteX1" fmla="*/ 74741 w 4807572"/>
              <a:gd name="connsiteY1" fmla="*/ 0 h 2783938"/>
              <a:gd name="connsiteX2" fmla="*/ 4721719 w 4807572"/>
              <a:gd name="connsiteY2" fmla="*/ 0 h 2783938"/>
              <a:gd name="connsiteX3" fmla="*/ 4796460 w 4807572"/>
              <a:gd name="connsiteY3" fmla="*/ 74741 h 2783938"/>
              <a:gd name="connsiteX4" fmla="*/ 4807572 w 4807572"/>
              <a:gd name="connsiteY4" fmla="*/ 1485028 h 2783938"/>
              <a:gd name="connsiteX5" fmla="*/ 4465184 w 4807572"/>
              <a:gd name="connsiteY5" fmla="*/ 1514297 h 2783938"/>
              <a:gd name="connsiteX6" fmla="*/ 4423269 w 4807572"/>
              <a:gd name="connsiteY6" fmla="*/ 2780557 h 2783938"/>
              <a:gd name="connsiteX7" fmla="*/ 74741 w 4807572"/>
              <a:gd name="connsiteY7" fmla="*/ 2780557 h 2783938"/>
              <a:gd name="connsiteX8" fmla="*/ 0 w 4807572"/>
              <a:gd name="connsiteY8" fmla="*/ 2705816 h 2783938"/>
              <a:gd name="connsiteX9" fmla="*/ 0 w 4807572"/>
              <a:gd name="connsiteY9" fmla="*/ 74741 h 2783938"/>
              <a:gd name="connsiteX0" fmla="*/ 0 w 4807572"/>
              <a:gd name="connsiteY0" fmla="*/ 74741 h 2783938"/>
              <a:gd name="connsiteX1" fmla="*/ 74741 w 4807572"/>
              <a:gd name="connsiteY1" fmla="*/ 0 h 2783938"/>
              <a:gd name="connsiteX2" fmla="*/ 4721719 w 4807572"/>
              <a:gd name="connsiteY2" fmla="*/ 0 h 2783938"/>
              <a:gd name="connsiteX3" fmla="*/ 4796460 w 4807572"/>
              <a:gd name="connsiteY3" fmla="*/ 74741 h 2783938"/>
              <a:gd name="connsiteX4" fmla="*/ 4807572 w 4807572"/>
              <a:gd name="connsiteY4" fmla="*/ 1485028 h 2783938"/>
              <a:gd name="connsiteX5" fmla="*/ 4450897 w 4807572"/>
              <a:gd name="connsiteY5" fmla="*/ 1519060 h 2783938"/>
              <a:gd name="connsiteX6" fmla="*/ 4423269 w 4807572"/>
              <a:gd name="connsiteY6" fmla="*/ 2780557 h 2783938"/>
              <a:gd name="connsiteX7" fmla="*/ 74741 w 4807572"/>
              <a:gd name="connsiteY7" fmla="*/ 2780557 h 2783938"/>
              <a:gd name="connsiteX8" fmla="*/ 0 w 4807572"/>
              <a:gd name="connsiteY8" fmla="*/ 2705816 h 2783938"/>
              <a:gd name="connsiteX9" fmla="*/ 0 w 4807572"/>
              <a:gd name="connsiteY9" fmla="*/ 74741 h 2783938"/>
              <a:gd name="connsiteX0" fmla="*/ 0 w 4807572"/>
              <a:gd name="connsiteY0" fmla="*/ 74741 h 2783938"/>
              <a:gd name="connsiteX1" fmla="*/ 74741 w 4807572"/>
              <a:gd name="connsiteY1" fmla="*/ 0 h 2783938"/>
              <a:gd name="connsiteX2" fmla="*/ 4721719 w 4807572"/>
              <a:gd name="connsiteY2" fmla="*/ 0 h 2783938"/>
              <a:gd name="connsiteX3" fmla="*/ 4796460 w 4807572"/>
              <a:gd name="connsiteY3" fmla="*/ 74741 h 2783938"/>
              <a:gd name="connsiteX4" fmla="*/ 4807572 w 4807572"/>
              <a:gd name="connsiteY4" fmla="*/ 1485028 h 2783938"/>
              <a:gd name="connsiteX5" fmla="*/ 4450897 w 4807572"/>
              <a:gd name="connsiteY5" fmla="*/ 1519060 h 2783938"/>
              <a:gd name="connsiteX6" fmla="*/ 4423269 w 4807572"/>
              <a:gd name="connsiteY6" fmla="*/ 2780557 h 2783938"/>
              <a:gd name="connsiteX7" fmla="*/ 74741 w 4807572"/>
              <a:gd name="connsiteY7" fmla="*/ 2780557 h 2783938"/>
              <a:gd name="connsiteX8" fmla="*/ 0 w 4807572"/>
              <a:gd name="connsiteY8" fmla="*/ 2705816 h 2783938"/>
              <a:gd name="connsiteX9" fmla="*/ 0 w 4807572"/>
              <a:gd name="connsiteY9" fmla="*/ 74741 h 2783938"/>
              <a:gd name="connsiteX0" fmla="*/ 0 w 4802810"/>
              <a:gd name="connsiteY0" fmla="*/ 74741 h 2783938"/>
              <a:gd name="connsiteX1" fmla="*/ 74741 w 4802810"/>
              <a:gd name="connsiteY1" fmla="*/ 0 h 2783938"/>
              <a:gd name="connsiteX2" fmla="*/ 4721719 w 4802810"/>
              <a:gd name="connsiteY2" fmla="*/ 0 h 2783938"/>
              <a:gd name="connsiteX3" fmla="*/ 4796460 w 4802810"/>
              <a:gd name="connsiteY3" fmla="*/ 74741 h 2783938"/>
              <a:gd name="connsiteX4" fmla="*/ 4802810 w 4802810"/>
              <a:gd name="connsiteY4" fmla="*/ 1504078 h 2783938"/>
              <a:gd name="connsiteX5" fmla="*/ 4450897 w 4802810"/>
              <a:gd name="connsiteY5" fmla="*/ 1519060 h 2783938"/>
              <a:gd name="connsiteX6" fmla="*/ 4423269 w 4802810"/>
              <a:gd name="connsiteY6" fmla="*/ 2780557 h 2783938"/>
              <a:gd name="connsiteX7" fmla="*/ 74741 w 4802810"/>
              <a:gd name="connsiteY7" fmla="*/ 2780557 h 2783938"/>
              <a:gd name="connsiteX8" fmla="*/ 0 w 4802810"/>
              <a:gd name="connsiteY8" fmla="*/ 2705816 h 2783938"/>
              <a:gd name="connsiteX9" fmla="*/ 0 w 4802810"/>
              <a:gd name="connsiteY9" fmla="*/ 74741 h 2783938"/>
              <a:gd name="connsiteX0" fmla="*/ 50 w 4802860"/>
              <a:gd name="connsiteY0" fmla="*/ 75136 h 2784333"/>
              <a:gd name="connsiteX1" fmla="*/ 74791 w 4802860"/>
              <a:gd name="connsiteY1" fmla="*/ 395 h 2784333"/>
              <a:gd name="connsiteX2" fmla="*/ 4721769 w 4802860"/>
              <a:gd name="connsiteY2" fmla="*/ 395 h 2784333"/>
              <a:gd name="connsiteX3" fmla="*/ 4796510 w 4802860"/>
              <a:gd name="connsiteY3" fmla="*/ 75136 h 2784333"/>
              <a:gd name="connsiteX4" fmla="*/ 4802860 w 4802860"/>
              <a:gd name="connsiteY4" fmla="*/ 1504473 h 2784333"/>
              <a:gd name="connsiteX5" fmla="*/ 4450947 w 4802860"/>
              <a:gd name="connsiteY5" fmla="*/ 1519455 h 2784333"/>
              <a:gd name="connsiteX6" fmla="*/ 4423319 w 4802860"/>
              <a:gd name="connsiteY6" fmla="*/ 2780952 h 2784333"/>
              <a:gd name="connsiteX7" fmla="*/ 74791 w 4802860"/>
              <a:gd name="connsiteY7" fmla="*/ 2780952 h 2784333"/>
              <a:gd name="connsiteX8" fmla="*/ 50 w 4802860"/>
              <a:gd name="connsiteY8" fmla="*/ 2706211 h 2784333"/>
              <a:gd name="connsiteX9" fmla="*/ 50 w 4802860"/>
              <a:gd name="connsiteY9" fmla="*/ 75136 h 2784333"/>
              <a:gd name="connsiteX0" fmla="*/ 50 w 4802860"/>
              <a:gd name="connsiteY0" fmla="*/ 79455 h 2788652"/>
              <a:gd name="connsiteX1" fmla="*/ 74791 w 4802860"/>
              <a:gd name="connsiteY1" fmla="*/ 4714 h 2788652"/>
              <a:gd name="connsiteX2" fmla="*/ 4750344 w 4802860"/>
              <a:gd name="connsiteY2" fmla="*/ 0 h 2788652"/>
              <a:gd name="connsiteX3" fmla="*/ 4796510 w 4802860"/>
              <a:gd name="connsiteY3" fmla="*/ 79455 h 2788652"/>
              <a:gd name="connsiteX4" fmla="*/ 4802860 w 4802860"/>
              <a:gd name="connsiteY4" fmla="*/ 1508792 h 2788652"/>
              <a:gd name="connsiteX5" fmla="*/ 4450947 w 4802860"/>
              <a:gd name="connsiteY5" fmla="*/ 1523774 h 2788652"/>
              <a:gd name="connsiteX6" fmla="*/ 4423319 w 4802860"/>
              <a:gd name="connsiteY6" fmla="*/ 2785271 h 2788652"/>
              <a:gd name="connsiteX7" fmla="*/ 74791 w 4802860"/>
              <a:gd name="connsiteY7" fmla="*/ 2785271 h 2788652"/>
              <a:gd name="connsiteX8" fmla="*/ 50 w 4802860"/>
              <a:gd name="connsiteY8" fmla="*/ 2710530 h 2788652"/>
              <a:gd name="connsiteX9" fmla="*/ 50 w 4802860"/>
              <a:gd name="connsiteY9" fmla="*/ 79455 h 2788652"/>
              <a:gd name="connsiteX0" fmla="*/ 9525 w 4812335"/>
              <a:gd name="connsiteY0" fmla="*/ 79455 h 2794435"/>
              <a:gd name="connsiteX1" fmla="*/ 84266 w 4812335"/>
              <a:gd name="connsiteY1" fmla="*/ 4714 h 2794435"/>
              <a:gd name="connsiteX2" fmla="*/ 4759819 w 4812335"/>
              <a:gd name="connsiteY2" fmla="*/ 0 h 2794435"/>
              <a:gd name="connsiteX3" fmla="*/ 4805985 w 4812335"/>
              <a:gd name="connsiteY3" fmla="*/ 79455 h 2794435"/>
              <a:gd name="connsiteX4" fmla="*/ 4812335 w 4812335"/>
              <a:gd name="connsiteY4" fmla="*/ 1508792 h 2794435"/>
              <a:gd name="connsiteX5" fmla="*/ 4460422 w 4812335"/>
              <a:gd name="connsiteY5" fmla="*/ 1523774 h 2794435"/>
              <a:gd name="connsiteX6" fmla="*/ 4432794 w 4812335"/>
              <a:gd name="connsiteY6" fmla="*/ 2785271 h 2794435"/>
              <a:gd name="connsiteX7" fmla="*/ 84266 w 4812335"/>
              <a:gd name="connsiteY7" fmla="*/ 2785271 h 2794435"/>
              <a:gd name="connsiteX8" fmla="*/ 0 w 4812335"/>
              <a:gd name="connsiteY8" fmla="*/ 2771806 h 2794435"/>
              <a:gd name="connsiteX9" fmla="*/ 9525 w 4812335"/>
              <a:gd name="connsiteY9" fmla="*/ 79455 h 2794435"/>
              <a:gd name="connsiteX0" fmla="*/ 4762 w 4807572"/>
              <a:gd name="connsiteY0" fmla="*/ 79455 h 2788652"/>
              <a:gd name="connsiteX1" fmla="*/ 79503 w 4807572"/>
              <a:gd name="connsiteY1" fmla="*/ 4714 h 2788652"/>
              <a:gd name="connsiteX2" fmla="*/ 4755056 w 4807572"/>
              <a:gd name="connsiteY2" fmla="*/ 0 h 2788652"/>
              <a:gd name="connsiteX3" fmla="*/ 4801222 w 4807572"/>
              <a:gd name="connsiteY3" fmla="*/ 79455 h 2788652"/>
              <a:gd name="connsiteX4" fmla="*/ 4807572 w 4807572"/>
              <a:gd name="connsiteY4" fmla="*/ 1508792 h 2788652"/>
              <a:gd name="connsiteX5" fmla="*/ 4455659 w 4807572"/>
              <a:gd name="connsiteY5" fmla="*/ 1523774 h 2788652"/>
              <a:gd name="connsiteX6" fmla="*/ 4428031 w 4807572"/>
              <a:gd name="connsiteY6" fmla="*/ 2785271 h 2788652"/>
              <a:gd name="connsiteX7" fmla="*/ 79503 w 4807572"/>
              <a:gd name="connsiteY7" fmla="*/ 2785271 h 2788652"/>
              <a:gd name="connsiteX8" fmla="*/ 0 w 4807572"/>
              <a:gd name="connsiteY8" fmla="*/ 2734098 h 2788652"/>
              <a:gd name="connsiteX9" fmla="*/ 4762 w 4807572"/>
              <a:gd name="connsiteY9" fmla="*/ 79455 h 2788652"/>
              <a:gd name="connsiteX0" fmla="*/ 4762 w 4807572"/>
              <a:gd name="connsiteY0" fmla="*/ 79455 h 2788652"/>
              <a:gd name="connsiteX1" fmla="*/ 79503 w 4807572"/>
              <a:gd name="connsiteY1" fmla="*/ 4714 h 2788652"/>
              <a:gd name="connsiteX2" fmla="*/ 4755056 w 4807572"/>
              <a:gd name="connsiteY2" fmla="*/ 0 h 2788652"/>
              <a:gd name="connsiteX3" fmla="*/ 4801222 w 4807572"/>
              <a:gd name="connsiteY3" fmla="*/ 79455 h 2788652"/>
              <a:gd name="connsiteX4" fmla="*/ 4807572 w 4807572"/>
              <a:gd name="connsiteY4" fmla="*/ 1485224 h 2788652"/>
              <a:gd name="connsiteX5" fmla="*/ 4455659 w 4807572"/>
              <a:gd name="connsiteY5" fmla="*/ 1523774 h 2788652"/>
              <a:gd name="connsiteX6" fmla="*/ 4428031 w 4807572"/>
              <a:gd name="connsiteY6" fmla="*/ 2785271 h 2788652"/>
              <a:gd name="connsiteX7" fmla="*/ 79503 w 4807572"/>
              <a:gd name="connsiteY7" fmla="*/ 2785271 h 2788652"/>
              <a:gd name="connsiteX8" fmla="*/ 0 w 4807572"/>
              <a:gd name="connsiteY8" fmla="*/ 2734098 h 2788652"/>
              <a:gd name="connsiteX9" fmla="*/ 4762 w 4807572"/>
              <a:gd name="connsiteY9" fmla="*/ 79455 h 2788652"/>
              <a:gd name="connsiteX0" fmla="*/ 4762 w 4807572"/>
              <a:gd name="connsiteY0" fmla="*/ 79455 h 2788652"/>
              <a:gd name="connsiteX1" fmla="*/ 79503 w 4807572"/>
              <a:gd name="connsiteY1" fmla="*/ 4714 h 2788652"/>
              <a:gd name="connsiteX2" fmla="*/ 4755056 w 4807572"/>
              <a:gd name="connsiteY2" fmla="*/ 0 h 2788652"/>
              <a:gd name="connsiteX3" fmla="*/ 4801222 w 4807572"/>
              <a:gd name="connsiteY3" fmla="*/ 79455 h 2788652"/>
              <a:gd name="connsiteX4" fmla="*/ 4807572 w 4807572"/>
              <a:gd name="connsiteY4" fmla="*/ 1485224 h 2788652"/>
              <a:gd name="connsiteX5" fmla="*/ 4455659 w 4807572"/>
              <a:gd name="connsiteY5" fmla="*/ 1523774 h 2788652"/>
              <a:gd name="connsiteX6" fmla="*/ 4423268 w 4807572"/>
              <a:gd name="connsiteY6" fmla="*/ 2785271 h 2788652"/>
              <a:gd name="connsiteX7" fmla="*/ 79503 w 4807572"/>
              <a:gd name="connsiteY7" fmla="*/ 2785271 h 2788652"/>
              <a:gd name="connsiteX8" fmla="*/ 0 w 4807572"/>
              <a:gd name="connsiteY8" fmla="*/ 2734098 h 2788652"/>
              <a:gd name="connsiteX9" fmla="*/ 4762 w 4807572"/>
              <a:gd name="connsiteY9" fmla="*/ 79455 h 2788652"/>
              <a:gd name="connsiteX0" fmla="*/ 273123 w 5075933"/>
              <a:gd name="connsiteY0" fmla="*/ 79455 h 2788652"/>
              <a:gd name="connsiteX1" fmla="*/ 347864 w 5075933"/>
              <a:gd name="connsiteY1" fmla="*/ 4714 h 2788652"/>
              <a:gd name="connsiteX2" fmla="*/ 5023417 w 5075933"/>
              <a:gd name="connsiteY2" fmla="*/ 0 h 2788652"/>
              <a:gd name="connsiteX3" fmla="*/ 5069583 w 5075933"/>
              <a:gd name="connsiteY3" fmla="*/ 79455 h 2788652"/>
              <a:gd name="connsiteX4" fmla="*/ 5075933 w 5075933"/>
              <a:gd name="connsiteY4" fmla="*/ 1485224 h 2788652"/>
              <a:gd name="connsiteX5" fmla="*/ 4724020 w 5075933"/>
              <a:gd name="connsiteY5" fmla="*/ 1523774 h 2788652"/>
              <a:gd name="connsiteX6" fmla="*/ 4691629 w 5075933"/>
              <a:gd name="connsiteY6" fmla="*/ 2785271 h 2788652"/>
              <a:gd name="connsiteX7" fmla="*/ 347864 w 5075933"/>
              <a:gd name="connsiteY7" fmla="*/ 2785271 h 2788652"/>
              <a:gd name="connsiteX8" fmla="*/ 273123 w 5075933"/>
              <a:gd name="connsiteY8" fmla="*/ 79455 h 2788652"/>
              <a:gd name="connsiteX0" fmla="*/ 563898 w 5291967"/>
              <a:gd name="connsiteY0" fmla="*/ 2785271 h 2788652"/>
              <a:gd name="connsiteX1" fmla="*/ 563898 w 5291967"/>
              <a:gd name="connsiteY1" fmla="*/ 4714 h 2788652"/>
              <a:gd name="connsiteX2" fmla="*/ 5239451 w 5291967"/>
              <a:gd name="connsiteY2" fmla="*/ 0 h 2788652"/>
              <a:gd name="connsiteX3" fmla="*/ 5285617 w 5291967"/>
              <a:gd name="connsiteY3" fmla="*/ 79455 h 2788652"/>
              <a:gd name="connsiteX4" fmla="*/ 5291967 w 5291967"/>
              <a:gd name="connsiteY4" fmla="*/ 1485224 h 2788652"/>
              <a:gd name="connsiteX5" fmla="*/ 4940054 w 5291967"/>
              <a:gd name="connsiteY5" fmla="*/ 1523774 h 2788652"/>
              <a:gd name="connsiteX6" fmla="*/ 4907663 w 5291967"/>
              <a:gd name="connsiteY6" fmla="*/ 2785271 h 2788652"/>
              <a:gd name="connsiteX7" fmla="*/ 563898 w 5291967"/>
              <a:gd name="connsiteY7" fmla="*/ 2785271 h 2788652"/>
              <a:gd name="connsiteX0" fmla="*/ 613543 w 5341612"/>
              <a:gd name="connsiteY0" fmla="*/ 2785271 h 2788652"/>
              <a:gd name="connsiteX1" fmla="*/ 613543 w 5341612"/>
              <a:gd name="connsiteY1" fmla="*/ 4714 h 2788652"/>
              <a:gd name="connsiteX2" fmla="*/ 5289096 w 5341612"/>
              <a:gd name="connsiteY2" fmla="*/ 0 h 2788652"/>
              <a:gd name="connsiteX3" fmla="*/ 5335262 w 5341612"/>
              <a:gd name="connsiteY3" fmla="*/ 79455 h 2788652"/>
              <a:gd name="connsiteX4" fmla="*/ 5341612 w 5341612"/>
              <a:gd name="connsiteY4" fmla="*/ 1485224 h 2788652"/>
              <a:gd name="connsiteX5" fmla="*/ 4989699 w 5341612"/>
              <a:gd name="connsiteY5" fmla="*/ 1523774 h 2788652"/>
              <a:gd name="connsiteX6" fmla="*/ 4957308 w 5341612"/>
              <a:gd name="connsiteY6" fmla="*/ 2785271 h 2788652"/>
              <a:gd name="connsiteX7" fmla="*/ 613543 w 5341612"/>
              <a:gd name="connsiteY7" fmla="*/ 2785271 h 2788652"/>
              <a:gd name="connsiteX0" fmla="*/ 313517 w 5041586"/>
              <a:gd name="connsiteY0" fmla="*/ 3468185 h 3471566"/>
              <a:gd name="connsiteX1" fmla="*/ 313517 w 5041586"/>
              <a:gd name="connsiteY1" fmla="*/ 687628 h 3471566"/>
              <a:gd name="connsiteX2" fmla="*/ 4989070 w 5041586"/>
              <a:gd name="connsiteY2" fmla="*/ 682914 h 3471566"/>
              <a:gd name="connsiteX3" fmla="*/ 5035236 w 5041586"/>
              <a:gd name="connsiteY3" fmla="*/ 762369 h 3471566"/>
              <a:gd name="connsiteX4" fmla="*/ 5041586 w 5041586"/>
              <a:gd name="connsiteY4" fmla="*/ 2168138 h 3471566"/>
              <a:gd name="connsiteX5" fmla="*/ 4689673 w 5041586"/>
              <a:gd name="connsiteY5" fmla="*/ 2206688 h 3471566"/>
              <a:gd name="connsiteX6" fmla="*/ 4657282 w 5041586"/>
              <a:gd name="connsiteY6" fmla="*/ 3468185 h 3471566"/>
              <a:gd name="connsiteX7" fmla="*/ 313517 w 5041586"/>
              <a:gd name="connsiteY7" fmla="*/ 3468185 h 3471566"/>
              <a:gd name="connsiteX0" fmla="*/ 313517 w 5041586"/>
              <a:gd name="connsiteY0" fmla="*/ 3468185 h 3471566"/>
              <a:gd name="connsiteX1" fmla="*/ 313517 w 5041586"/>
              <a:gd name="connsiteY1" fmla="*/ 687628 h 3471566"/>
              <a:gd name="connsiteX2" fmla="*/ 4989070 w 5041586"/>
              <a:gd name="connsiteY2" fmla="*/ 682914 h 3471566"/>
              <a:gd name="connsiteX3" fmla="*/ 5035236 w 5041586"/>
              <a:gd name="connsiteY3" fmla="*/ 762369 h 3471566"/>
              <a:gd name="connsiteX4" fmla="*/ 5041586 w 5041586"/>
              <a:gd name="connsiteY4" fmla="*/ 2168138 h 3471566"/>
              <a:gd name="connsiteX5" fmla="*/ 4689673 w 5041586"/>
              <a:gd name="connsiteY5" fmla="*/ 2206688 h 3471566"/>
              <a:gd name="connsiteX6" fmla="*/ 4657282 w 5041586"/>
              <a:gd name="connsiteY6" fmla="*/ 3468185 h 3471566"/>
              <a:gd name="connsiteX7" fmla="*/ 313517 w 5041586"/>
              <a:gd name="connsiteY7" fmla="*/ 3468185 h 3471566"/>
              <a:gd name="connsiteX0" fmla="*/ 313517 w 5041586"/>
              <a:gd name="connsiteY0" fmla="*/ 2785271 h 2788652"/>
              <a:gd name="connsiteX1" fmla="*/ 313517 w 5041586"/>
              <a:gd name="connsiteY1" fmla="*/ 4714 h 2788652"/>
              <a:gd name="connsiteX2" fmla="*/ 4989070 w 5041586"/>
              <a:gd name="connsiteY2" fmla="*/ 0 h 2788652"/>
              <a:gd name="connsiteX3" fmla="*/ 5035236 w 5041586"/>
              <a:gd name="connsiteY3" fmla="*/ 79455 h 2788652"/>
              <a:gd name="connsiteX4" fmla="*/ 5041586 w 5041586"/>
              <a:gd name="connsiteY4" fmla="*/ 1485224 h 2788652"/>
              <a:gd name="connsiteX5" fmla="*/ 4689673 w 5041586"/>
              <a:gd name="connsiteY5" fmla="*/ 1523774 h 2788652"/>
              <a:gd name="connsiteX6" fmla="*/ 4657282 w 5041586"/>
              <a:gd name="connsiteY6" fmla="*/ 2785271 h 2788652"/>
              <a:gd name="connsiteX7" fmla="*/ 313517 w 5041586"/>
              <a:gd name="connsiteY7" fmla="*/ 2785271 h 2788652"/>
              <a:gd name="connsiteX0" fmla="*/ 0 w 4728069"/>
              <a:gd name="connsiteY0" fmla="*/ 2785271 h 2788652"/>
              <a:gd name="connsiteX1" fmla="*/ 0 w 4728069"/>
              <a:gd name="connsiteY1" fmla="*/ 4714 h 2788652"/>
              <a:gd name="connsiteX2" fmla="*/ 4675553 w 4728069"/>
              <a:gd name="connsiteY2" fmla="*/ 0 h 2788652"/>
              <a:gd name="connsiteX3" fmla="*/ 4721719 w 4728069"/>
              <a:gd name="connsiteY3" fmla="*/ 79455 h 2788652"/>
              <a:gd name="connsiteX4" fmla="*/ 4728069 w 4728069"/>
              <a:gd name="connsiteY4" fmla="*/ 1485224 h 2788652"/>
              <a:gd name="connsiteX5" fmla="*/ 4376156 w 4728069"/>
              <a:gd name="connsiteY5" fmla="*/ 1523774 h 2788652"/>
              <a:gd name="connsiteX6" fmla="*/ 4343765 w 4728069"/>
              <a:gd name="connsiteY6" fmla="*/ 2785271 h 2788652"/>
              <a:gd name="connsiteX7" fmla="*/ 0 w 4728069"/>
              <a:gd name="connsiteY7" fmla="*/ 2785271 h 2788652"/>
              <a:gd name="connsiteX0" fmla="*/ 0 w 4809032"/>
              <a:gd name="connsiteY0" fmla="*/ 2799412 h 2799412"/>
              <a:gd name="connsiteX1" fmla="*/ 80963 w 4809032"/>
              <a:gd name="connsiteY1" fmla="*/ 4714 h 2799412"/>
              <a:gd name="connsiteX2" fmla="*/ 4756516 w 4809032"/>
              <a:gd name="connsiteY2" fmla="*/ 0 h 2799412"/>
              <a:gd name="connsiteX3" fmla="*/ 4802682 w 4809032"/>
              <a:gd name="connsiteY3" fmla="*/ 79455 h 2799412"/>
              <a:gd name="connsiteX4" fmla="*/ 4809032 w 4809032"/>
              <a:gd name="connsiteY4" fmla="*/ 1485224 h 2799412"/>
              <a:gd name="connsiteX5" fmla="*/ 4457119 w 4809032"/>
              <a:gd name="connsiteY5" fmla="*/ 1523774 h 2799412"/>
              <a:gd name="connsiteX6" fmla="*/ 4424728 w 4809032"/>
              <a:gd name="connsiteY6" fmla="*/ 2785271 h 2799412"/>
              <a:gd name="connsiteX7" fmla="*/ 0 w 4809032"/>
              <a:gd name="connsiteY7" fmla="*/ 2799412 h 2799412"/>
              <a:gd name="connsiteX0" fmla="*/ 0 w 4809032"/>
              <a:gd name="connsiteY0" fmla="*/ 2806062 h 2806062"/>
              <a:gd name="connsiteX1" fmla="*/ 1 w 4809032"/>
              <a:gd name="connsiteY1" fmla="*/ 1937 h 2806062"/>
              <a:gd name="connsiteX2" fmla="*/ 4756516 w 4809032"/>
              <a:gd name="connsiteY2" fmla="*/ 6650 h 2806062"/>
              <a:gd name="connsiteX3" fmla="*/ 4802682 w 4809032"/>
              <a:gd name="connsiteY3" fmla="*/ 86105 h 2806062"/>
              <a:gd name="connsiteX4" fmla="*/ 4809032 w 4809032"/>
              <a:gd name="connsiteY4" fmla="*/ 1491874 h 2806062"/>
              <a:gd name="connsiteX5" fmla="*/ 4457119 w 4809032"/>
              <a:gd name="connsiteY5" fmla="*/ 1530424 h 2806062"/>
              <a:gd name="connsiteX6" fmla="*/ 4424728 w 4809032"/>
              <a:gd name="connsiteY6" fmla="*/ 2791921 h 2806062"/>
              <a:gd name="connsiteX7" fmla="*/ 0 w 4809032"/>
              <a:gd name="connsiteY7" fmla="*/ 2806062 h 2806062"/>
              <a:gd name="connsiteX0" fmla="*/ 5 w 4809037"/>
              <a:gd name="connsiteY0" fmla="*/ 2806062 h 2806062"/>
              <a:gd name="connsiteX1" fmla="*/ 6 w 4809037"/>
              <a:gd name="connsiteY1" fmla="*/ 1937 h 2806062"/>
              <a:gd name="connsiteX2" fmla="*/ 4756521 w 4809037"/>
              <a:gd name="connsiteY2" fmla="*/ 6650 h 2806062"/>
              <a:gd name="connsiteX3" fmla="*/ 4802687 w 4809037"/>
              <a:gd name="connsiteY3" fmla="*/ 86105 h 2806062"/>
              <a:gd name="connsiteX4" fmla="*/ 4809037 w 4809037"/>
              <a:gd name="connsiteY4" fmla="*/ 1491874 h 2806062"/>
              <a:gd name="connsiteX5" fmla="*/ 4457124 w 4809037"/>
              <a:gd name="connsiteY5" fmla="*/ 1530424 h 2806062"/>
              <a:gd name="connsiteX6" fmla="*/ 4424733 w 4809037"/>
              <a:gd name="connsiteY6" fmla="*/ 2791921 h 2806062"/>
              <a:gd name="connsiteX7" fmla="*/ 5 w 4809037"/>
              <a:gd name="connsiteY7" fmla="*/ 2806062 h 2806062"/>
              <a:gd name="connsiteX0" fmla="*/ 5 w 4809037"/>
              <a:gd name="connsiteY0" fmla="*/ 3042258 h 3042258"/>
              <a:gd name="connsiteX1" fmla="*/ 6 w 4809037"/>
              <a:gd name="connsiteY1" fmla="*/ 238133 h 3042258"/>
              <a:gd name="connsiteX2" fmla="*/ 4802687 w 4809037"/>
              <a:gd name="connsiteY2" fmla="*/ 322301 h 3042258"/>
              <a:gd name="connsiteX3" fmla="*/ 4809037 w 4809037"/>
              <a:gd name="connsiteY3" fmla="*/ 1728070 h 3042258"/>
              <a:gd name="connsiteX4" fmla="*/ 4457124 w 4809037"/>
              <a:gd name="connsiteY4" fmla="*/ 1766620 h 3042258"/>
              <a:gd name="connsiteX5" fmla="*/ 4424733 w 4809037"/>
              <a:gd name="connsiteY5" fmla="*/ 3028117 h 3042258"/>
              <a:gd name="connsiteX6" fmla="*/ 5 w 4809037"/>
              <a:gd name="connsiteY6" fmla="*/ 3042258 h 3042258"/>
              <a:gd name="connsiteX0" fmla="*/ 5 w 4809037"/>
              <a:gd name="connsiteY0" fmla="*/ 3074793 h 3074793"/>
              <a:gd name="connsiteX1" fmla="*/ 6 w 4809037"/>
              <a:gd name="connsiteY1" fmla="*/ 270668 h 3074793"/>
              <a:gd name="connsiteX2" fmla="*/ 4797924 w 4809037"/>
              <a:gd name="connsiteY2" fmla="*/ 265280 h 3074793"/>
              <a:gd name="connsiteX3" fmla="*/ 4809037 w 4809037"/>
              <a:gd name="connsiteY3" fmla="*/ 1760605 h 3074793"/>
              <a:gd name="connsiteX4" fmla="*/ 4457124 w 4809037"/>
              <a:gd name="connsiteY4" fmla="*/ 1799155 h 3074793"/>
              <a:gd name="connsiteX5" fmla="*/ 4424733 w 4809037"/>
              <a:gd name="connsiteY5" fmla="*/ 3060652 h 3074793"/>
              <a:gd name="connsiteX6" fmla="*/ 5 w 4809037"/>
              <a:gd name="connsiteY6" fmla="*/ 3074793 h 3074793"/>
              <a:gd name="connsiteX0" fmla="*/ 5 w 4809037"/>
              <a:gd name="connsiteY0" fmla="*/ 2990782 h 2990782"/>
              <a:gd name="connsiteX1" fmla="*/ 6 w 4809037"/>
              <a:gd name="connsiteY1" fmla="*/ 186657 h 2990782"/>
              <a:gd name="connsiteX2" fmla="*/ 4797924 w 4809037"/>
              <a:gd name="connsiteY2" fmla="*/ 181269 h 2990782"/>
              <a:gd name="connsiteX3" fmla="*/ 4809037 w 4809037"/>
              <a:gd name="connsiteY3" fmla="*/ 1676594 h 2990782"/>
              <a:gd name="connsiteX4" fmla="*/ 4457124 w 4809037"/>
              <a:gd name="connsiteY4" fmla="*/ 1715144 h 2990782"/>
              <a:gd name="connsiteX5" fmla="*/ 4424733 w 4809037"/>
              <a:gd name="connsiteY5" fmla="*/ 2976641 h 2990782"/>
              <a:gd name="connsiteX6" fmla="*/ 5 w 4809037"/>
              <a:gd name="connsiteY6" fmla="*/ 2990782 h 2990782"/>
              <a:gd name="connsiteX0" fmla="*/ 5 w 4809037"/>
              <a:gd name="connsiteY0" fmla="*/ 2821150 h 2821150"/>
              <a:gd name="connsiteX1" fmla="*/ 6 w 4809037"/>
              <a:gd name="connsiteY1" fmla="*/ 17025 h 2821150"/>
              <a:gd name="connsiteX2" fmla="*/ 4797924 w 4809037"/>
              <a:gd name="connsiteY2" fmla="*/ 11637 h 2821150"/>
              <a:gd name="connsiteX3" fmla="*/ 4809037 w 4809037"/>
              <a:gd name="connsiteY3" fmla="*/ 1506962 h 2821150"/>
              <a:gd name="connsiteX4" fmla="*/ 4457124 w 4809037"/>
              <a:gd name="connsiteY4" fmla="*/ 1545512 h 2821150"/>
              <a:gd name="connsiteX5" fmla="*/ 4424733 w 4809037"/>
              <a:gd name="connsiteY5" fmla="*/ 2807009 h 2821150"/>
              <a:gd name="connsiteX6" fmla="*/ 5 w 4809037"/>
              <a:gd name="connsiteY6" fmla="*/ 2821150 h 2821150"/>
              <a:gd name="connsiteX0" fmla="*/ 5 w 4809037"/>
              <a:gd name="connsiteY0" fmla="*/ 2811040 h 2811040"/>
              <a:gd name="connsiteX1" fmla="*/ 6 w 4809037"/>
              <a:gd name="connsiteY1" fmla="*/ 6915 h 2811040"/>
              <a:gd name="connsiteX2" fmla="*/ 4797924 w 4809037"/>
              <a:gd name="connsiteY2" fmla="*/ 1527 h 2811040"/>
              <a:gd name="connsiteX3" fmla="*/ 4809037 w 4809037"/>
              <a:gd name="connsiteY3" fmla="*/ 1496852 h 2811040"/>
              <a:gd name="connsiteX4" fmla="*/ 4457124 w 4809037"/>
              <a:gd name="connsiteY4" fmla="*/ 1535402 h 2811040"/>
              <a:gd name="connsiteX5" fmla="*/ 4424733 w 4809037"/>
              <a:gd name="connsiteY5" fmla="*/ 2796899 h 2811040"/>
              <a:gd name="connsiteX6" fmla="*/ 5 w 4809037"/>
              <a:gd name="connsiteY6" fmla="*/ 2811040 h 2811040"/>
              <a:gd name="connsiteX0" fmla="*/ 5 w 4809037"/>
              <a:gd name="connsiteY0" fmla="*/ 2815715 h 2815715"/>
              <a:gd name="connsiteX1" fmla="*/ 6 w 4809037"/>
              <a:gd name="connsiteY1" fmla="*/ 11590 h 2815715"/>
              <a:gd name="connsiteX2" fmla="*/ 4797924 w 4809037"/>
              <a:gd name="connsiteY2" fmla="*/ 6202 h 2815715"/>
              <a:gd name="connsiteX3" fmla="*/ 4809037 w 4809037"/>
              <a:gd name="connsiteY3" fmla="*/ 1501527 h 2815715"/>
              <a:gd name="connsiteX4" fmla="*/ 4457124 w 4809037"/>
              <a:gd name="connsiteY4" fmla="*/ 1540077 h 2815715"/>
              <a:gd name="connsiteX5" fmla="*/ 4424733 w 4809037"/>
              <a:gd name="connsiteY5" fmla="*/ 2801574 h 2815715"/>
              <a:gd name="connsiteX6" fmla="*/ 5 w 4809037"/>
              <a:gd name="connsiteY6" fmla="*/ 2815715 h 2815715"/>
              <a:gd name="connsiteX0" fmla="*/ 5 w 4809037"/>
              <a:gd name="connsiteY0" fmla="*/ 2820308 h 2820308"/>
              <a:gd name="connsiteX1" fmla="*/ 6 w 4809037"/>
              <a:gd name="connsiteY1" fmla="*/ 16183 h 2820308"/>
              <a:gd name="connsiteX2" fmla="*/ 4797924 w 4809037"/>
              <a:gd name="connsiteY2" fmla="*/ 10795 h 2820308"/>
              <a:gd name="connsiteX3" fmla="*/ 4809037 w 4809037"/>
              <a:gd name="connsiteY3" fmla="*/ 1506120 h 2820308"/>
              <a:gd name="connsiteX4" fmla="*/ 4457124 w 4809037"/>
              <a:gd name="connsiteY4" fmla="*/ 1544670 h 2820308"/>
              <a:gd name="connsiteX5" fmla="*/ 4424733 w 4809037"/>
              <a:gd name="connsiteY5" fmla="*/ 2806167 h 2820308"/>
              <a:gd name="connsiteX6" fmla="*/ 5 w 4809037"/>
              <a:gd name="connsiteY6" fmla="*/ 2820308 h 2820308"/>
              <a:gd name="connsiteX0" fmla="*/ 5 w 4809037"/>
              <a:gd name="connsiteY0" fmla="*/ 2814097 h 2814097"/>
              <a:gd name="connsiteX1" fmla="*/ 6 w 4809037"/>
              <a:gd name="connsiteY1" fmla="*/ 9972 h 2814097"/>
              <a:gd name="connsiteX2" fmla="*/ 4797924 w 4809037"/>
              <a:gd name="connsiteY2" fmla="*/ 4584 h 2814097"/>
              <a:gd name="connsiteX3" fmla="*/ 4809037 w 4809037"/>
              <a:gd name="connsiteY3" fmla="*/ 1499909 h 2814097"/>
              <a:gd name="connsiteX4" fmla="*/ 4457124 w 4809037"/>
              <a:gd name="connsiteY4" fmla="*/ 1538459 h 2814097"/>
              <a:gd name="connsiteX5" fmla="*/ 4424733 w 4809037"/>
              <a:gd name="connsiteY5" fmla="*/ 2799956 h 2814097"/>
              <a:gd name="connsiteX6" fmla="*/ 5 w 4809037"/>
              <a:gd name="connsiteY6" fmla="*/ 2814097 h 2814097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57124 w 4809037"/>
              <a:gd name="connsiteY4" fmla="*/ 1533875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57124 w 4809037"/>
              <a:gd name="connsiteY4" fmla="*/ 1533875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578097 w 4809037"/>
              <a:gd name="connsiteY4" fmla="*/ 1518550 h 2809513"/>
              <a:gd name="connsiteX5" fmla="*/ 4457124 w 4809037"/>
              <a:gd name="connsiteY5" fmla="*/ 1533875 h 2809513"/>
              <a:gd name="connsiteX6" fmla="*/ 4424733 w 4809037"/>
              <a:gd name="connsiteY6" fmla="*/ 2795372 h 2809513"/>
              <a:gd name="connsiteX7" fmla="*/ 5 w 4809037"/>
              <a:gd name="connsiteY7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578097 w 4809037"/>
              <a:gd name="connsiteY4" fmla="*/ 1518550 h 2809513"/>
              <a:gd name="connsiteX5" fmla="*/ 4457124 w 4809037"/>
              <a:gd name="connsiteY5" fmla="*/ 1576296 h 2809513"/>
              <a:gd name="connsiteX6" fmla="*/ 4424733 w 4809037"/>
              <a:gd name="connsiteY6" fmla="*/ 2795372 h 2809513"/>
              <a:gd name="connsiteX7" fmla="*/ 5 w 4809037"/>
              <a:gd name="connsiteY7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57124 w 4809037"/>
              <a:gd name="connsiteY4" fmla="*/ 1576296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57124 w 4809037"/>
              <a:gd name="connsiteY4" fmla="*/ 1576296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57124 w 4809037"/>
              <a:gd name="connsiteY4" fmla="*/ 1576296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57124 w 4809037"/>
              <a:gd name="connsiteY4" fmla="*/ 1581010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57124 w 4809037"/>
              <a:gd name="connsiteY4" fmla="*/ 1581010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42837 w 4809037"/>
              <a:gd name="connsiteY4" fmla="*/ 1573939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442837 w 4809037"/>
              <a:gd name="connsiteY4" fmla="*/ 1573939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5325 h 2809513"/>
              <a:gd name="connsiteX4" fmla="*/ 4395212 w 4809037"/>
              <a:gd name="connsiteY4" fmla="*/ 1524448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69401 h 2809513"/>
              <a:gd name="connsiteX4" fmla="*/ 4395212 w 4809037"/>
              <a:gd name="connsiteY4" fmla="*/ 1524448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2968 h 2809513"/>
              <a:gd name="connsiteX4" fmla="*/ 4395212 w 4804275"/>
              <a:gd name="connsiteY4" fmla="*/ 1524448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395212 w 4804275"/>
              <a:gd name="connsiteY4" fmla="*/ 1524448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395212 w 4804275"/>
              <a:gd name="connsiteY4" fmla="*/ 1524448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395212 w 4804275"/>
              <a:gd name="connsiteY4" fmla="*/ 1524448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442837 w 4804275"/>
              <a:gd name="connsiteY4" fmla="*/ 1533876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442837 w 4804275"/>
              <a:gd name="connsiteY4" fmla="*/ 1533876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442837 w 4804275"/>
              <a:gd name="connsiteY4" fmla="*/ 1533876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442837 w 4804275"/>
              <a:gd name="connsiteY4" fmla="*/ 1533876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435694 w 4804275"/>
              <a:gd name="connsiteY4" fmla="*/ 1531518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438075 w 4804275"/>
              <a:gd name="connsiteY4" fmla="*/ 1545659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438075 w 4804275"/>
              <a:gd name="connsiteY4" fmla="*/ 1545659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4275"/>
              <a:gd name="connsiteY0" fmla="*/ 2809513 h 2809513"/>
              <a:gd name="connsiteX1" fmla="*/ 6 w 4804275"/>
              <a:gd name="connsiteY1" fmla="*/ 5388 h 2809513"/>
              <a:gd name="connsiteX2" fmla="*/ 4797924 w 4804275"/>
              <a:gd name="connsiteY2" fmla="*/ 0 h 2809513"/>
              <a:gd name="connsiteX3" fmla="*/ 4804275 w 4804275"/>
              <a:gd name="connsiteY3" fmla="*/ 1490611 h 2809513"/>
              <a:gd name="connsiteX4" fmla="*/ 4438075 w 4804275"/>
              <a:gd name="connsiteY4" fmla="*/ 1545659 h 2809513"/>
              <a:gd name="connsiteX5" fmla="*/ 4424733 w 4804275"/>
              <a:gd name="connsiteY5" fmla="*/ 2795372 h 2809513"/>
              <a:gd name="connsiteX6" fmla="*/ 5 w 4804275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2968 h 2809513"/>
              <a:gd name="connsiteX4" fmla="*/ 4438075 w 4809037"/>
              <a:gd name="connsiteY4" fmla="*/ 1545659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2968 h 2809513"/>
              <a:gd name="connsiteX4" fmla="*/ 4433312 w 4809037"/>
              <a:gd name="connsiteY4" fmla="*/ 1548016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9037"/>
              <a:gd name="connsiteY0" fmla="*/ 2809513 h 2809513"/>
              <a:gd name="connsiteX1" fmla="*/ 6 w 4809037"/>
              <a:gd name="connsiteY1" fmla="*/ 5388 h 2809513"/>
              <a:gd name="connsiteX2" fmla="*/ 4797924 w 4809037"/>
              <a:gd name="connsiteY2" fmla="*/ 0 h 2809513"/>
              <a:gd name="connsiteX3" fmla="*/ 4809037 w 4809037"/>
              <a:gd name="connsiteY3" fmla="*/ 1492968 h 2809513"/>
              <a:gd name="connsiteX4" fmla="*/ 4433312 w 4809037"/>
              <a:gd name="connsiteY4" fmla="*/ 1548016 h 2809513"/>
              <a:gd name="connsiteX5" fmla="*/ 4424733 w 4809037"/>
              <a:gd name="connsiteY5" fmla="*/ 2795372 h 2809513"/>
              <a:gd name="connsiteX6" fmla="*/ 5 w 4809037"/>
              <a:gd name="connsiteY6" fmla="*/ 2809513 h 2809513"/>
              <a:gd name="connsiteX0" fmla="*/ 5 w 4802909"/>
              <a:gd name="connsiteY0" fmla="*/ 2809513 h 2809513"/>
              <a:gd name="connsiteX1" fmla="*/ 6 w 4802909"/>
              <a:gd name="connsiteY1" fmla="*/ 5388 h 2809513"/>
              <a:gd name="connsiteX2" fmla="*/ 4797924 w 4802909"/>
              <a:gd name="connsiteY2" fmla="*/ 0 h 2809513"/>
              <a:gd name="connsiteX3" fmla="*/ 4802909 w 4802909"/>
              <a:gd name="connsiteY3" fmla="*/ 1487296 h 2809513"/>
              <a:gd name="connsiteX4" fmla="*/ 4433312 w 4802909"/>
              <a:gd name="connsiteY4" fmla="*/ 1548016 h 2809513"/>
              <a:gd name="connsiteX5" fmla="*/ 4424733 w 4802909"/>
              <a:gd name="connsiteY5" fmla="*/ 2795372 h 2809513"/>
              <a:gd name="connsiteX6" fmla="*/ 5 w 4802909"/>
              <a:gd name="connsiteY6" fmla="*/ 2809513 h 2809513"/>
              <a:gd name="connsiteX0" fmla="*/ 5 w 4802909"/>
              <a:gd name="connsiteY0" fmla="*/ 2809513 h 2809513"/>
              <a:gd name="connsiteX1" fmla="*/ 6 w 4802909"/>
              <a:gd name="connsiteY1" fmla="*/ 5388 h 2809513"/>
              <a:gd name="connsiteX2" fmla="*/ 4797924 w 4802909"/>
              <a:gd name="connsiteY2" fmla="*/ 0 h 2809513"/>
              <a:gd name="connsiteX3" fmla="*/ 4802909 w 4802909"/>
              <a:gd name="connsiteY3" fmla="*/ 1487296 h 2809513"/>
              <a:gd name="connsiteX4" fmla="*/ 4433312 w 4802909"/>
              <a:gd name="connsiteY4" fmla="*/ 1548016 h 2809513"/>
              <a:gd name="connsiteX5" fmla="*/ 4443118 w 4802909"/>
              <a:gd name="connsiteY5" fmla="*/ 2761337 h 2809513"/>
              <a:gd name="connsiteX6" fmla="*/ 5 w 4802909"/>
              <a:gd name="connsiteY6" fmla="*/ 2809513 h 2809513"/>
              <a:gd name="connsiteX0" fmla="*/ 5 w 4802909"/>
              <a:gd name="connsiteY0" fmla="*/ 2809513 h 2809513"/>
              <a:gd name="connsiteX1" fmla="*/ 6 w 4802909"/>
              <a:gd name="connsiteY1" fmla="*/ 5388 h 2809513"/>
              <a:gd name="connsiteX2" fmla="*/ 4797924 w 4802909"/>
              <a:gd name="connsiteY2" fmla="*/ 0 h 2809513"/>
              <a:gd name="connsiteX3" fmla="*/ 4802909 w 4802909"/>
              <a:gd name="connsiteY3" fmla="*/ 1487296 h 2809513"/>
              <a:gd name="connsiteX4" fmla="*/ 4433312 w 4802909"/>
              <a:gd name="connsiteY4" fmla="*/ 1548016 h 2809513"/>
              <a:gd name="connsiteX5" fmla="*/ 4443118 w 4802909"/>
              <a:gd name="connsiteY5" fmla="*/ 2744320 h 2809513"/>
              <a:gd name="connsiteX6" fmla="*/ 5 w 4802909"/>
              <a:gd name="connsiteY6" fmla="*/ 2809513 h 2809513"/>
              <a:gd name="connsiteX0" fmla="*/ 5 w 4802909"/>
              <a:gd name="connsiteY0" fmla="*/ 2809513 h 2809513"/>
              <a:gd name="connsiteX1" fmla="*/ 6 w 4802909"/>
              <a:gd name="connsiteY1" fmla="*/ 5388 h 2809513"/>
              <a:gd name="connsiteX2" fmla="*/ 4797924 w 4802909"/>
              <a:gd name="connsiteY2" fmla="*/ 0 h 2809513"/>
              <a:gd name="connsiteX3" fmla="*/ 4802909 w 4802909"/>
              <a:gd name="connsiteY3" fmla="*/ 1487296 h 2809513"/>
              <a:gd name="connsiteX4" fmla="*/ 4433312 w 4802909"/>
              <a:gd name="connsiteY4" fmla="*/ 1548016 h 2809513"/>
              <a:gd name="connsiteX5" fmla="*/ 4443118 w 4802909"/>
              <a:gd name="connsiteY5" fmla="*/ 2698940 h 2809513"/>
              <a:gd name="connsiteX6" fmla="*/ 5 w 4802909"/>
              <a:gd name="connsiteY6" fmla="*/ 2809513 h 2809513"/>
              <a:gd name="connsiteX0" fmla="*/ 0 w 4821290"/>
              <a:gd name="connsiteY0" fmla="*/ 2696064 h 2698940"/>
              <a:gd name="connsiteX1" fmla="*/ 18387 w 4821290"/>
              <a:gd name="connsiteY1" fmla="*/ 5388 h 2698940"/>
              <a:gd name="connsiteX2" fmla="*/ 4816305 w 4821290"/>
              <a:gd name="connsiteY2" fmla="*/ 0 h 2698940"/>
              <a:gd name="connsiteX3" fmla="*/ 4821290 w 4821290"/>
              <a:gd name="connsiteY3" fmla="*/ 1487296 h 2698940"/>
              <a:gd name="connsiteX4" fmla="*/ 4451693 w 4821290"/>
              <a:gd name="connsiteY4" fmla="*/ 1548016 h 2698940"/>
              <a:gd name="connsiteX5" fmla="*/ 4461499 w 4821290"/>
              <a:gd name="connsiteY5" fmla="*/ 2698940 h 2698940"/>
              <a:gd name="connsiteX6" fmla="*/ 0 w 4821290"/>
              <a:gd name="connsiteY6" fmla="*/ 2696064 h 2698940"/>
              <a:gd name="connsiteX0" fmla="*/ 0 w 4821290"/>
              <a:gd name="connsiteY0" fmla="*/ 2696064 h 2698940"/>
              <a:gd name="connsiteX1" fmla="*/ 18387 w 4821290"/>
              <a:gd name="connsiteY1" fmla="*/ 5388 h 2698940"/>
              <a:gd name="connsiteX2" fmla="*/ 4816305 w 4821290"/>
              <a:gd name="connsiteY2" fmla="*/ 0 h 2698940"/>
              <a:gd name="connsiteX3" fmla="*/ 4821290 w 4821290"/>
              <a:gd name="connsiteY3" fmla="*/ 1487296 h 2698940"/>
              <a:gd name="connsiteX4" fmla="*/ 4476207 w 4821290"/>
              <a:gd name="connsiteY4" fmla="*/ 1542344 h 2698940"/>
              <a:gd name="connsiteX5" fmla="*/ 4461499 w 4821290"/>
              <a:gd name="connsiteY5" fmla="*/ 2698940 h 2698940"/>
              <a:gd name="connsiteX6" fmla="*/ 0 w 4821290"/>
              <a:gd name="connsiteY6" fmla="*/ 2696064 h 2698940"/>
              <a:gd name="connsiteX0" fmla="*/ 0 w 4815162"/>
              <a:gd name="connsiteY0" fmla="*/ 2696064 h 2698940"/>
              <a:gd name="connsiteX1" fmla="*/ 12259 w 4815162"/>
              <a:gd name="connsiteY1" fmla="*/ 5388 h 2698940"/>
              <a:gd name="connsiteX2" fmla="*/ 4810177 w 4815162"/>
              <a:gd name="connsiteY2" fmla="*/ 0 h 2698940"/>
              <a:gd name="connsiteX3" fmla="*/ 4815162 w 4815162"/>
              <a:gd name="connsiteY3" fmla="*/ 1487296 h 2698940"/>
              <a:gd name="connsiteX4" fmla="*/ 4470079 w 4815162"/>
              <a:gd name="connsiteY4" fmla="*/ 1542344 h 2698940"/>
              <a:gd name="connsiteX5" fmla="*/ 4455371 w 4815162"/>
              <a:gd name="connsiteY5" fmla="*/ 2698940 h 2698940"/>
              <a:gd name="connsiteX6" fmla="*/ 0 w 4815162"/>
              <a:gd name="connsiteY6" fmla="*/ 2696064 h 2698940"/>
              <a:gd name="connsiteX0" fmla="*/ 12258 w 4802906"/>
              <a:gd name="connsiteY0" fmla="*/ 2684720 h 2698940"/>
              <a:gd name="connsiteX1" fmla="*/ 3 w 4802906"/>
              <a:gd name="connsiteY1" fmla="*/ 5388 h 2698940"/>
              <a:gd name="connsiteX2" fmla="*/ 4797921 w 4802906"/>
              <a:gd name="connsiteY2" fmla="*/ 0 h 2698940"/>
              <a:gd name="connsiteX3" fmla="*/ 4802906 w 4802906"/>
              <a:gd name="connsiteY3" fmla="*/ 1487296 h 2698940"/>
              <a:gd name="connsiteX4" fmla="*/ 4457823 w 4802906"/>
              <a:gd name="connsiteY4" fmla="*/ 1542344 h 2698940"/>
              <a:gd name="connsiteX5" fmla="*/ 4443115 w 4802906"/>
              <a:gd name="connsiteY5" fmla="*/ 2698940 h 2698940"/>
              <a:gd name="connsiteX6" fmla="*/ 12258 w 4802906"/>
              <a:gd name="connsiteY6" fmla="*/ 2684720 h 2698940"/>
              <a:gd name="connsiteX0" fmla="*/ 12280 w 4802928"/>
              <a:gd name="connsiteY0" fmla="*/ 2684720 h 2698940"/>
              <a:gd name="connsiteX1" fmla="*/ 25 w 4802928"/>
              <a:gd name="connsiteY1" fmla="*/ 5388 h 2698940"/>
              <a:gd name="connsiteX2" fmla="*/ 4797943 w 4802928"/>
              <a:gd name="connsiteY2" fmla="*/ 0 h 2698940"/>
              <a:gd name="connsiteX3" fmla="*/ 4802928 w 4802928"/>
              <a:gd name="connsiteY3" fmla="*/ 1487296 h 2698940"/>
              <a:gd name="connsiteX4" fmla="*/ 4457845 w 4802928"/>
              <a:gd name="connsiteY4" fmla="*/ 1542344 h 2698940"/>
              <a:gd name="connsiteX5" fmla="*/ 4443137 w 4802928"/>
              <a:gd name="connsiteY5" fmla="*/ 2698940 h 2698940"/>
              <a:gd name="connsiteX6" fmla="*/ 12280 w 4802928"/>
              <a:gd name="connsiteY6" fmla="*/ 2684720 h 2698940"/>
              <a:gd name="connsiteX0" fmla="*/ 12262 w 4802910"/>
              <a:gd name="connsiteY0" fmla="*/ 2684720 h 2698940"/>
              <a:gd name="connsiteX1" fmla="*/ 7 w 4802910"/>
              <a:gd name="connsiteY1" fmla="*/ 5388 h 2698940"/>
              <a:gd name="connsiteX2" fmla="*/ 4797925 w 4802910"/>
              <a:gd name="connsiteY2" fmla="*/ 0 h 2698940"/>
              <a:gd name="connsiteX3" fmla="*/ 4802910 w 4802910"/>
              <a:gd name="connsiteY3" fmla="*/ 1487296 h 2698940"/>
              <a:gd name="connsiteX4" fmla="*/ 4457827 w 4802910"/>
              <a:gd name="connsiteY4" fmla="*/ 1542344 h 2698940"/>
              <a:gd name="connsiteX5" fmla="*/ 4443119 w 4802910"/>
              <a:gd name="connsiteY5" fmla="*/ 2698940 h 2698940"/>
              <a:gd name="connsiteX6" fmla="*/ 12262 w 4802910"/>
              <a:gd name="connsiteY6" fmla="*/ 2684720 h 2698940"/>
              <a:gd name="connsiteX0" fmla="*/ 1202 w 4810236"/>
              <a:gd name="connsiteY0" fmla="*/ 2629413 h 2698940"/>
              <a:gd name="connsiteX1" fmla="*/ 7333 w 4810236"/>
              <a:gd name="connsiteY1" fmla="*/ 5388 h 2698940"/>
              <a:gd name="connsiteX2" fmla="*/ 4805251 w 4810236"/>
              <a:gd name="connsiteY2" fmla="*/ 0 h 2698940"/>
              <a:gd name="connsiteX3" fmla="*/ 4810236 w 4810236"/>
              <a:gd name="connsiteY3" fmla="*/ 1487296 h 2698940"/>
              <a:gd name="connsiteX4" fmla="*/ 4465153 w 4810236"/>
              <a:gd name="connsiteY4" fmla="*/ 1542344 h 2698940"/>
              <a:gd name="connsiteX5" fmla="*/ 4450445 w 4810236"/>
              <a:gd name="connsiteY5" fmla="*/ 2698940 h 2698940"/>
              <a:gd name="connsiteX6" fmla="*/ 1202 w 4810236"/>
              <a:gd name="connsiteY6" fmla="*/ 2629413 h 2698940"/>
              <a:gd name="connsiteX0" fmla="*/ 3452 w 4812486"/>
              <a:gd name="connsiteY0" fmla="*/ 2629413 h 2698940"/>
              <a:gd name="connsiteX1" fmla="*/ 390 w 4812486"/>
              <a:gd name="connsiteY1" fmla="*/ 9642 h 2698940"/>
              <a:gd name="connsiteX2" fmla="*/ 4807501 w 4812486"/>
              <a:gd name="connsiteY2" fmla="*/ 0 h 2698940"/>
              <a:gd name="connsiteX3" fmla="*/ 4812486 w 4812486"/>
              <a:gd name="connsiteY3" fmla="*/ 1487296 h 2698940"/>
              <a:gd name="connsiteX4" fmla="*/ 4467403 w 4812486"/>
              <a:gd name="connsiteY4" fmla="*/ 1542344 h 2698940"/>
              <a:gd name="connsiteX5" fmla="*/ 4452695 w 4812486"/>
              <a:gd name="connsiteY5" fmla="*/ 2698940 h 2698940"/>
              <a:gd name="connsiteX6" fmla="*/ 3452 w 4812486"/>
              <a:gd name="connsiteY6" fmla="*/ 2629413 h 269894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487296 h 2630870"/>
              <a:gd name="connsiteX4" fmla="*/ 4467403 w 4812486"/>
              <a:gd name="connsiteY4" fmla="*/ 1542344 h 2630870"/>
              <a:gd name="connsiteX5" fmla="*/ 4458824 w 4812486"/>
              <a:gd name="connsiteY5" fmla="*/ 2630870 h 2630870"/>
              <a:gd name="connsiteX6" fmla="*/ 3452 w 4812486"/>
              <a:gd name="connsiteY6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487296 h 2630870"/>
              <a:gd name="connsiteX4" fmla="*/ 4467403 w 4812486"/>
              <a:gd name="connsiteY4" fmla="*/ 1542344 h 2630870"/>
              <a:gd name="connsiteX5" fmla="*/ 3433807 w 4812486"/>
              <a:gd name="connsiteY5" fmla="*/ 2630870 h 2630870"/>
              <a:gd name="connsiteX6" fmla="*/ 3452 w 4812486"/>
              <a:gd name="connsiteY6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487296 h 2630870"/>
              <a:gd name="connsiteX4" fmla="*/ 4467403 w 4812486"/>
              <a:gd name="connsiteY4" fmla="*/ 1542344 h 2630870"/>
              <a:gd name="connsiteX5" fmla="*/ 4012969 w 4812486"/>
              <a:gd name="connsiteY5" fmla="*/ 1806140 h 2630870"/>
              <a:gd name="connsiteX6" fmla="*/ 3433807 w 4812486"/>
              <a:gd name="connsiteY6" fmla="*/ 2630870 h 2630870"/>
              <a:gd name="connsiteX7" fmla="*/ 3452 w 4812486"/>
              <a:gd name="connsiteY7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487296 h 2630870"/>
              <a:gd name="connsiteX4" fmla="*/ 4467403 w 4812486"/>
              <a:gd name="connsiteY4" fmla="*/ 1542344 h 2630870"/>
              <a:gd name="connsiteX5" fmla="*/ 3191575 w 4812486"/>
              <a:gd name="connsiteY5" fmla="*/ 1576139 h 2630870"/>
              <a:gd name="connsiteX6" fmla="*/ 3433807 w 4812486"/>
              <a:gd name="connsiteY6" fmla="*/ 2630870 h 2630870"/>
              <a:gd name="connsiteX7" fmla="*/ 3452 w 4812486"/>
              <a:gd name="connsiteY7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467403 w 4812486"/>
              <a:gd name="connsiteY4" fmla="*/ 1542344 h 2630870"/>
              <a:gd name="connsiteX5" fmla="*/ 3191575 w 4812486"/>
              <a:gd name="connsiteY5" fmla="*/ 1576139 h 2630870"/>
              <a:gd name="connsiteX6" fmla="*/ 3433807 w 4812486"/>
              <a:gd name="connsiteY6" fmla="*/ 2630870 h 2630870"/>
              <a:gd name="connsiteX7" fmla="*/ 3452 w 4812486"/>
              <a:gd name="connsiteY7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63694 w 4812486"/>
              <a:gd name="connsiteY4" fmla="*/ 1203732 h 2630870"/>
              <a:gd name="connsiteX5" fmla="*/ 3191575 w 4812486"/>
              <a:gd name="connsiteY5" fmla="*/ 1576139 h 2630870"/>
              <a:gd name="connsiteX6" fmla="*/ 3433807 w 4812486"/>
              <a:gd name="connsiteY6" fmla="*/ 2630870 h 2630870"/>
              <a:gd name="connsiteX7" fmla="*/ 3452 w 4812486"/>
              <a:gd name="connsiteY7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094669 w 4812486"/>
              <a:gd name="connsiteY4" fmla="*/ 1190954 h 2630870"/>
              <a:gd name="connsiteX5" fmla="*/ 3191575 w 4812486"/>
              <a:gd name="connsiteY5" fmla="*/ 1576139 h 2630870"/>
              <a:gd name="connsiteX6" fmla="*/ 3433807 w 4812486"/>
              <a:gd name="connsiteY6" fmla="*/ 2630870 h 2630870"/>
              <a:gd name="connsiteX7" fmla="*/ 3452 w 4812486"/>
              <a:gd name="connsiteY7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08474 w 4812486"/>
              <a:gd name="connsiteY4" fmla="*/ 1159009 h 2630870"/>
              <a:gd name="connsiteX5" fmla="*/ 3191575 w 4812486"/>
              <a:gd name="connsiteY5" fmla="*/ 1576139 h 2630870"/>
              <a:gd name="connsiteX6" fmla="*/ 3433807 w 4812486"/>
              <a:gd name="connsiteY6" fmla="*/ 2630870 h 2630870"/>
              <a:gd name="connsiteX7" fmla="*/ 3452 w 4812486"/>
              <a:gd name="connsiteY7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08474 w 4812486"/>
              <a:gd name="connsiteY4" fmla="*/ 1159009 h 2630870"/>
              <a:gd name="connsiteX5" fmla="*/ 4040579 w 4812486"/>
              <a:gd name="connsiteY5" fmla="*/ 1921140 h 2630870"/>
              <a:gd name="connsiteX6" fmla="*/ 3433807 w 4812486"/>
              <a:gd name="connsiteY6" fmla="*/ 2630870 h 2630870"/>
              <a:gd name="connsiteX7" fmla="*/ 3452 w 4812486"/>
              <a:gd name="connsiteY7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08474 w 4812486"/>
              <a:gd name="connsiteY4" fmla="*/ 1159009 h 2630870"/>
              <a:gd name="connsiteX5" fmla="*/ 4040579 w 4812486"/>
              <a:gd name="connsiteY5" fmla="*/ 1921140 h 2630870"/>
              <a:gd name="connsiteX6" fmla="*/ 3912883 w 4812486"/>
              <a:gd name="connsiteY6" fmla="*/ 2320447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08474 w 4812486"/>
              <a:gd name="connsiteY4" fmla="*/ 1159009 h 2630870"/>
              <a:gd name="connsiteX5" fmla="*/ 4040579 w 4812486"/>
              <a:gd name="connsiteY5" fmla="*/ 1921140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08474 w 4812486"/>
              <a:gd name="connsiteY4" fmla="*/ 1159009 h 2630870"/>
              <a:gd name="connsiteX5" fmla="*/ 4068189 w 4812486"/>
              <a:gd name="connsiteY5" fmla="*/ 1933918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49889 w 4812486"/>
              <a:gd name="connsiteY4" fmla="*/ 1168593 h 2630870"/>
              <a:gd name="connsiteX5" fmla="*/ 4068189 w 4812486"/>
              <a:gd name="connsiteY5" fmla="*/ 1933918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49889 w 4812486"/>
              <a:gd name="connsiteY4" fmla="*/ 1168593 h 2630870"/>
              <a:gd name="connsiteX5" fmla="*/ 4068189 w 4812486"/>
              <a:gd name="connsiteY5" fmla="*/ 1933918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60243 w 4812486"/>
              <a:gd name="connsiteY4" fmla="*/ 1156614 h 2630870"/>
              <a:gd name="connsiteX5" fmla="*/ 4068189 w 4812486"/>
              <a:gd name="connsiteY5" fmla="*/ 1933918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83538 w 4812486"/>
              <a:gd name="connsiteY4" fmla="*/ 1144635 h 2630870"/>
              <a:gd name="connsiteX5" fmla="*/ 4068189 w 4812486"/>
              <a:gd name="connsiteY5" fmla="*/ 1933918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83538 w 4812486"/>
              <a:gd name="connsiteY4" fmla="*/ 1132656 h 2630870"/>
              <a:gd name="connsiteX5" fmla="*/ 4068189 w 4812486"/>
              <a:gd name="connsiteY5" fmla="*/ 1933918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91304 w 4812486"/>
              <a:gd name="connsiteY4" fmla="*/ 1132656 h 2630870"/>
              <a:gd name="connsiteX5" fmla="*/ 4068189 w 4812486"/>
              <a:gd name="connsiteY5" fmla="*/ 1933918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91304 w 4812486"/>
              <a:gd name="connsiteY4" fmla="*/ 1132656 h 2630870"/>
              <a:gd name="connsiteX5" fmla="*/ 4068189 w 4812486"/>
              <a:gd name="connsiteY5" fmla="*/ 1933918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91304 w 4812486"/>
              <a:gd name="connsiteY4" fmla="*/ 1132656 h 2630870"/>
              <a:gd name="connsiteX5" fmla="*/ 4122545 w 4812486"/>
              <a:gd name="connsiteY5" fmla="*/ 1881209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91304 w 4812486"/>
              <a:gd name="connsiteY4" fmla="*/ 1132656 h 2630870"/>
              <a:gd name="connsiteX5" fmla="*/ 4122545 w 4812486"/>
              <a:gd name="connsiteY5" fmla="*/ 1881209 h 2630870"/>
              <a:gd name="connsiteX6" fmla="*/ 3381393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91304 w 4812486"/>
              <a:gd name="connsiteY4" fmla="*/ 1132656 h 2630870"/>
              <a:gd name="connsiteX5" fmla="*/ 4122545 w 4812486"/>
              <a:gd name="connsiteY5" fmla="*/ 1881209 h 2630870"/>
              <a:gd name="connsiteX6" fmla="*/ 3391746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91304 w 4812486"/>
              <a:gd name="connsiteY4" fmla="*/ 1132656 h 2630870"/>
              <a:gd name="connsiteX5" fmla="*/ 4122545 w 4812486"/>
              <a:gd name="connsiteY5" fmla="*/ 1881209 h 2630870"/>
              <a:gd name="connsiteX6" fmla="*/ 3391746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2630870"/>
              <a:gd name="connsiteX1" fmla="*/ 390 w 4812486"/>
              <a:gd name="connsiteY1" fmla="*/ 9642 h 2630870"/>
              <a:gd name="connsiteX2" fmla="*/ 4807501 w 4812486"/>
              <a:gd name="connsiteY2" fmla="*/ 0 h 2630870"/>
              <a:gd name="connsiteX3" fmla="*/ 4812486 w 4812486"/>
              <a:gd name="connsiteY3" fmla="*/ 1110350 h 2630870"/>
              <a:gd name="connsiteX4" fmla="*/ 4191304 w 4812486"/>
              <a:gd name="connsiteY4" fmla="*/ 1132656 h 2630870"/>
              <a:gd name="connsiteX5" fmla="*/ 4122545 w 4812486"/>
              <a:gd name="connsiteY5" fmla="*/ 1881209 h 2630870"/>
              <a:gd name="connsiteX6" fmla="*/ 3391746 w 4812486"/>
              <a:gd name="connsiteY6" fmla="*/ 1905168 h 2630870"/>
              <a:gd name="connsiteX7" fmla="*/ 3433807 w 4812486"/>
              <a:gd name="connsiteY7" fmla="*/ 2630870 h 2630870"/>
              <a:gd name="connsiteX8" fmla="*/ 3452 w 4812486"/>
              <a:gd name="connsiteY8" fmla="*/ 2629413 h 2630870"/>
              <a:gd name="connsiteX0" fmla="*/ 3452 w 4812486"/>
              <a:gd name="connsiteY0" fmla="*/ 2629413 h 3137647"/>
              <a:gd name="connsiteX1" fmla="*/ 390 w 4812486"/>
              <a:gd name="connsiteY1" fmla="*/ 9642 h 3137647"/>
              <a:gd name="connsiteX2" fmla="*/ 4807501 w 4812486"/>
              <a:gd name="connsiteY2" fmla="*/ 0 h 3137647"/>
              <a:gd name="connsiteX3" fmla="*/ 4812486 w 4812486"/>
              <a:gd name="connsiteY3" fmla="*/ 1110350 h 3137647"/>
              <a:gd name="connsiteX4" fmla="*/ 4191304 w 4812486"/>
              <a:gd name="connsiteY4" fmla="*/ 1132656 h 3137647"/>
              <a:gd name="connsiteX5" fmla="*/ 4122545 w 4812486"/>
              <a:gd name="connsiteY5" fmla="*/ 1881209 h 3137647"/>
              <a:gd name="connsiteX6" fmla="*/ 3391746 w 4812486"/>
              <a:gd name="connsiteY6" fmla="*/ 1905168 h 3137647"/>
              <a:gd name="connsiteX7" fmla="*/ 3433807 w 4812486"/>
              <a:gd name="connsiteY7" fmla="*/ 2630870 h 3137647"/>
              <a:gd name="connsiteX8" fmla="*/ 3452 w 4812486"/>
              <a:gd name="connsiteY8" fmla="*/ 2629413 h 3137647"/>
              <a:gd name="connsiteX0" fmla="*/ 3452 w 4812486"/>
              <a:gd name="connsiteY0" fmla="*/ 2629413 h 3137647"/>
              <a:gd name="connsiteX1" fmla="*/ 390 w 4812486"/>
              <a:gd name="connsiteY1" fmla="*/ 9642 h 3137647"/>
              <a:gd name="connsiteX2" fmla="*/ 4807501 w 4812486"/>
              <a:gd name="connsiteY2" fmla="*/ 0 h 3137647"/>
              <a:gd name="connsiteX3" fmla="*/ 4812486 w 4812486"/>
              <a:gd name="connsiteY3" fmla="*/ 1110350 h 3137647"/>
              <a:gd name="connsiteX4" fmla="*/ 4191304 w 4812486"/>
              <a:gd name="connsiteY4" fmla="*/ 1132656 h 3137647"/>
              <a:gd name="connsiteX5" fmla="*/ 4122545 w 4812486"/>
              <a:gd name="connsiteY5" fmla="*/ 1881209 h 3137647"/>
              <a:gd name="connsiteX6" fmla="*/ 3391746 w 4812486"/>
              <a:gd name="connsiteY6" fmla="*/ 1905168 h 3137647"/>
              <a:gd name="connsiteX7" fmla="*/ 3433807 w 4812486"/>
              <a:gd name="connsiteY7" fmla="*/ 2630870 h 3137647"/>
              <a:gd name="connsiteX8" fmla="*/ 3452 w 4812486"/>
              <a:gd name="connsiteY8" fmla="*/ 2629413 h 3137647"/>
              <a:gd name="connsiteX0" fmla="*/ 3452 w 4812486"/>
              <a:gd name="connsiteY0" fmla="*/ 2629413 h 2643577"/>
              <a:gd name="connsiteX1" fmla="*/ 390 w 4812486"/>
              <a:gd name="connsiteY1" fmla="*/ 9642 h 2643577"/>
              <a:gd name="connsiteX2" fmla="*/ 4807501 w 4812486"/>
              <a:gd name="connsiteY2" fmla="*/ 0 h 2643577"/>
              <a:gd name="connsiteX3" fmla="*/ 4812486 w 4812486"/>
              <a:gd name="connsiteY3" fmla="*/ 1110350 h 2643577"/>
              <a:gd name="connsiteX4" fmla="*/ 4191304 w 4812486"/>
              <a:gd name="connsiteY4" fmla="*/ 1132656 h 2643577"/>
              <a:gd name="connsiteX5" fmla="*/ 4122545 w 4812486"/>
              <a:gd name="connsiteY5" fmla="*/ 1881209 h 2643577"/>
              <a:gd name="connsiteX6" fmla="*/ 3391746 w 4812486"/>
              <a:gd name="connsiteY6" fmla="*/ 1905168 h 2643577"/>
              <a:gd name="connsiteX7" fmla="*/ 3433807 w 4812486"/>
              <a:gd name="connsiteY7" fmla="*/ 2630870 h 2643577"/>
              <a:gd name="connsiteX8" fmla="*/ 3452 w 4812486"/>
              <a:gd name="connsiteY8" fmla="*/ 2629413 h 2643577"/>
              <a:gd name="connsiteX0" fmla="*/ 3452 w 4812486"/>
              <a:gd name="connsiteY0" fmla="*/ 2629413 h 2646415"/>
              <a:gd name="connsiteX1" fmla="*/ 390 w 4812486"/>
              <a:gd name="connsiteY1" fmla="*/ 9642 h 2646415"/>
              <a:gd name="connsiteX2" fmla="*/ 4807501 w 4812486"/>
              <a:gd name="connsiteY2" fmla="*/ 0 h 2646415"/>
              <a:gd name="connsiteX3" fmla="*/ 4812486 w 4812486"/>
              <a:gd name="connsiteY3" fmla="*/ 1110350 h 2646415"/>
              <a:gd name="connsiteX4" fmla="*/ 4191304 w 4812486"/>
              <a:gd name="connsiteY4" fmla="*/ 1132656 h 2646415"/>
              <a:gd name="connsiteX5" fmla="*/ 4122545 w 4812486"/>
              <a:gd name="connsiteY5" fmla="*/ 1881209 h 2646415"/>
              <a:gd name="connsiteX6" fmla="*/ 3391746 w 4812486"/>
              <a:gd name="connsiteY6" fmla="*/ 1905168 h 2646415"/>
              <a:gd name="connsiteX7" fmla="*/ 3433807 w 4812486"/>
              <a:gd name="connsiteY7" fmla="*/ 2630870 h 2646415"/>
              <a:gd name="connsiteX8" fmla="*/ 3452 w 4812486"/>
              <a:gd name="connsiteY8" fmla="*/ 2629413 h 2646415"/>
              <a:gd name="connsiteX0" fmla="*/ 3452 w 4812486"/>
              <a:gd name="connsiteY0" fmla="*/ 2629413 h 2651351"/>
              <a:gd name="connsiteX1" fmla="*/ 390 w 4812486"/>
              <a:gd name="connsiteY1" fmla="*/ 9642 h 2651351"/>
              <a:gd name="connsiteX2" fmla="*/ 4807501 w 4812486"/>
              <a:gd name="connsiteY2" fmla="*/ 0 h 2651351"/>
              <a:gd name="connsiteX3" fmla="*/ 4812486 w 4812486"/>
              <a:gd name="connsiteY3" fmla="*/ 1110350 h 2651351"/>
              <a:gd name="connsiteX4" fmla="*/ 4191304 w 4812486"/>
              <a:gd name="connsiteY4" fmla="*/ 1132656 h 2651351"/>
              <a:gd name="connsiteX5" fmla="*/ 4122545 w 4812486"/>
              <a:gd name="connsiteY5" fmla="*/ 1881209 h 2651351"/>
              <a:gd name="connsiteX6" fmla="*/ 3391746 w 4812486"/>
              <a:gd name="connsiteY6" fmla="*/ 1905168 h 2651351"/>
              <a:gd name="connsiteX7" fmla="*/ 3440709 w 4812486"/>
              <a:gd name="connsiteY7" fmla="*/ 2637259 h 2651351"/>
              <a:gd name="connsiteX8" fmla="*/ 3452 w 4812486"/>
              <a:gd name="connsiteY8" fmla="*/ 2629413 h 2651351"/>
              <a:gd name="connsiteX0" fmla="*/ 3452 w 4812486"/>
              <a:gd name="connsiteY0" fmla="*/ 2629413 h 2637259"/>
              <a:gd name="connsiteX1" fmla="*/ 390 w 4812486"/>
              <a:gd name="connsiteY1" fmla="*/ 9642 h 2637259"/>
              <a:gd name="connsiteX2" fmla="*/ 4807501 w 4812486"/>
              <a:gd name="connsiteY2" fmla="*/ 0 h 2637259"/>
              <a:gd name="connsiteX3" fmla="*/ 4812486 w 4812486"/>
              <a:gd name="connsiteY3" fmla="*/ 1110350 h 2637259"/>
              <a:gd name="connsiteX4" fmla="*/ 4191304 w 4812486"/>
              <a:gd name="connsiteY4" fmla="*/ 1132656 h 2637259"/>
              <a:gd name="connsiteX5" fmla="*/ 4122545 w 4812486"/>
              <a:gd name="connsiteY5" fmla="*/ 1881209 h 2637259"/>
              <a:gd name="connsiteX6" fmla="*/ 3391746 w 4812486"/>
              <a:gd name="connsiteY6" fmla="*/ 1905168 h 2637259"/>
              <a:gd name="connsiteX7" fmla="*/ 3440709 w 4812486"/>
              <a:gd name="connsiteY7" fmla="*/ 2637259 h 2637259"/>
              <a:gd name="connsiteX8" fmla="*/ 3452 w 4812486"/>
              <a:gd name="connsiteY8" fmla="*/ 2629413 h 2637259"/>
              <a:gd name="connsiteX0" fmla="*/ 3452 w 4812486"/>
              <a:gd name="connsiteY0" fmla="*/ 2629413 h 2637259"/>
              <a:gd name="connsiteX1" fmla="*/ 390 w 4812486"/>
              <a:gd name="connsiteY1" fmla="*/ 9642 h 2637259"/>
              <a:gd name="connsiteX2" fmla="*/ 4807501 w 4812486"/>
              <a:gd name="connsiteY2" fmla="*/ 0 h 2637259"/>
              <a:gd name="connsiteX3" fmla="*/ 4812486 w 4812486"/>
              <a:gd name="connsiteY3" fmla="*/ 1110350 h 2637259"/>
              <a:gd name="connsiteX4" fmla="*/ 4191304 w 4812486"/>
              <a:gd name="connsiteY4" fmla="*/ 1132656 h 2637259"/>
              <a:gd name="connsiteX5" fmla="*/ 4122545 w 4812486"/>
              <a:gd name="connsiteY5" fmla="*/ 1881209 h 2637259"/>
              <a:gd name="connsiteX6" fmla="*/ 3391746 w 4812486"/>
              <a:gd name="connsiteY6" fmla="*/ 1905168 h 2637259"/>
              <a:gd name="connsiteX7" fmla="*/ 3440709 w 4812486"/>
              <a:gd name="connsiteY7" fmla="*/ 2637259 h 2637259"/>
              <a:gd name="connsiteX8" fmla="*/ 3452 w 4812486"/>
              <a:gd name="connsiteY8" fmla="*/ 2629413 h 2637259"/>
              <a:gd name="connsiteX0" fmla="*/ 3452 w 4812486"/>
              <a:gd name="connsiteY0" fmla="*/ 2629413 h 2632468"/>
              <a:gd name="connsiteX1" fmla="*/ 390 w 4812486"/>
              <a:gd name="connsiteY1" fmla="*/ 9642 h 2632468"/>
              <a:gd name="connsiteX2" fmla="*/ 4807501 w 4812486"/>
              <a:gd name="connsiteY2" fmla="*/ 0 h 2632468"/>
              <a:gd name="connsiteX3" fmla="*/ 4812486 w 4812486"/>
              <a:gd name="connsiteY3" fmla="*/ 1110350 h 2632468"/>
              <a:gd name="connsiteX4" fmla="*/ 4191304 w 4812486"/>
              <a:gd name="connsiteY4" fmla="*/ 1132656 h 2632468"/>
              <a:gd name="connsiteX5" fmla="*/ 4122545 w 4812486"/>
              <a:gd name="connsiteY5" fmla="*/ 1881209 h 2632468"/>
              <a:gd name="connsiteX6" fmla="*/ 3391746 w 4812486"/>
              <a:gd name="connsiteY6" fmla="*/ 1905168 h 2632468"/>
              <a:gd name="connsiteX7" fmla="*/ 3414825 w 4812486"/>
              <a:gd name="connsiteY7" fmla="*/ 2632468 h 2632468"/>
              <a:gd name="connsiteX8" fmla="*/ 3452 w 4812486"/>
              <a:gd name="connsiteY8" fmla="*/ 2629413 h 2632468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391746 w 4812486"/>
              <a:gd name="connsiteY6" fmla="*/ 1905168 h 2637890"/>
              <a:gd name="connsiteX7" fmla="*/ 3414825 w 4812486"/>
              <a:gd name="connsiteY7" fmla="*/ 2632468 h 2637890"/>
              <a:gd name="connsiteX8" fmla="*/ 3452 w 4812486"/>
              <a:gd name="connsiteY8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521168 w 4812486"/>
              <a:gd name="connsiteY6" fmla="*/ 1905168 h 2637890"/>
              <a:gd name="connsiteX7" fmla="*/ 3414825 w 4812486"/>
              <a:gd name="connsiteY7" fmla="*/ 2632468 h 2637890"/>
              <a:gd name="connsiteX8" fmla="*/ 3452 w 4812486"/>
              <a:gd name="connsiteY8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521168 w 4812486"/>
              <a:gd name="connsiteY6" fmla="*/ 1905168 h 2637890"/>
              <a:gd name="connsiteX7" fmla="*/ 3414825 w 4812486"/>
              <a:gd name="connsiteY7" fmla="*/ 2632468 h 2637890"/>
              <a:gd name="connsiteX8" fmla="*/ 3452 w 4812486"/>
              <a:gd name="connsiteY8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521168 w 4812486"/>
              <a:gd name="connsiteY6" fmla="*/ 1905168 h 2637890"/>
              <a:gd name="connsiteX7" fmla="*/ 3414825 w 4812486"/>
              <a:gd name="connsiteY7" fmla="*/ 2632468 h 2637890"/>
              <a:gd name="connsiteX8" fmla="*/ 3452 w 4812486"/>
              <a:gd name="connsiteY8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521168 w 4812486"/>
              <a:gd name="connsiteY7" fmla="*/ 1905168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33162 w 4812486"/>
              <a:gd name="connsiteY7" fmla="*/ 199381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33162 w 4812486"/>
              <a:gd name="connsiteY7" fmla="*/ 199381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33162 w 4812486"/>
              <a:gd name="connsiteY7" fmla="*/ 199381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30574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22545 w 4812486"/>
              <a:gd name="connsiteY5" fmla="*/ 1881209 h 2637890"/>
              <a:gd name="connsiteX6" fmla="*/ 3611762 w 4812486"/>
              <a:gd name="connsiteY6" fmla="*/ 1880411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11762 w 4812486"/>
              <a:gd name="connsiteY6" fmla="*/ 1880411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11762 w 4812486"/>
              <a:gd name="connsiteY6" fmla="*/ 1880411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11762 w 4812486"/>
              <a:gd name="connsiteY6" fmla="*/ 1880411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22116 w 4812486"/>
              <a:gd name="connsiteY6" fmla="*/ 1885203 h 2637890"/>
              <a:gd name="connsiteX7" fmla="*/ 3427986 w 4812486"/>
              <a:gd name="connsiteY7" fmla="*/ 198662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22116 w 4812486"/>
              <a:gd name="connsiteY6" fmla="*/ 1885203 h 2637890"/>
              <a:gd name="connsiteX7" fmla="*/ 3420220 w 4812486"/>
              <a:gd name="connsiteY7" fmla="*/ 1984230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22116 w 4812486"/>
              <a:gd name="connsiteY6" fmla="*/ 1885203 h 2637890"/>
              <a:gd name="connsiteX7" fmla="*/ 3420220 w 4812486"/>
              <a:gd name="connsiteY7" fmla="*/ 1984230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20220 w 4812486"/>
              <a:gd name="connsiteY7" fmla="*/ 1984230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20220 w 4812486"/>
              <a:gd name="connsiteY7" fmla="*/ 1984230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20220 w 4812486"/>
              <a:gd name="connsiteY7" fmla="*/ 1984230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20220 w 4812486"/>
              <a:gd name="connsiteY7" fmla="*/ 1984230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20220 w 4812486"/>
              <a:gd name="connsiteY7" fmla="*/ 1984230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20220 w 4812486"/>
              <a:gd name="connsiteY7" fmla="*/ 1984230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33162 w 4812486"/>
              <a:gd name="connsiteY7" fmla="*/ 197464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33162 w 4812486"/>
              <a:gd name="connsiteY7" fmla="*/ 197464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33162 w 4812486"/>
              <a:gd name="connsiteY7" fmla="*/ 1974646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42824 w 4812486"/>
              <a:gd name="connsiteY6" fmla="*/ 1889996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91304 w 4812486"/>
              <a:gd name="connsiteY4" fmla="*/ 1132656 h 2637890"/>
              <a:gd name="connsiteX5" fmla="*/ 4145841 w 4812486"/>
              <a:gd name="connsiteY5" fmla="*/ 188360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45841 w 4812486"/>
              <a:gd name="connsiteY5" fmla="*/ 188360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45841 w 4812486"/>
              <a:gd name="connsiteY5" fmla="*/ 188360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45841 w 4812486"/>
              <a:gd name="connsiteY5" fmla="*/ 188360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19956 w 4812486"/>
              <a:gd name="connsiteY5" fmla="*/ 1859647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083719 w 4812486"/>
              <a:gd name="connsiteY5" fmla="*/ 185485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083719 w 4812486"/>
              <a:gd name="connsiteY5" fmla="*/ 185485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083719 w 4812486"/>
              <a:gd name="connsiteY5" fmla="*/ 1854856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85203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07014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17368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17368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11330 w 4812486"/>
              <a:gd name="connsiteY5" fmla="*/ 1243117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11330 w 4812486"/>
              <a:gd name="connsiteY5" fmla="*/ 1243117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11330 w 4812486"/>
              <a:gd name="connsiteY5" fmla="*/ 1243117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6 w 4812486"/>
              <a:gd name="connsiteY4" fmla="*/ 1127864 h 2637890"/>
              <a:gd name="connsiteX5" fmla="*/ 4111330 w 4812486"/>
              <a:gd name="connsiteY5" fmla="*/ 1243117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5774 w 4812486"/>
              <a:gd name="connsiteY4" fmla="*/ 1127864 h 2637890"/>
              <a:gd name="connsiteX5" fmla="*/ 4111330 w 4812486"/>
              <a:gd name="connsiteY5" fmla="*/ 1243117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5774 w 4812486"/>
              <a:gd name="connsiteY4" fmla="*/ 1127864 h 2637890"/>
              <a:gd name="connsiteX5" fmla="*/ 4116507 w 4812486"/>
              <a:gd name="connsiteY5" fmla="*/ 1204783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5774 w 4812486"/>
              <a:gd name="connsiteY4" fmla="*/ 1127864 h 2637890"/>
              <a:gd name="connsiteX5" fmla="*/ 4121684 w 4812486"/>
              <a:gd name="connsiteY5" fmla="*/ 1228742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7 w 4812486"/>
              <a:gd name="connsiteY4" fmla="*/ 1137447 h 2637890"/>
              <a:gd name="connsiteX5" fmla="*/ 4121684 w 4812486"/>
              <a:gd name="connsiteY5" fmla="*/ 1228742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70597 w 4812486"/>
              <a:gd name="connsiteY4" fmla="*/ 1137447 h 2637890"/>
              <a:gd name="connsiteX5" fmla="*/ 4121684 w 4812486"/>
              <a:gd name="connsiteY5" fmla="*/ 1228742 h 2637890"/>
              <a:gd name="connsiteX6" fmla="*/ 4117368 w 4812486"/>
              <a:gd name="connsiteY6" fmla="*/ 1893189 h 2637890"/>
              <a:gd name="connsiteX7" fmla="*/ 3632471 w 4812486"/>
              <a:gd name="connsiteY7" fmla="*/ 1894787 h 2637890"/>
              <a:gd name="connsiteX8" fmla="*/ 3433162 w 4812486"/>
              <a:gd name="connsiteY8" fmla="*/ 1981834 h 2637890"/>
              <a:gd name="connsiteX9" fmla="*/ 3414825 w 4812486"/>
              <a:gd name="connsiteY9" fmla="*/ 2632468 h 2637890"/>
              <a:gd name="connsiteX10" fmla="*/ 3452 w 4812486"/>
              <a:gd name="connsiteY10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21684 w 4812486"/>
              <a:gd name="connsiteY4" fmla="*/ 1228742 h 2637890"/>
              <a:gd name="connsiteX5" fmla="*/ 4117368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21684 w 4812486"/>
              <a:gd name="connsiteY4" fmla="*/ 1228742 h 2637890"/>
              <a:gd name="connsiteX5" fmla="*/ 4117368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21684 w 4812486"/>
              <a:gd name="connsiteY4" fmla="*/ 1228742 h 2637890"/>
              <a:gd name="connsiteX5" fmla="*/ 4117368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21684 w 4812486"/>
              <a:gd name="connsiteY4" fmla="*/ 1228742 h 2637890"/>
              <a:gd name="connsiteX5" fmla="*/ 4117368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21684 w 4812486"/>
              <a:gd name="connsiteY4" fmla="*/ 1228742 h 2637890"/>
              <a:gd name="connsiteX5" fmla="*/ 4117368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12486"/>
              <a:gd name="connsiteY0" fmla="*/ 2629413 h 2637890"/>
              <a:gd name="connsiteX1" fmla="*/ 390 w 4812486"/>
              <a:gd name="connsiteY1" fmla="*/ 9642 h 2637890"/>
              <a:gd name="connsiteX2" fmla="*/ 4807501 w 4812486"/>
              <a:gd name="connsiteY2" fmla="*/ 0 h 2637890"/>
              <a:gd name="connsiteX3" fmla="*/ 4812486 w 4812486"/>
              <a:gd name="connsiteY3" fmla="*/ 1110350 h 2637890"/>
              <a:gd name="connsiteX4" fmla="*/ 4121684 w 4812486"/>
              <a:gd name="connsiteY4" fmla="*/ 1228742 h 2637890"/>
              <a:gd name="connsiteX5" fmla="*/ 4117368 w 4812486"/>
              <a:gd name="connsiteY5" fmla="*/ 1893189 h 2637890"/>
              <a:gd name="connsiteX6" fmla="*/ 3632471 w 4812486"/>
              <a:gd name="connsiteY6" fmla="*/ 1894787 h 2637890"/>
              <a:gd name="connsiteX7" fmla="*/ 3433162 w 4812486"/>
              <a:gd name="connsiteY7" fmla="*/ 1981834 h 2637890"/>
              <a:gd name="connsiteX8" fmla="*/ 3414825 w 4812486"/>
              <a:gd name="connsiteY8" fmla="*/ 2632468 h 2637890"/>
              <a:gd name="connsiteX9" fmla="*/ 3452 w 4812486"/>
              <a:gd name="connsiteY9" fmla="*/ 2629413 h 2637890"/>
              <a:gd name="connsiteX0" fmla="*/ 3452 w 4808090"/>
              <a:gd name="connsiteY0" fmla="*/ 2629413 h 2637890"/>
              <a:gd name="connsiteX1" fmla="*/ 390 w 4808090"/>
              <a:gd name="connsiteY1" fmla="*/ 9642 h 2637890"/>
              <a:gd name="connsiteX2" fmla="*/ 4807501 w 4808090"/>
              <a:gd name="connsiteY2" fmla="*/ 0 h 2637890"/>
              <a:gd name="connsiteX3" fmla="*/ 4807309 w 4808090"/>
              <a:gd name="connsiteY3" fmla="*/ 1105558 h 2637890"/>
              <a:gd name="connsiteX4" fmla="*/ 4121684 w 4808090"/>
              <a:gd name="connsiteY4" fmla="*/ 1228742 h 2637890"/>
              <a:gd name="connsiteX5" fmla="*/ 4117368 w 4808090"/>
              <a:gd name="connsiteY5" fmla="*/ 1893189 h 2637890"/>
              <a:gd name="connsiteX6" fmla="*/ 3632471 w 4808090"/>
              <a:gd name="connsiteY6" fmla="*/ 1894787 h 2637890"/>
              <a:gd name="connsiteX7" fmla="*/ 3433162 w 4808090"/>
              <a:gd name="connsiteY7" fmla="*/ 1981834 h 2637890"/>
              <a:gd name="connsiteX8" fmla="*/ 3414825 w 4808090"/>
              <a:gd name="connsiteY8" fmla="*/ 2632468 h 2637890"/>
              <a:gd name="connsiteX9" fmla="*/ 3452 w 4808090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21684 w 4807807"/>
              <a:gd name="connsiteY4" fmla="*/ 1228742 h 2637890"/>
              <a:gd name="connsiteX5" fmla="*/ 4117368 w 4807807"/>
              <a:gd name="connsiteY5" fmla="*/ 1893189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11330 w 4807807"/>
              <a:gd name="connsiteY4" fmla="*/ 1166451 h 2637890"/>
              <a:gd name="connsiteX5" fmla="*/ 4117368 w 4807807"/>
              <a:gd name="connsiteY5" fmla="*/ 1893189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11330 w 4807807"/>
              <a:gd name="connsiteY4" fmla="*/ 1166451 h 2637890"/>
              <a:gd name="connsiteX5" fmla="*/ 4117368 w 4807807"/>
              <a:gd name="connsiteY5" fmla="*/ 1893189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42391 w 4807807"/>
              <a:gd name="connsiteY4" fmla="*/ 1171242 h 2637890"/>
              <a:gd name="connsiteX5" fmla="*/ 4117368 w 4807807"/>
              <a:gd name="connsiteY5" fmla="*/ 1893189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42391 w 4807807"/>
              <a:gd name="connsiteY4" fmla="*/ 1171242 h 2637890"/>
              <a:gd name="connsiteX5" fmla="*/ 4117368 w 4807807"/>
              <a:gd name="connsiteY5" fmla="*/ 1893189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42391 w 4807807"/>
              <a:gd name="connsiteY4" fmla="*/ 1171242 h 2637890"/>
              <a:gd name="connsiteX5" fmla="*/ 4127722 w 4807807"/>
              <a:gd name="connsiteY5" fmla="*/ 1888397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42391 w 4807807"/>
              <a:gd name="connsiteY4" fmla="*/ 1171242 h 2637890"/>
              <a:gd name="connsiteX5" fmla="*/ 4127722 w 4807807"/>
              <a:gd name="connsiteY5" fmla="*/ 1888397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42391 w 4807807"/>
              <a:gd name="connsiteY4" fmla="*/ 1171242 h 2637890"/>
              <a:gd name="connsiteX5" fmla="*/ 4127722 w 4807807"/>
              <a:gd name="connsiteY5" fmla="*/ 1888397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52745 w 4807807"/>
              <a:gd name="connsiteY4" fmla="*/ 1147284 h 2637890"/>
              <a:gd name="connsiteX5" fmla="*/ 4127722 w 4807807"/>
              <a:gd name="connsiteY5" fmla="*/ 1888397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52745 w 4807807"/>
              <a:gd name="connsiteY4" fmla="*/ 1147284 h 2637890"/>
              <a:gd name="connsiteX5" fmla="*/ 4127722 w 4807807"/>
              <a:gd name="connsiteY5" fmla="*/ 1888397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52745 w 4807807"/>
              <a:gd name="connsiteY4" fmla="*/ 1147284 h 2637890"/>
              <a:gd name="connsiteX5" fmla="*/ 4127722 w 4807807"/>
              <a:gd name="connsiteY5" fmla="*/ 1888397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  <a:gd name="connsiteX0" fmla="*/ 3452 w 4807807"/>
              <a:gd name="connsiteY0" fmla="*/ 2629413 h 2637890"/>
              <a:gd name="connsiteX1" fmla="*/ 390 w 4807807"/>
              <a:gd name="connsiteY1" fmla="*/ 9642 h 2637890"/>
              <a:gd name="connsiteX2" fmla="*/ 4807501 w 4807807"/>
              <a:gd name="connsiteY2" fmla="*/ 0 h 2637890"/>
              <a:gd name="connsiteX3" fmla="*/ 4802133 w 4807807"/>
              <a:gd name="connsiteY3" fmla="*/ 1100767 h 2637890"/>
              <a:gd name="connsiteX4" fmla="*/ 4152745 w 4807807"/>
              <a:gd name="connsiteY4" fmla="*/ 1147284 h 2637890"/>
              <a:gd name="connsiteX5" fmla="*/ 4127722 w 4807807"/>
              <a:gd name="connsiteY5" fmla="*/ 1888397 h 2637890"/>
              <a:gd name="connsiteX6" fmla="*/ 3632471 w 4807807"/>
              <a:gd name="connsiteY6" fmla="*/ 1894787 h 2637890"/>
              <a:gd name="connsiteX7" fmla="*/ 3433162 w 4807807"/>
              <a:gd name="connsiteY7" fmla="*/ 1981834 h 2637890"/>
              <a:gd name="connsiteX8" fmla="*/ 3414825 w 4807807"/>
              <a:gd name="connsiteY8" fmla="*/ 2632468 h 2637890"/>
              <a:gd name="connsiteX9" fmla="*/ 3452 w 4807807"/>
              <a:gd name="connsiteY9" fmla="*/ 2629413 h 2637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07807" h="2637890">
                <a:moveTo>
                  <a:pt x="3452" y="2629413"/>
                </a:moveTo>
                <a:cubicBezTo>
                  <a:pt x="-1246" y="1773758"/>
                  <a:pt x="122" y="438542"/>
                  <a:pt x="390" y="9642"/>
                </a:cubicBezTo>
                <a:lnTo>
                  <a:pt x="4807501" y="0"/>
                </a:lnTo>
                <a:cubicBezTo>
                  <a:pt x="4809618" y="468508"/>
                  <a:pt x="4800016" y="632259"/>
                  <a:pt x="4802133" y="1100767"/>
                </a:cubicBezTo>
                <a:cubicBezTo>
                  <a:pt x="4610179" y="1118682"/>
                  <a:pt x="4175322" y="1071459"/>
                  <a:pt x="4152745" y="1147284"/>
                </a:cubicBezTo>
                <a:cubicBezTo>
                  <a:pt x="4107122" y="1300509"/>
                  <a:pt x="4122114" y="1755827"/>
                  <a:pt x="4127722" y="1888397"/>
                </a:cubicBezTo>
                <a:lnTo>
                  <a:pt x="3632471" y="1894787"/>
                </a:lnTo>
                <a:cubicBezTo>
                  <a:pt x="3501183" y="1893989"/>
                  <a:pt x="3467976" y="1910705"/>
                  <a:pt x="3433162" y="1981834"/>
                </a:cubicBezTo>
                <a:cubicBezTo>
                  <a:pt x="3405076" y="2092880"/>
                  <a:pt x="3413556" y="2321288"/>
                  <a:pt x="3414825" y="2632468"/>
                </a:cubicBezTo>
                <a:cubicBezTo>
                  <a:pt x="2282879" y="2645824"/>
                  <a:pt x="1140576" y="2630431"/>
                  <a:pt x="3452" y="2629413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6" name="laptop picture">
            <a:extLst>
              <a:ext uri="{FF2B5EF4-FFF2-40B4-BE49-F238E27FC236}">
                <a16:creationId xmlns:a16="http://schemas.microsoft.com/office/drawing/2014/main" id="{4DC4623E-3D89-DDA1-2A17-18BD9E39928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711936" y="3083566"/>
            <a:ext cx="3341806" cy="2352355"/>
          </a:xfrm>
          <a:custGeom>
            <a:avLst/>
            <a:gdLst>
              <a:gd name="connsiteX0" fmla="*/ 0 w 3341806"/>
              <a:gd name="connsiteY0" fmla="*/ 63026 h 2344735"/>
              <a:gd name="connsiteX1" fmla="*/ 63026 w 3341806"/>
              <a:gd name="connsiteY1" fmla="*/ 0 h 2344735"/>
              <a:gd name="connsiteX2" fmla="*/ 3278780 w 3341806"/>
              <a:gd name="connsiteY2" fmla="*/ 0 h 2344735"/>
              <a:gd name="connsiteX3" fmla="*/ 3341806 w 3341806"/>
              <a:gd name="connsiteY3" fmla="*/ 63026 h 2344735"/>
              <a:gd name="connsiteX4" fmla="*/ 3341806 w 3341806"/>
              <a:gd name="connsiteY4" fmla="*/ 2281709 h 2344735"/>
              <a:gd name="connsiteX5" fmla="*/ 3278780 w 3341806"/>
              <a:gd name="connsiteY5" fmla="*/ 2344735 h 2344735"/>
              <a:gd name="connsiteX6" fmla="*/ 63026 w 3341806"/>
              <a:gd name="connsiteY6" fmla="*/ 2344735 h 2344735"/>
              <a:gd name="connsiteX7" fmla="*/ 0 w 3341806"/>
              <a:gd name="connsiteY7" fmla="*/ 2281709 h 2344735"/>
              <a:gd name="connsiteX8" fmla="*/ 0 w 3341806"/>
              <a:gd name="connsiteY8" fmla="*/ 63026 h 234473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23046 w 3341806"/>
              <a:gd name="connsiteY6" fmla="*/ 2352355 h 2352355"/>
              <a:gd name="connsiteX7" fmla="*/ 0 w 3341806"/>
              <a:gd name="connsiteY7" fmla="*/ 2281709 h 2352355"/>
              <a:gd name="connsiteX8" fmla="*/ 0 w 3341806"/>
              <a:gd name="connsiteY8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23046 w 3341806"/>
              <a:gd name="connsiteY6" fmla="*/ 2352355 h 2352355"/>
              <a:gd name="connsiteX7" fmla="*/ 0 w 3341806"/>
              <a:gd name="connsiteY7" fmla="*/ 551969 h 2352355"/>
              <a:gd name="connsiteX8" fmla="*/ 0 w 3341806"/>
              <a:gd name="connsiteY8" fmla="*/ 63026 h 2352355"/>
              <a:gd name="connsiteX0" fmla="*/ 68614 w 3410420"/>
              <a:gd name="connsiteY0" fmla="*/ 63026 h 2352355"/>
              <a:gd name="connsiteX1" fmla="*/ 131640 w 3410420"/>
              <a:gd name="connsiteY1" fmla="*/ 0 h 2352355"/>
              <a:gd name="connsiteX2" fmla="*/ 3347394 w 3410420"/>
              <a:gd name="connsiteY2" fmla="*/ 0 h 2352355"/>
              <a:gd name="connsiteX3" fmla="*/ 3410420 w 3410420"/>
              <a:gd name="connsiteY3" fmla="*/ 63026 h 2352355"/>
              <a:gd name="connsiteX4" fmla="*/ 3410420 w 3410420"/>
              <a:gd name="connsiteY4" fmla="*/ 2281709 h 2352355"/>
              <a:gd name="connsiteX5" fmla="*/ 3347394 w 3410420"/>
              <a:gd name="connsiteY5" fmla="*/ 2344735 h 2352355"/>
              <a:gd name="connsiteX6" fmla="*/ 291660 w 3410420"/>
              <a:gd name="connsiteY6" fmla="*/ 2352355 h 2352355"/>
              <a:gd name="connsiteX7" fmla="*/ 98598 w 3410420"/>
              <a:gd name="connsiteY7" fmla="*/ 833114 h 2352355"/>
              <a:gd name="connsiteX8" fmla="*/ 68614 w 3410420"/>
              <a:gd name="connsiteY8" fmla="*/ 551969 h 2352355"/>
              <a:gd name="connsiteX9" fmla="*/ 68614 w 3410420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23046 w 3341806"/>
              <a:gd name="connsiteY6" fmla="*/ 2352355 h 2352355"/>
              <a:gd name="connsiteX7" fmla="*/ 289064 w 3341806"/>
              <a:gd name="connsiteY7" fmla="*/ 741674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23046 w 3341806"/>
              <a:gd name="connsiteY6" fmla="*/ 2352355 h 2352355"/>
              <a:gd name="connsiteX7" fmla="*/ 289064 w 3341806"/>
              <a:gd name="connsiteY7" fmla="*/ 741674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23046 w 3341806"/>
              <a:gd name="connsiteY6" fmla="*/ 2352355 h 2352355"/>
              <a:gd name="connsiteX7" fmla="*/ 289064 w 3341806"/>
              <a:gd name="connsiteY7" fmla="*/ 741674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23046 w 3341806"/>
              <a:gd name="connsiteY6" fmla="*/ 2352355 h 2352355"/>
              <a:gd name="connsiteX7" fmla="*/ 270014 w 3341806"/>
              <a:gd name="connsiteY7" fmla="*/ 832161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7361 w 3349167"/>
              <a:gd name="connsiteY0" fmla="*/ 63026 h 2352356"/>
              <a:gd name="connsiteX1" fmla="*/ 70387 w 3349167"/>
              <a:gd name="connsiteY1" fmla="*/ 0 h 2352356"/>
              <a:gd name="connsiteX2" fmla="*/ 3286141 w 3349167"/>
              <a:gd name="connsiteY2" fmla="*/ 0 h 2352356"/>
              <a:gd name="connsiteX3" fmla="*/ 3349167 w 3349167"/>
              <a:gd name="connsiteY3" fmla="*/ 63026 h 2352356"/>
              <a:gd name="connsiteX4" fmla="*/ 3349167 w 3349167"/>
              <a:gd name="connsiteY4" fmla="*/ 2281709 h 2352356"/>
              <a:gd name="connsiteX5" fmla="*/ 3286141 w 3349167"/>
              <a:gd name="connsiteY5" fmla="*/ 2344735 h 2352356"/>
              <a:gd name="connsiteX6" fmla="*/ 230407 w 3349167"/>
              <a:gd name="connsiteY6" fmla="*/ 2352355 h 2352356"/>
              <a:gd name="connsiteX7" fmla="*/ 277375 w 3349167"/>
              <a:gd name="connsiteY7" fmla="*/ 832161 h 2352356"/>
              <a:gd name="connsiteX8" fmla="*/ 7361 w 3349167"/>
              <a:gd name="connsiteY8" fmla="*/ 551969 h 2352356"/>
              <a:gd name="connsiteX9" fmla="*/ 7361 w 3349167"/>
              <a:gd name="connsiteY9" fmla="*/ 63026 h 2352356"/>
              <a:gd name="connsiteX0" fmla="*/ 0 w 3341806"/>
              <a:gd name="connsiteY0" fmla="*/ 63026 h 2801684"/>
              <a:gd name="connsiteX1" fmla="*/ 63026 w 3341806"/>
              <a:gd name="connsiteY1" fmla="*/ 0 h 2801684"/>
              <a:gd name="connsiteX2" fmla="*/ 3278780 w 3341806"/>
              <a:gd name="connsiteY2" fmla="*/ 0 h 2801684"/>
              <a:gd name="connsiteX3" fmla="*/ 3341806 w 3341806"/>
              <a:gd name="connsiteY3" fmla="*/ 63026 h 2801684"/>
              <a:gd name="connsiteX4" fmla="*/ 3341806 w 3341806"/>
              <a:gd name="connsiteY4" fmla="*/ 2281709 h 2801684"/>
              <a:gd name="connsiteX5" fmla="*/ 3278780 w 3341806"/>
              <a:gd name="connsiteY5" fmla="*/ 2344735 h 2801684"/>
              <a:gd name="connsiteX6" fmla="*/ 223046 w 3341806"/>
              <a:gd name="connsiteY6" fmla="*/ 2352355 h 2801684"/>
              <a:gd name="connsiteX7" fmla="*/ 270014 w 3341806"/>
              <a:gd name="connsiteY7" fmla="*/ 832161 h 2801684"/>
              <a:gd name="connsiteX8" fmla="*/ 0 w 3341806"/>
              <a:gd name="connsiteY8" fmla="*/ 551969 h 2801684"/>
              <a:gd name="connsiteX9" fmla="*/ 0 w 3341806"/>
              <a:gd name="connsiteY9" fmla="*/ 63026 h 2801684"/>
              <a:gd name="connsiteX0" fmla="*/ 0 w 3341806"/>
              <a:gd name="connsiteY0" fmla="*/ 63026 h 2801684"/>
              <a:gd name="connsiteX1" fmla="*/ 63026 w 3341806"/>
              <a:gd name="connsiteY1" fmla="*/ 0 h 2801684"/>
              <a:gd name="connsiteX2" fmla="*/ 3278780 w 3341806"/>
              <a:gd name="connsiteY2" fmla="*/ 0 h 2801684"/>
              <a:gd name="connsiteX3" fmla="*/ 3341806 w 3341806"/>
              <a:gd name="connsiteY3" fmla="*/ 63026 h 2801684"/>
              <a:gd name="connsiteX4" fmla="*/ 3341806 w 3341806"/>
              <a:gd name="connsiteY4" fmla="*/ 2281709 h 2801684"/>
              <a:gd name="connsiteX5" fmla="*/ 3278780 w 3341806"/>
              <a:gd name="connsiteY5" fmla="*/ 2344735 h 2801684"/>
              <a:gd name="connsiteX6" fmla="*/ 223046 w 3341806"/>
              <a:gd name="connsiteY6" fmla="*/ 2352355 h 2801684"/>
              <a:gd name="connsiteX7" fmla="*/ 270014 w 3341806"/>
              <a:gd name="connsiteY7" fmla="*/ 832161 h 2801684"/>
              <a:gd name="connsiteX8" fmla="*/ 0 w 3341806"/>
              <a:gd name="connsiteY8" fmla="*/ 551969 h 2801684"/>
              <a:gd name="connsiteX9" fmla="*/ 0 w 3341806"/>
              <a:gd name="connsiteY9" fmla="*/ 63026 h 2801684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23046 w 3341806"/>
              <a:gd name="connsiteY6" fmla="*/ 2352355 h 2352355"/>
              <a:gd name="connsiteX7" fmla="*/ 270014 w 3341806"/>
              <a:gd name="connsiteY7" fmla="*/ 832161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0014 w 3341806"/>
              <a:gd name="connsiteY7" fmla="*/ 832161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0014 w 3341806"/>
              <a:gd name="connsiteY7" fmla="*/ 832161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4777 w 3341806"/>
              <a:gd name="connsiteY7" fmla="*/ 803586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4777 w 3341806"/>
              <a:gd name="connsiteY7" fmla="*/ 803586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4777 w 3341806"/>
              <a:gd name="connsiteY7" fmla="*/ 803586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4777 w 3341806"/>
              <a:gd name="connsiteY7" fmla="*/ 803586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4777 w 3341806"/>
              <a:gd name="connsiteY7" fmla="*/ 803586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817873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93827 w 3341806"/>
              <a:gd name="connsiteY7" fmla="*/ 789298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0 w 3341806"/>
              <a:gd name="connsiteY8" fmla="*/ 55196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9525 w 3341806"/>
              <a:gd name="connsiteY8" fmla="*/ 542444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9525 w 3341806"/>
              <a:gd name="connsiteY8" fmla="*/ 53291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9525 w 3341806"/>
              <a:gd name="connsiteY8" fmla="*/ 532919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19050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789298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822636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80196 w 3341806"/>
              <a:gd name="connsiteY6" fmla="*/ 2352355 h 2352355"/>
              <a:gd name="connsiteX7" fmla="*/ 279539 w 3341806"/>
              <a:gd name="connsiteY7" fmla="*/ 822636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65909 w 3341806"/>
              <a:gd name="connsiteY6" fmla="*/ 2352355 h 2352355"/>
              <a:gd name="connsiteX7" fmla="*/ 279539 w 3341806"/>
              <a:gd name="connsiteY7" fmla="*/ 822636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65909 w 3341806"/>
              <a:gd name="connsiteY6" fmla="*/ 2352355 h 2352355"/>
              <a:gd name="connsiteX7" fmla="*/ 279539 w 3341806"/>
              <a:gd name="connsiteY7" fmla="*/ 822636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  <a:gd name="connsiteX0" fmla="*/ 0 w 3341806"/>
              <a:gd name="connsiteY0" fmla="*/ 63026 h 2352355"/>
              <a:gd name="connsiteX1" fmla="*/ 63026 w 3341806"/>
              <a:gd name="connsiteY1" fmla="*/ 0 h 2352355"/>
              <a:gd name="connsiteX2" fmla="*/ 3278780 w 3341806"/>
              <a:gd name="connsiteY2" fmla="*/ 0 h 2352355"/>
              <a:gd name="connsiteX3" fmla="*/ 3341806 w 3341806"/>
              <a:gd name="connsiteY3" fmla="*/ 63026 h 2352355"/>
              <a:gd name="connsiteX4" fmla="*/ 3341806 w 3341806"/>
              <a:gd name="connsiteY4" fmla="*/ 2281709 h 2352355"/>
              <a:gd name="connsiteX5" fmla="*/ 3278780 w 3341806"/>
              <a:gd name="connsiteY5" fmla="*/ 2344735 h 2352355"/>
              <a:gd name="connsiteX6" fmla="*/ 265909 w 3341806"/>
              <a:gd name="connsiteY6" fmla="*/ 2352355 h 2352355"/>
              <a:gd name="connsiteX7" fmla="*/ 279539 w 3341806"/>
              <a:gd name="connsiteY7" fmla="*/ 822636 h 2352355"/>
              <a:gd name="connsiteX8" fmla="*/ 4762 w 3341806"/>
              <a:gd name="connsiteY8" fmla="*/ 537681 h 2352355"/>
              <a:gd name="connsiteX9" fmla="*/ 0 w 3341806"/>
              <a:gd name="connsiteY9" fmla="*/ 63026 h 2352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41806" h="2352355">
                <a:moveTo>
                  <a:pt x="0" y="63026"/>
                </a:moveTo>
                <a:cubicBezTo>
                  <a:pt x="0" y="28218"/>
                  <a:pt x="28218" y="0"/>
                  <a:pt x="63026" y="0"/>
                </a:cubicBezTo>
                <a:lnTo>
                  <a:pt x="3278780" y="0"/>
                </a:lnTo>
                <a:cubicBezTo>
                  <a:pt x="3313588" y="0"/>
                  <a:pt x="3341806" y="28218"/>
                  <a:pt x="3341806" y="63026"/>
                </a:cubicBezTo>
                <a:lnTo>
                  <a:pt x="3341806" y="2281709"/>
                </a:lnTo>
                <a:cubicBezTo>
                  <a:pt x="3341806" y="2316517"/>
                  <a:pt x="3313588" y="2344735"/>
                  <a:pt x="3278780" y="2344735"/>
                </a:cubicBezTo>
                <a:lnTo>
                  <a:pt x="265909" y="2352355"/>
                </a:lnTo>
                <a:cubicBezTo>
                  <a:pt x="266622" y="1734631"/>
                  <a:pt x="264326" y="1146512"/>
                  <a:pt x="279539" y="822636"/>
                </a:cubicBezTo>
                <a:cubicBezTo>
                  <a:pt x="256652" y="541622"/>
                  <a:pt x="209784" y="546966"/>
                  <a:pt x="4762" y="537681"/>
                </a:cubicBezTo>
                <a:cubicBezTo>
                  <a:pt x="3175" y="379463"/>
                  <a:pt x="1587" y="221244"/>
                  <a:pt x="0" y="63026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mobile picture">
            <a:extLst>
              <a:ext uri="{FF2B5EF4-FFF2-40B4-BE49-F238E27FC236}">
                <a16:creationId xmlns:a16="http://schemas.microsoft.com/office/drawing/2014/main" id="{C1521B3C-1A04-A15B-0BDB-AB7DC11D0F1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00862" y="3686175"/>
            <a:ext cx="1028459" cy="2424113"/>
          </a:xfrm>
          <a:prstGeom prst="roundRect">
            <a:avLst>
              <a:gd name="adj" fmla="val 11275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98750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6 : content top : 2 picture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2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picture right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0000" y="3798472"/>
            <a:ext cx="5112000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" name="picture left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0" y="3798472"/>
            <a:ext cx="5112000" cy="2376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800000" y="1476000"/>
            <a:ext cx="9864000" cy="2160000"/>
          </a:xfrm>
          <a:noFill/>
        </p:spPr>
        <p:txBody>
          <a:bodyPr vert="horz" lIns="0" tIns="0" rIns="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E41499E-F5BE-DBF3-BAC3-92C32C627C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268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4 : 3 icon-circles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>
            <a:extLst>
              <a:ext uri="{FF2B5EF4-FFF2-40B4-BE49-F238E27FC236}">
                <a16:creationId xmlns:a16="http://schemas.microsoft.com/office/drawing/2014/main" id="{D9B987B5-FC87-07A0-EE60-B25D4CECC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0E22014F-C60E-A5F2-3D35-B99352051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B9DDA708-6115-B505-1604-CB18C57492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6" name="content 3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9989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endParaRPr lang="en-US"/>
          </a:p>
        </p:txBody>
      </p:sp>
      <p:sp>
        <p:nvSpPr>
          <p:cNvPr id="9" name="circle 3">
            <a:extLst>
              <a:ext uri="{FF2B5EF4-FFF2-40B4-BE49-F238E27FC236}">
                <a16:creationId xmlns:a16="http://schemas.microsoft.com/office/drawing/2014/main" id="{03E6616D-6BE5-1F0D-0C0A-EDEE8E74F894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903789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Icon-placeholder 3">
            <a:extLst>
              <a:ext uri="{FF2B5EF4-FFF2-40B4-BE49-F238E27FC236}">
                <a16:creationId xmlns:a16="http://schemas.microsoft.com/office/drawing/2014/main" id="{C60ADAF8-2C7E-52B4-A639-798B1160C64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39789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4" name="content 2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72800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endParaRPr lang="en-US"/>
          </a:p>
        </p:txBody>
      </p:sp>
      <p:sp>
        <p:nvSpPr>
          <p:cNvPr id="11" name="circle 2">
            <a:extLst>
              <a:ext uri="{FF2B5EF4-FFF2-40B4-BE49-F238E27FC236}">
                <a16:creationId xmlns:a16="http://schemas.microsoft.com/office/drawing/2014/main" id="{734287B7-FF2C-081C-D1AE-E5AAC79579AE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546600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Icon-placeholder 2">
            <a:extLst>
              <a:ext uri="{FF2B5EF4-FFF2-40B4-BE49-F238E27FC236}">
                <a16:creationId xmlns:a16="http://schemas.microsoft.com/office/drawing/2014/main" id="{2E85AA86-5649-E89A-22E5-F7FE994FA4CF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582600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3" name="content 1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5611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endParaRPr lang="en-US"/>
          </a:p>
        </p:txBody>
      </p:sp>
      <p:sp>
        <p:nvSpPr>
          <p:cNvPr id="16" name="circle 1">
            <a:extLst>
              <a:ext uri="{FF2B5EF4-FFF2-40B4-BE49-F238E27FC236}">
                <a16:creationId xmlns:a16="http://schemas.microsoft.com/office/drawing/2014/main" id="{CF9B3468-8D83-E9F3-7B03-E73CD41ECE15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189411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1" name="Icon-placeholder 1">
            <a:extLst>
              <a:ext uri="{FF2B5EF4-FFF2-40B4-BE49-F238E27FC236}">
                <a16:creationId xmlns:a16="http://schemas.microsoft.com/office/drawing/2014/main" id="{58129E42-8DEF-4ABF-4EC7-0503FD82023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25411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7A299E29-D08F-1AB7-8A5E-A0AE864F90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4218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5 : 2 text circl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C9BA3CE1-F4C3-2C3D-C372-01096BC0A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9C96A835-E90E-5839-1566-B47381500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61BC8F3A-DE2E-C831-0500-7FA96995AB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7" name="text 2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09203" y="2628000"/>
            <a:ext cx="2160000" cy="3060000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0" tIns="0" rIns="0" bIns="0" rtlCol="0">
            <a:noAutofit/>
          </a:bodyPr>
          <a:lstStyle>
            <a:lvl1pPr>
              <a:defRPr lang="en-US" sz="1200" smtClean="0"/>
            </a:lvl1pPr>
            <a:lvl2pPr>
              <a:defRPr lang="en-US" sz="1200" smtClean="0"/>
            </a:lvl2pPr>
            <a:lvl3pPr>
              <a:defRPr lang="en-US" sz="1200" smtClean="0"/>
            </a:lvl3pPr>
            <a:lvl4pPr>
              <a:defRPr lang="en-US" sz="1200" smtClean="0">
                <a:solidFill>
                  <a:schemeClr val="tx2"/>
                </a:solidFill>
              </a:defRPr>
            </a:lvl4pPr>
            <a:lvl5pPr>
              <a:defRPr lang="en-US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</a:lstStyle>
          <a:p>
            <a:pPr lvl="0"/>
            <a:endParaRPr lang="en-US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880000" y="2628000"/>
            <a:ext cx="2160000" cy="3060000"/>
          </a:xfrm>
          <a:prstGeom prst="rect">
            <a:avLst/>
          </a:prstGeom>
          <a:noFill/>
          <a:effectLst/>
        </p:spPr>
        <p:txBody>
          <a:bodyPr lIns="0" tIns="0" rIns="0"/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solidFill>
                  <a:schemeClr val="tx2"/>
                </a:solidFill>
                <a:latin typeface="+mn-lt"/>
              </a:defRPr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BC82E269-B945-9E98-D88A-B9E0B906B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994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5 : 2 text box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C9BA3CE1-F4C3-2C3D-C372-01096BC0A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9C96A835-E90E-5839-1566-B47381500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61BC8F3A-DE2E-C831-0500-7FA96995AB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A1FE09D6-F50B-58D0-9D25-2A26AF1045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1440000"/>
          </a:xfrm>
          <a:prstGeom prst="roundRect">
            <a:avLst>
              <a:gd name="adj" fmla="val 5828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288000" rIns="0" bIns="0" rtlCol="0" anchor="t" anchorCtr="1">
            <a:noAutofit/>
          </a:bodyPr>
          <a:lstStyle>
            <a:lvl1pPr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37" name="text 2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0" y="2420938"/>
            <a:ext cx="396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4" name="icon 2">
            <a:extLst>
              <a:ext uri="{FF2B5EF4-FFF2-40B4-BE49-F238E27FC236}">
                <a16:creationId xmlns:a16="http://schemas.microsoft.com/office/drawing/2014/main" id="{59748B2D-BB1C-8085-B717-CE69ADE160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01805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62898" y="2420938"/>
            <a:ext cx="396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80000" tIns="1044000" rIns="108000"/>
          <a:lstStyle>
            <a:lvl1pPr>
              <a:defRPr sz="10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solidFill>
                  <a:schemeClr val="tx2"/>
                </a:solidFill>
                <a:latin typeface="+mn-lt"/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18" name="icon 1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962900" y="2628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BC82E269-B945-9E98-D88A-B9E0B906B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886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5 : 3 text box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C9BA3CE1-F4C3-2C3D-C372-01096BC0A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9C96A835-E90E-5839-1566-B47381500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61BC8F3A-DE2E-C831-0500-7FA96995AB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3" name="text 4">
            <a:extLst>
              <a:ext uri="{FF2B5EF4-FFF2-40B4-BE49-F238E27FC236}">
                <a16:creationId xmlns:a16="http://schemas.microsoft.com/office/drawing/2014/main" id="{A1FE09D6-F50B-58D0-9D25-2A26AF1045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1440000"/>
          </a:xfrm>
          <a:prstGeom prst="roundRect">
            <a:avLst>
              <a:gd name="adj" fmla="val 5828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288000" rIns="0" bIns="0" rtlCol="0" anchor="t" anchorCtr="1">
            <a:noAutofit/>
          </a:bodyPr>
          <a:lstStyle>
            <a:lvl1pPr>
              <a:defRPr lang="en-US" sz="180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13138" y="2412000"/>
            <a:ext cx="32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4" name="Icon 3">
            <a:extLst>
              <a:ext uri="{FF2B5EF4-FFF2-40B4-BE49-F238E27FC236}">
                <a16:creationId xmlns:a16="http://schemas.microsoft.com/office/drawing/2014/main" id="{59748B2D-BB1C-8085-B717-CE69ADE160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309643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69558" y="2412000"/>
            <a:ext cx="32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19" name="Icon 2">
            <a:extLst>
              <a:ext uri="{FF2B5EF4-FFF2-40B4-BE49-F238E27FC236}">
                <a16:creationId xmlns:a16="http://schemas.microsoft.com/office/drawing/2014/main" id="{EAC3B973-5857-335C-D82C-09706AD0D92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667028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US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5978" y="2412000"/>
            <a:ext cx="32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80000" tIns="1044000" rIns="108000"/>
          <a:lstStyle>
            <a:lvl1pPr>
              <a:defRPr sz="10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solidFill>
                  <a:schemeClr val="tx2"/>
                </a:solidFill>
                <a:latin typeface="+mn-lt"/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18" name="Icon 1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25979" y="2628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BC82E269-B945-9E98-D88A-B9E0B906B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516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5 : 4 text box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C9BA3CE1-F4C3-2C3D-C372-01096BC0A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9C96A835-E90E-5839-1566-B47381500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61BC8F3A-DE2E-C831-0500-7FA96995AB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3" name="text 5">
            <a:extLst>
              <a:ext uri="{FF2B5EF4-FFF2-40B4-BE49-F238E27FC236}">
                <a16:creationId xmlns:a16="http://schemas.microsoft.com/office/drawing/2014/main" id="{A1FE09D6-F50B-58D0-9D25-2A26AF1045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1440000"/>
          </a:xfrm>
          <a:prstGeom prst="roundRect">
            <a:avLst>
              <a:gd name="adj" fmla="val 5828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288000" rIns="0" bIns="0" rtlCol="0" anchor="t" anchorCtr="1">
            <a:noAutofit/>
          </a:bodyPr>
          <a:lstStyle>
            <a:lvl1pPr>
              <a:defRPr lang="de-DE" sz="180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29180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5" name="Icon 4">
            <a:extLst>
              <a:ext uri="{FF2B5EF4-FFF2-40B4-BE49-F238E27FC236}">
                <a16:creationId xmlns:a16="http://schemas.microsoft.com/office/drawing/2014/main" id="{A69C5009-BBB2-3F4E-2F00-D126B2AA56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928610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3454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4" name="Icon 3">
            <a:extLst>
              <a:ext uri="{FF2B5EF4-FFF2-40B4-BE49-F238E27FC236}">
                <a16:creationId xmlns:a16="http://schemas.microsoft.com/office/drawing/2014/main" id="{59748B2D-BB1C-8085-B717-CE69ADE160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07294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77727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19" name="Icon 2">
            <a:extLst>
              <a:ext uri="{FF2B5EF4-FFF2-40B4-BE49-F238E27FC236}">
                <a16:creationId xmlns:a16="http://schemas.microsoft.com/office/drawing/2014/main" id="{EAC3B973-5857-335C-D82C-09706AD0D92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885978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US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52000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80000" tIns="1044000" rIns="108000"/>
          <a:lstStyle>
            <a:lvl1pPr>
              <a:defRPr sz="10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solidFill>
                  <a:schemeClr val="tx2"/>
                </a:solidFill>
                <a:latin typeface="+mn-lt"/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18" name="Icon 1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364662" y="2628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BC82E269-B945-9E98-D88A-B9E0B906B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28509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5 : 5 text box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C9BA3CE1-F4C3-2C3D-C372-01096BC0A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9C96A835-E90E-5839-1566-B47381500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61BC8F3A-DE2E-C831-0500-7FA96995AB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3" name="text 6">
            <a:extLst>
              <a:ext uri="{FF2B5EF4-FFF2-40B4-BE49-F238E27FC236}">
                <a16:creationId xmlns:a16="http://schemas.microsoft.com/office/drawing/2014/main" id="{A1FE09D6-F50B-58D0-9D25-2A26AF1045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1440000"/>
          </a:xfrm>
          <a:prstGeom prst="roundRect">
            <a:avLst>
              <a:gd name="adj" fmla="val 5828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288000" rIns="0" bIns="0" rtlCol="0" anchor="t" anchorCtr="1">
            <a:noAutofit/>
          </a:bodyPr>
          <a:lstStyle>
            <a:lvl1pPr>
              <a:defRPr lang="de-DE" sz="180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2" name="text 5">
            <a:extLst>
              <a:ext uri="{FF2B5EF4-FFF2-40B4-BE49-F238E27FC236}">
                <a16:creationId xmlns:a16="http://schemas.microsoft.com/office/drawing/2014/main" id="{9728757F-0C7B-0318-7F5E-D0DC8E1253B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32000" y="2412000"/>
            <a:ext cx="198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3" name="Icon 5">
            <a:extLst>
              <a:ext uri="{FF2B5EF4-FFF2-40B4-BE49-F238E27FC236}">
                <a16:creationId xmlns:a16="http://schemas.microsoft.com/office/drawing/2014/main" id="{D6B1A58F-285B-F5A0-916D-E40954CC277F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9623572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63108" y="2412000"/>
            <a:ext cx="198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5" name="Icon 4">
            <a:extLst>
              <a:ext uri="{FF2B5EF4-FFF2-40B4-BE49-F238E27FC236}">
                <a16:creationId xmlns:a16="http://schemas.microsoft.com/office/drawing/2014/main" id="{A69C5009-BBB2-3F4E-2F00-D126B2AA56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467809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02072" y="2412000"/>
            <a:ext cx="198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4" name="Icon 3">
            <a:extLst>
              <a:ext uri="{FF2B5EF4-FFF2-40B4-BE49-F238E27FC236}">
                <a16:creationId xmlns:a16="http://schemas.microsoft.com/office/drawing/2014/main" id="{59748B2D-BB1C-8085-B717-CE69ADE160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312046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41036" y="2412000"/>
            <a:ext cx="198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19" name="Icon 2">
            <a:extLst>
              <a:ext uri="{FF2B5EF4-FFF2-40B4-BE49-F238E27FC236}">
                <a16:creationId xmlns:a16="http://schemas.microsoft.com/office/drawing/2014/main" id="{EAC3B973-5857-335C-D82C-09706AD0D92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56283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0000" y="2412000"/>
            <a:ext cx="198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smtClean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8" name="Icon 1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00520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BC82E269-B945-9E98-D88A-B9E0B906B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646055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5 : 6 text box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C9BA3CE1-F4C3-2C3D-C372-01096BC0A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9C96A835-E90E-5839-1566-B47381500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61BC8F3A-DE2E-C831-0500-7FA96995AB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3" name="text 7">
            <a:extLst>
              <a:ext uri="{FF2B5EF4-FFF2-40B4-BE49-F238E27FC236}">
                <a16:creationId xmlns:a16="http://schemas.microsoft.com/office/drawing/2014/main" id="{A1FE09D6-F50B-58D0-9D25-2A26AF1045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1440000"/>
          </a:xfrm>
          <a:prstGeom prst="roundRect">
            <a:avLst>
              <a:gd name="adj" fmla="val 5828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288000" rIns="0" bIns="0" rtlCol="0" anchor="t" anchorCtr="1">
            <a:noAutofit/>
          </a:bodyPr>
          <a:lstStyle>
            <a:lvl1pPr>
              <a:defRPr lang="de-DE" sz="180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4" name="text 6">
            <a:extLst>
              <a:ext uri="{FF2B5EF4-FFF2-40B4-BE49-F238E27FC236}">
                <a16:creationId xmlns:a16="http://schemas.microsoft.com/office/drawing/2014/main" id="{F1E1416F-35EF-1826-F874-B0AEF635D1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91479" y="2412000"/>
            <a:ext cx="162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6" name="Icon 6">
            <a:extLst>
              <a:ext uri="{FF2B5EF4-FFF2-40B4-BE49-F238E27FC236}">
                <a16:creationId xmlns:a16="http://schemas.microsoft.com/office/drawing/2014/main" id="{80B4EE96-7060-AB47-910C-6382FDF2697F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983051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2" name="text 5">
            <a:extLst>
              <a:ext uri="{FF2B5EF4-FFF2-40B4-BE49-F238E27FC236}">
                <a16:creationId xmlns:a16="http://schemas.microsoft.com/office/drawing/2014/main" id="{9728757F-0C7B-0318-7F5E-D0DC8E1253B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90754" y="2412000"/>
            <a:ext cx="162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3" name="Icon 5">
            <a:extLst>
              <a:ext uri="{FF2B5EF4-FFF2-40B4-BE49-F238E27FC236}">
                <a16:creationId xmlns:a16="http://schemas.microsoft.com/office/drawing/2014/main" id="{D6B1A58F-285B-F5A0-916D-E40954CC277F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186544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90030" y="2412000"/>
            <a:ext cx="162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5" name="Icon 4">
            <a:extLst>
              <a:ext uri="{FF2B5EF4-FFF2-40B4-BE49-F238E27FC236}">
                <a16:creationId xmlns:a16="http://schemas.microsoft.com/office/drawing/2014/main" id="{A69C5009-BBB2-3F4E-2F00-D126B2AA56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390038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89306" y="2412000"/>
            <a:ext cx="162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24" name="Icon 3">
            <a:extLst>
              <a:ext uri="{FF2B5EF4-FFF2-40B4-BE49-F238E27FC236}">
                <a16:creationId xmlns:a16="http://schemas.microsoft.com/office/drawing/2014/main" id="{59748B2D-BB1C-8085-B717-CE69ADE160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593532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588582" y="2412000"/>
            <a:ext cx="162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19" name="Icon 2">
            <a:extLst>
              <a:ext uri="{FF2B5EF4-FFF2-40B4-BE49-F238E27FC236}">
                <a16:creationId xmlns:a16="http://schemas.microsoft.com/office/drawing/2014/main" id="{EAC3B973-5857-335C-D82C-09706AD0D92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797026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7858" y="2412000"/>
            <a:ext cx="162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/>
            </a:lvl1pPr>
            <a:lvl2pPr>
              <a:defRPr lang="en-US" sz="1000" smtClean="0"/>
            </a:lvl2pPr>
            <a:lvl3pPr>
              <a:defRPr lang="en-US" sz="1000" smtClean="0"/>
            </a:lvl3pPr>
            <a:lvl4pPr>
              <a:defRPr lang="en-US" sz="1000" smtClean="0">
                <a:solidFill>
                  <a:schemeClr val="tx2"/>
                </a:solidFill>
              </a:defRPr>
            </a:lvl4pPr>
            <a:lvl5pPr>
              <a:defRPr lang="en-US" sz="1200" smtClean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</a:defRPr>
            </a:lvl5pPr>
            <a:lvl6pPr>
              <a:defRPr lang="en-US" sz="100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smtClean="0"/>
            </a:lvl7pPr>
            <a:lvl8pPr>
              <a:defRPr lang="en-US" sz="1000" b="0" baseline="0" smtClean="0"/>
            </a:lvl8pPr>
            <a:lvl9pPr>
              <a:defRPr lang="en-US" sz="1000" b="0" smtClean="0"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0"/>
            <a:endParaRPr lang="en-US"/>
          </a:p>
        </p:txBody>
      </p:sp>
      <p:sp>
        <p:nvSpPr>
          <p:cNvPr id="18" name="Icon 1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00520" y="2628000"/>
            <a:ext cx="540000" cy="540000"/>
          </a:xfrm>
          <a:noFill/>
        </p:spPr>
        <p:txBody>
          <a:bodyPr vert="horz" lIns="0" tIns="0" rIns="108000" bIns="0" rtlCol="0">
            <a:noAutofit/>
          </a:bodyPr>
          <a:lstStyle>
            <a:lvl1pPr>
              <a:defRPr lang="de-DE" sz="100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</a:defRPr>
            </a:lvl1pPr>
          </a:lstStyle>
          <a:p>
            <a:pPr lvl="0">
              <a:lnSpc>
                <a:spcPts val="1400"/>
              </a:lnSpc>
            </a:pPr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BC82E269-B945-9E98-D88A-B9E0B906B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327762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6 : 4 text boxes : strip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>
            <a:extLst>
              <a:ext uri="{FF2B5EF4-FFF2-40B4-BE49-F238E27FC236}">
                <a16:creationId xmlns:a16="http://schemas.microsoft.com/office/drawing/2014/main" id="{68DA1A13-8D13-4B2B-713D-126B871F2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A4E184A2-8E83-E028-E053-0741914CB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EEB58672-5C8C-98C6-6BF1-81FA11EF3A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72200" y="409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4" name="Icon-placeholder 4">
            <a:extLst>
              <a:ext uri="{FF2B5EF4-FFF2-40B4-BE49-F238E27FC236}">
                <a16:creationId xmlns:a16="http://schemas.microsoft.com/office/drawing/2014/main" id="{A9B14E53-0A29-DC6D-5E5B-C26B98579E86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480000" y="421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8" name="stripe 4">
            <a:extLst>
              <a:ext uri="{FF2B5EF4-FFF2-40B4-BE49-F238E27FC236}">
                <a16:creationId xmlns:a16="http://schemas.microsoft.com/office/drawing/2014/main" id="{B083A90B-BA65-DE34-FD88-6D9B6076812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16200000">
            <a:off x="5220000" y="5034844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6" name="text 3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72200" y="409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" name="Icon-placeholder 3">
            <a:extLst>
              <a:ext uri="{FF2B5EF4-FFF2-40B4-BE49-F238E27FC236}">
                <a16:creationId xmlns:a16="http://schemas.microsoft.com/office/drawing/2014/main" id="{49A6B266-7DA1-A0D2-8985-DEA29D0B305D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1076900" y="421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0" name="stripe 3">
            <a:extLst>
              <a:ext uri="{FF2B5EF4-FFF2-40B4-BE49-F238E27FC236}">
                <a16:creationId xmlns:a16="http://schemas.microsoft.com/office/drawing/2014/main" id="{896C88AE-CDA6-2778-4D8F-217FF29DFFB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16200000">
            <a:off x="-161110" y="5034844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7" name="text 2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72200" y="193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1" name="stripe 2">
            <a:extLst>
              <a:ext uri="{FF2B5EF4-FFF2-40B4-BE49-F238E27FC236}">
                <a16:creationId xmlns:a16="http://schemas.microsoft.com/office/drawing/2014/main" id="{4BBD5651-6876-8008-DE62-ECF20E454E6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16200000">
            <a:off x="5220000" y="2862666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13" name="Icon-placeholder 2">
            <a:extLst>
              <a:ext uri="{FF2B5EF4-FFF2-40B4-BE49-F238E27FC236}">
                <a16:creationId xmlns:a16="http://schemas.microsoft.com/office/drawing/2014/main" id="{17A2DFA9-CAF3-9122-B3B4-2A81162C706D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80000" y="205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2200" y="193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8" name="Icon-placeholder 1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80000" y="205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2" name="stripe 1">
            <a:extLst>
              <a:ext uri="{FF2B5EF4-FFF2-40B4-BE49-F238E27FC236}">
                <a16:creationId xmlns:a16="http://schemas.microsoft.com/office/drawing/2014/main" id="{4B1368A1-F8E3-A666-10EC-9578E6615D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6200000">
            <a:off x="-161110" y="2862665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6" name="navigation">
            <a:extLst>
              <a:ext uri="{FF2B5EF4-FFF2-40B4-BE49-F238E27FC236}">
                <a16:creationId xmlns:a16="http://schemas.microsoft.com/office/drawing/2014/main" id="{05A7132E-42F4-2481-78AD-C847933B13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6639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6a : 5 contents : 1 centered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>
            <a:extLst>
              <a:ext uri="{FF2B5EF4-FFF2-40B4-BE49-F238E27FC236}">
                <a16:creationId xmlns:a16="http://schemas.microsoft.com/office/drawing/2014/main" id="{7587F319-9817-5E8C-3267-E8B5F5655F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F5CDEDD9-5767-BF78-73FE-C497E4578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84078D7-3AA4-7E7A-E9A2-7479782512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308000" y="4007558"/>
            <a:ext cx="4320000" cy="2160000"/>
          </a:xfrm>
          <a:prstGeom prst="rect">
            <a:avLst/>
          </a:prstGeom>
          <a:noFill/>
        </p:spPr>
        <p:txBody>
          <a:bodyPr vert="horz" lIns="180000" tIns="0" rIns="0" bIns="0" rtlCol="0">
            <a:noAutofit/>
          </a:bodyPr>
          <a:lstStyle>
            <a:lvl1pPr>
              <a:defRPr lang="en-US" sz="1200" smtClean="0"/>
            </a:lvl1pPr>
            <a:lvl2pPr>
              <a:defRPr lang="en-US" sz="1200" smtClean="0"/>
            </a:lvl2pPr>
            <a:lvl3pPr>
              <a:defRPr lang="en-US" sz="1200" smtClean="0"/>
            </a:lvl3pPr>
            <a:lvl4pPr>
              <a:defRPr lang="en-US" sz="1200" smtClean="0"/>
            </a:lvl4pPr>
            <a:lvl5pPr>
              <a:defRPr lang="en-US" smtClean="0"/>
            </a:lvl5pPr>
            <a:lvl6pPr>
              <a:defRPr lang="en-US" sz="1200" smtClean="0"/>
            </a:lvl6pPr>
            <a:lvl7pPr>
              <a:defRPr lang="en-US" sz="1200" smtClean="0"/>
            </a:lvl7pPr>
            <a:lvl8pPr>
              <a:defRPr lang="en-US" sz="1200" smtClean="0"/>
            </a:lvl8pPr>
            <a:lvl9pPr>
              <a:defRPr lang="en-US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40000" y="4007558"/>
            <a:ext cx="432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smtClean="0"/>
            </a:lvl1pPr>
            <a:lvl2pPr>
              <a:defRPr lang="en-US" sz="1200" smtClean="0"/>
            </a:lvl2pPr>
            <a:lvl3pPr>
              <a:defRPr lang="en-US" sz="1200" smtClean="0"/>
            </a:lvl3pPr>
            <a:lvl4pPr>
              <a:defRPr lang="en-US" sz="1200" smtClean="0"/>
            </a:lvl4pPr>
            <a:lvl5pPr>
              <a:defRPr lang="en-US" smtClean="0"/>
            </a:lvl5pPr>
            <a:lvl6pPr>
              <a:defRPr lang="en-US" sz="1200" smtClean="0"/>
            </a:lvl6pPr>
            <a:lvl7pPr>
              <a:defRPr lang="en-US" sz="1200" smtClean="0"/>
            </a:lvl7pPr>
            <a:lvl8pPr>
              <a:defRPr lang="en-US" sz="1200" smtClean="0"/>
            </a:lvl8pPr>
            <a:lvl9pPr>
              <a:defRPr lang="en-US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308000" y="1484314"/>
            <a:ext cx="4320000" cy="2160000"/>
          </a:xfrm>
          <a:prstGeom prst="rect">
            <a:avLst/>
          </a:prstGeom>
          <a:noFill/>
        </p:spPr>
        <p:txBody>
          <a:bodyPr vert="horz" lIns="180000" tIns="0" rIns="0" bIns="0" rtlCol="0">
            <a:noAutofit/>
          </a:bodyPr>
          <a:lstStyle>
            <a:lvl1pPr>
              <a:defRPr lang="en-US" sz="1200" smtClean="0"/>
            </a:lvl1pPr>
            <a:lvl2pPr>
              <a:defRPr lang="en-US" sz="1200" smtClean="0"/>
            </a:lvl2pPr>
            <a:lvl3pPr>
              <a:defRPr lang="en-US" sz="1200" smtClean="0"/>
            </a:lvl3pPr>
            <a:lvl4pPr>
              <a:defRPr lang="en-US" sz="1200" smtClean="0"/>
            </a:lvl4pPr>
            <a:lvl5pPr>
              <a:defRPr lang="en-US" smtClean="0"/>
            </a:lvl5pPr>
            <a:lvl6pPr>
              <a:defRPr lang="en-US" sz="1200" smtClean="0"/>
            </a:lvl6pPr>
            <a:lvl7pPr>
              <a:defRPr lang="en-US" sz="1200" smtClean="0"/>
            </a:lvl7pPr>
            <a:lvl8pPr>
              <a:defRPr lang="en-US" sz="1200" smtClean="0"/>
            </a:lvl8pPr>
            <a:lvl9pPr>
              <a:defRPr lang="en-US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84805"/>
            <a:ext cx="432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main in the miiddle">
            <a:extLst>
              <a:ext uri="{FF2B5EF4-FFF2-40B4-BE49-F238E27FC236}">
                <a16:creationId xmlns:a16="http://schemas.microsoft.com/office/drawing/2014/main" id="{AA3ACE44-5641-3F61-A3CF-F1F630AC86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87038" y="2714663"/>
            <a:ext cx="2232000" cy="2232000"/>
          </a:xfrm>
          <a:noFill/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200" smtClean="0"/>
            </a:lvl1pPr>
            <a:lvl2pPr algn="ctr">
              <a:defRPr lang="en-US" sz="1200" smtClean="0"/>
            </a:lvl2pPr>
            <a:lvl3pPr algn="ctr">
              <a:defRPr lang="en-US" sz="1200" smtClean="0"/>
            </a:lvl3pPr>
            <a:lvl4pPr algn="ctr">
              <a:defRPr lang="en-US" sz="1200" smtClean="0"/>
            </a:lvl4pPr>
            <a:lvl5pPr algn="ctr">
              <a:defRPr lang="en-US" smtClean="0"/>
            </a:lvl5pPr>
            <a:lvl6pPr algn="ctr">
              <a:defRPr lang="en-US" sz="1200" smtClean="0"/>
            </a:lvl6pPr>
            <a:lvl7pPr algn="ctr">
              <a:defRPr lang="en-US" sz="1200" smtClean="0"/>
            </a:lvl7pPr>
            <a:lvl8pPr algn="ctr">
              <a:defRPr lang="en-US" sz="1200" smtClean="0"/>
            </a:lvl8pPr>
            <a:lvl9pPr algn="ctr">
              <a:defRPr lang="en-US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E2DB2781-02B7-8F48-880C-0864DAF6A9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8926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7 : 5 content-circle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">
            <a:extLst>
              <a:ext uri="{FF2B5EF4-FFF2-40B4-BE49-F238E27FC236}">
                <a16:creationId xmlns:a16="http://schemas.microsoft.com/office/drawing/2014/main" id="{3D9D7E91-9080-9BA5-E306-8933FE0F0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E45A1343-BD59-81CA-3D94-C6FF528BD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E8E2844F-60D7-0998-FD9D-47B82960A1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658863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endParaRPr lang="en-US"/>
          </a:p>
        </p:txBody>
      </p:sp>
      <p:sp>
        <p:nvSpPr>
          <p:cNvPr id="40" name="circle 5">
            <a:extLst>
              <a:ext uri="{FF2B5EF4-FFF2-40B4-BE49-F238E27FC236}">
                <a16:creationId xmlns:a16="http://schemas.microsoft.com/office/drawing/2014/main" id="{9B320BE7-2C37-0A5C-A03A-78FDCDE8E160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9605567" y="1719500"/>
            <a:ext cx="1260000" cy="1260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3" name="Icon-placeholder 5">
            <a:extLst>
              <a:ext uri="{FF2B5EF4-FFF2-40B4-BE49-F238E27FC236}">
                <a16:creationId xmlns:a16="http://schemas.microsoft.com/office/drawing/2014/main" id="{B808016F-4B16-4650-0C2E-264DB5011B3F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965568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379148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endParaRPr lang="en-US"/>
          </a:p>
        </p:txBody>
      </p:sp>
      <p:sp>
        <p:nvSpPr>
          <p:cNvPr id="39" name="circle 4">
            <a:extLst>
              <a:ext uri="{FF2B5EF4-FFF2-40B4-BE49-F238E27FC236}">
                <a16:creationId xmlns:a16="http://schemas.microsoft.com/office/drawing/2014/main" id="{B384D12F-6EC3-A163-D4A1-06E336F9D48C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7337453" y="1719500"/>
            <a:ext cx="1260000" cy="1260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Icon-placeholder 4">
            <a:extLst>
              <a:ext uri="{FF2B5EF4-FFF2-40B4-BE49-F238E27FC236}">
                <a16:creationId xmlns:a16="http://schemas.microsoft.com/office/drawing/2014/main" id="{785B09EF-B8C5-9434-9255-D57FC85E64E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7697453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99432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endParaRPr lang="en-US"/>
          </a:p>
        </p:txBody>
      </p:sp>
      <p:sp>
        <p:nvSpPr>
          <p:cNvPr id="38" name="circle 3">
            <a:extLst>
              <a:ext uri="{FF2B5EF4-FFF2-40B4-BE49-F238E27FC236}">
                <a16:creationId xmlns:a16="http://schemas.microsoft.com/office/drawing/2014/main" id="{89F90057-16C4-BBA7-D79B-D697902D98B6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5069339" y="1719500"/>
            <a:ext cx="1260000" cy="1260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Icon-placeholder 3">
            <a:extLst>
              <a:ext uri="{FF2B5EF4-FFF2-40B4-BE49-F238E27FC236}">
                <a16:creationId xmlns:a16="http://schemas.microsoft.com/office/drawing/2014/main" id="{FF7919E9-EC30-DE68-47FE-20E3D3DB9A12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5429339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819716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endParaRPr lang="en-US"/>
          </a:p>
        </p:txBody>
      </p:sp>
      <p:sp>
        <p:nvSpPr>
          <p:cNvPr id="37" name="circle 2">
            <a:extLst>
              <a:ext uri="{FF2B5EF4-FFF2-40B4-BE49-F238E27FC236}">
                <a16:creationId xmlns:a16="http://schemas.microsoft.com/office/drawing/2014/main" id="{188DCCB7-D30D-6A78-25B3-813B9C6565C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2795041" y="1719500"/>
            <a:ext cx="1260000" cy="1260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Icon-placeholder 2">
            <a:extLst>
              <a:ext uri="{FF2B5EF4-FFF2-40B4-BE49-F238E27FC236}">
                <a16:creationId xmlns:a16="http://schemas.microsoft.com/office/drawing/2014/main" id="{C9CB027B-6FB1-929F-2755-CF600835D96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161225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endParaRPr lang="en-US"/>
          </a:p>
        </p:txBody>
      </p:sp>
      <p:sp>
        <p:nvSpPr>
          <p:cNvPr id="35" name="circle 1">
            <a:extLst>
              <a:ext uri="{FF2B5EF4-FFF2-40B4-BE49-F238E27FC236}">
                <a16:creationId xmlns:a16="http://schemas.microsoft.com/office/drawing/2014/main" id="{C3CDCE4D-5523-DB5C-6233-DE77CE958ED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3688" y="1719500"/>
            <a:ext cx="1260000" cy="1260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Icon-placeholder 1">
            <a:extLst>
              <a:ext uri="{FF2B5EF4-FFF2-40B4-BE49-F238E27FC236}">
                <a16:creationId xmlns:a16="http://schemas.microsoft.com/office/drawing/2014/main" id="{EA206033-AF1D-4F6B-EBBB-9E451AFAC80E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13688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5625633C-7FB0-A4CD-BAD7-50BBD6F55F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993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7 : 2 contents : 2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2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>
            <a:extLst>
              <a:ext uri="{FF2B5EF4-FFF2-40B4-BE49-F238E27FC236}">
                <a16:creationId xmlns:a16="http://schemas.microsoft.com/office/drawing/2014/main" id="{20BD20B0-44FC-5A88-79A0-DCADC338C2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D861FB85-24E1-52B5-92C3-DFCDDD4C7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9C40A435-687C-A3A2-46E3-09D4D87E58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picture right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0000" y="3798472"/>
            <a:ext cx="5112000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" name="picture left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0" y="3798472"/>
            <a:ext cx="5112000" cy="2376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" name="content right">
            <a:extLst>
              <a:ext uri="{FF2B5EF4-FFF2-40B4-BE49-F238E27FC236}">
                <a16:creationId xmlns:a16="http://schemas.microsoft.com/office/drawing/2014/main" id="{7AE5D198-395E-4863-A7A5-07680FA32CD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400000" y="1476000"/>
            <a:ext cx="6264000" cy="1800000"/>
          </a:xfrm>
          <a:noFill/>
        </p:spPr>
        <p:txBody>
          <a:bodyPr vert="horz" lIns="0" tIns="0" rIns="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content lef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800000" y="1476000"/>
            <a:ext cx="3240000" cy="1800000"/>
          </a:xfrm>
          <a:noFill/>
        </p:spPr>
        <p:txBody>
          <a:bodyPr vert="horz" lIns="0" tIns="0" rIns="36000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19CB1578-86A9-0BDA-D183-9BADBB4E4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47551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28 : 5 circle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>
            <a:extLst>
              <a:ext uri="{FF2B5EF4-FFF2-40B4-BE49-F238E27FC236}">
                <a16:creationId xmlns:a16="http://schemas.microsoft.com/office/drawing/2014/main" id="{8BAD3777-8CEA-B48C-2AEE-F9C58CF2B9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13AFAD36-E203-AFE3-95B6-80326D424B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D3778A2E-0F42-B2F4-D98B-BAC1B3FD2D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9" name="navigation">
            <a:extLst>
              <a:ext uri="{FF2B5EF4-FFF2-40B4-BE49-F238E27FC236}">
                <a16:creationId xmlns:a16="http://schemas.microsoft.com/office/drawing/2014/main" id="{EED496C5-9EA2-8D08-B2D5-EF1155F63A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  <p:sp>
        <p:nvSpPr>
          <p:cNvPr id="7" name="content 5">
            <a:extLst>
              <a:ext uri="{FF2B5EF4-FFF2-40B4-BE49-F238E27FC236}">
                <a16:creationId xmlns:a16="http://schemas.microsoft.com/office/drawing/2014/main" id="{9D2A85CD-F180-8666-9FA6-9C2B405B224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464637" y="3429000"/>
            <a:ext cx="2160000" cy="2160000"/>
          </a:xfrm>
          <a:prstGeom prst="rect">
            <a:avLst/>
          </a:prstGeo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0" name="link 5">
            <a:extLst>
              <a:ext uri="{FF2B5EF4-FFF2-40B4-BE49-F238E27FC236}">
                <a16:creationId xmlns:a16="http://schemas.microsoft.com/office/drawing/2014/main" id="{EFFBCD48-F565-8850-D4C7-26C5071DA45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9464637" y="5587388"/>
            <a:ext cx="1440000" cy="360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108000" tIns="0" rIns="108000" bIns="36000" rtlCol="0" anchor="ctr">
            <a:noAutofit/>
          </a:bodyPr>
          <a:lstStyle>
            <a:lvl1pPr algn="ctr">
              <a:defRPr lang="de-DE" sz="1200" cap="all" spc="4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19" name="text circle 5">
            <a:extLst>
              <a:ext uri="{FF2B5EF4-FFF2-40B4-BE49-F238E27FC236}">
                <a16:creationId xmlns:a16="http://schemas.microsoft.com/office/drawing/2014/main" id="{193C012E-D966-17AC-B1BD-0D0867762F5B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9549600" y="1450612"/>
            <a:ext cx="1800000" cy="1800000"/>
          </a:xfrm>
          <a:prstGeom prst="flowChartConnector">
            <a:avLst/>
          </a:prstGeom>
          <a:solidFill>
            <a:schemeClr val="accent2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US" sz="480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x</a:t>
            </a:r>
          </a:p>
        </p:txBody>
      </p:sp>
      <p:sp>
        <p:nvSpPr>
          <p:cNvPr id="25" name="content 4">
            <a:extLst>
              <a:ext uri="{FF2B5EF4-FFF2-40B4-BE49-F238E27FC236}">
                <a16:creationId xmlns:a16="http://schemas.microsoft.com/office/drawing/2014/main" id="{D0284B51-792C-EC1A-5881-E630F84CF3B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241625" y="3429000"/>
            <a:ext cx="2160000" cy="2160000"/>
          </a:xfrm>
          <a:prstGeom prst="rect">
            <a:avLst/>
          </a:prstGeo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6" name="link 4">
            <a:extLst>
              <a:ext uri="{FF2B5EF4-FFF2-40B4-BE49-F238E27FC236}">
                <a16:creationId xmlns:a16="http://schemas.microsoft.com/office/drawing/2014/main" id="{DD1083F1-159C-3A8D-8E42-FF347B241773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7241625" y="5587388"/>
            <a:ext cx="1440000" cy="360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108000" tIns="0" rIns="108000" bIns="36000" rtlCol="0" anchor="ctr">
            <a:noAutofit/>
          </a:bodyPr>
          <a:lstStyle>
            <a:lvl1pPr algn="ctr">
              <a:defRPr lang="de-DE" sz="1200" cap="all" spc="4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27" name="text circle 4">
            <a:extLst>
              <a:ext uri="{FF2B5EF4-FFF2-40B4-BE49-F238E27FC236}">
                <a16:creationId xmlns:a16="http://schemas.microsoft.com/office/drawing/2014/main" id="{8EBA8E1E-A37B-668C-92E1-896B2B594039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7241625" y="1704737"/>
            <a:ext cx="1260000" cy="1260000"/>
          </a:xfrm>
          <a:prstGeom prst="flowChartConnector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x</a:t>
            </a:r>
          </a:p>
        </p:txBody>
      </p:sp>
      <p:sp>
        <p:nvSpPr>
          <p:cNvPr id="28" name="content 3">
            <a:extLst>
              <a:ext uri="{FF2B5EF4-FFF2-40B4-BE49-F238E27FC236}">
                <a16:creationId xmlns:a16="http://schemas.microsoft.com/office/drawing/2014/main" id="{8FCD9FB6-A244-9851-E2CE-BD884FD9DE5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07750" y="3429000"/>
            <a:ext cx="2160000" cy="2160000"/>
          </a:xfrm>
          <a:prstGeom prst="rect">
            <a:avLst/>
          </a:prstGeo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9" name="link 3">
            <a:extLst>
              <a:ext uri="{FF2B5EF4-FFF2-40B4-BE49-F238E27FC236}">
                <a16:creationId xmlns:a16="http://schemas.microsoft.com/office/drawing/2014/main" id="{9BD91994-F753-BBA0-C171-DC722D194BD8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007750" y="5587388"/>
            <a:ext cx="1440000" cy="360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108000" tIns="0" rIns="108000" bIns="36000" rtlCol="0" anchor="ctr">
            <a:noAutofit/>
          </a:bodyPr>
          <a:lstStyle>
            <a:lvl1pPr algn="ctr">
              <a:defRPr lang="de-DE" sz="1200" cap="all" spc="4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30" name="text circle 3">
            <a:extLst>
              <a:ext uri="{FF2B5EF4-FFF2-40B4-BE49-F238E27FC236}">
                <a16:creationId xmlns:a16="http://schemas.microsoft.com/office/drawing/2014/main" id="{667964E3-D692-8828-4C48-B60EA8B23339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011371" y="1719500"/>
            <a:ext cx="1260000" cy="1260000"/>
          </a:xfrm>
          <a:prstGeom prst="flowChartConnector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x</a:t>
            </a:r>
          </a:p>
        </p:txBody>
      </p:sp>
      <p:sp>
        <p:nvSpPr>
          <p:cNvPr id="31" name="content 2">
            <a:extLst>
              <a:ext uri="{FF2B5EF4-FFF2-40B4-BE49-F238E27FC236}">
                <a16:creationId xmlns:a16="http://schemas.microsoft.com/office/drawing/2014/main" id="{9137CB3D-CF38-1654-B775-3733587D196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773875" y="3429000"/>
            <a:ext cx="2160000" cy="2160000"/>
          </a:xfrm>
          <a:prstGeom prst="rect">
            <a:avLst/>
          </a:prstGeo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32" name="link 2">
            <a:extLst>
              <a:ext uri="{FF2B5EF4-FFF2-40B4-BE49-F238E27FC236}">
                <a16:creationId xmlns:a16="http://schemas.microsoft.com/office/drawing/2014/main" id="{BEBBDB82-91DE-AC7E-0BEC-AB5C98FF4AB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2773875" y="5587388"/>
            <a:ext cx="1440000" cy="360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108000" tIns="0" rIns="108000" bIns="36000" rtlCol="0" anchor="ctr">
            <a:noAutofit/>
          </a:bodyPr>
          <a:lstStyle>
            <a:lvl1pPr algn="ctr">
              <a:defRPr lang="de-DE" sz="1200" cap="all" spc="4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33" name="text circle 2">
            <a:extLst>
              <a:ext uri="{FF2B5EF4-FFF2-40B4-BE49-F238E27FC236}">
                <a16:creationId xmlns:a16="http://schemas.microsoft.com/office/drawing/2014/main" id="{9991DB1E-F0BE-D602-85CE-F865F27125D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2781117" y="1719500"/>
            <a:ext cx="1260000" cy="1260000"/>
          </a:xfrm>
          <a:prstGeom prst="flowChartConnector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x</a:t>
            </a:r>
          </a:p>
        </p:txBody>
      </p:sp>
      <p:sp>
        <p:nvSpPr>
          <p:cNvPr id="34" name="content 1">
            <a:extLst>
              <a:ext uri="{FF2B5EF4-FFF2-40B4-BE49-F238E27FC236}">
                <a16:creationId xmlns:a16="http://schemas.microsoft.com/office/drawing/2014/main" id="{A61B6699-2DA1-7987-1221-DEA65894A23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8742" y="3429000"/>
            <a:ext cx="2160000" cy="2160000"/>
          </a:xfrm>
          <a:prstGeom prst="rect">
            <a:avLst/>
          </a:prstGeo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35" name="link 1">
            <a:extLst>
              <a:ext uri="{FF2B5EF4-FFF2-40B4-BE49-F238E27FC236}">
                <a16:creationId xmlns:a16="http://schemas.microsoft.com/office/drawing/2014/main" id="{893E9D09-DB45-70DB-8D80-4E17526AB4B2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528742" y="5587388"/>
            <a:ext cx="1440000" cy="360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108000" tIns="0" rIns="108000" bIns="36000" rtlCol="0" anchor="ctr">
            <a:noAutofit/>
          </a:bodyPr>
          <a:lstStyle>
            <a:lvl1pPr algn="ctr">
              <a:defRPr lang="de-DE" sz="1200" cap="all" spc="4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36" name="text circle 1">
            <a:extLst>
              <a:ext uri="{FF2B5EF4-FFF2-40B4-BE49-F238E27FC236}">
                <a16:creationId xmlns:a16="http://schemas.microsoft.com/office/drawing/2014/main" id="{F0038135-2814-F8EB-A1B9-9B38AEF43F7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0863" y="1719500"/>
            <a:ext cx="1260000" cy="1260000"/>
          </a:xfrm>
          <a:prstGeom prst="flowChartConnector">
            <a:avLst/>
          </a:prstGeom>
          <a:solidFill>
            <a:schemeClr val="bg1"/>
          </a:solidFill>
          <a:ln w="6350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72221066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9 : 5 circles : 5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2547E716-1E2F-7B05-A5D1-24DF5138F7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123DC91-7626-7AF2-A09B-DCBEE2B689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4B0EC5C0-E138-9864-2A63-A77E96EF66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" name="text 6">
            <a:extLst>
              <a:ext uri="{FF2B5EF4-FFF2-40B4-BE49-F238E27FC236}">
                <a16:creationId xmlns:a16="http://schemas.microsoft.com/office/drawing/2014/main" id="{AFFFB742-B10B-0D15-44C8-E99A247A66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4000" y="1476000"/>
            <a:ext cx="10080000" cy="144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144000" rIns="0" bIns="0" rtlCol="0" anchor="t" anchorCtr="1">
            <a:noAutofit/>
          </a:bodyPr>
          <a:lstStyle>
            <a:lvl1pPr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20" name="text 5">
            <a:extLst>
              <a:ext uri="{FF2B5EF4-FFF2-40B4-BE49-F238E27FC236}">
                <a16:creationId xmlns:a16="http://schemas.microsoft.com/office/drawing/2014/main" id="{490285F5-769C-25E4-69C8-C5E988F71DD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652600" y="4089400"/>
            <a:ext cx="1440000" cy="208800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9" name="text circle 5">
            <a:extLst>
              <a:ext uri="{FF2B5EF4-FFF2-40B4-BE49-F238E27FC236}">
                <a16:creationId xmlns:a16="http://schemas.microsoft.com/office/drawing/2014/main" id="{CA3D1B8F-67FE-C968-DC81-8D84990DEA68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8411943" y="2165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14300" y="4089400"/>
            <a:ext cx="1440000" cy="208800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8" name="text circle 4">
            <a:extLst>
              <a:ext uri="{FF2B5EF4-FFF2-40B4-BE49-F238E27FC236}">
                <a16:creationId xmlns:a16="http://schemas.microsoft.com/office/drawing/2014/main" id="{7CEECBFC-F2D4-D868-B591-E190AF18578E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6737182" y="2165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364000" y="4089400"/>
            <a:ext cx="1440000" cy="208800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7" name="text circle 3">
            <a:extLst>
              <a:ext uri="{FF2B5EF4-FFF2-40B4-BE49-F238E27FC236}">
                <a16:creationId xmlns:a16="http://schemas.microsoft.com/office/drawing/2014/main" id="{DDB5B333-AC00-BC75-0498-87B7E32D06AA}"/>
              </a:ext>
            </a:extLst>
          </p:cNvPr>
          <p:cNvSpPr>
            <a:spLocks noGrp="1"/>
          </p:cNvSpPr>
          <p:nvPr>
            <p:ph type="body" idx="48"/>
          </p:nvPr>
        </p:nvSpPr>
        <p:spPr>
          <a:xfrm>
            <a:off x="5200088" y="2165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37700" y="4089400"/>
            <a:ext cx="1440000" cy="208800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26" name="text circle 2">
            <a:extLst>
              <a:ext uri="{FF2B5EF4-FFF2-40B4-BE49-F238E27FC236}">
                <a16:creationId xmlns:a16="http://schemas.microsoft.com/office/drawing/2014/main" id="{7CBFAABC-429B-E5B8-8933-E07DCC4B26EA}"/>
              </a:ext>
            </a:extLst>
          </p:cNvPr>
          <p:cNvSpPr>
            <a:spLocks noGrp="1"/>
          </p:cNvSpPr>
          <p:nvPr>
            <p:ph type="body" idx="47"/>
          </p:nvPr>
        </p:nvSpPr>
        <p:spPr>
          <a:xfrm>
            <a:off x="3525327" y="2165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099400" y="4089400"/>
            <a:ext cx="1440000" cy="208800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9" name="text circle 1">
            <a:extLst>
              <a:ext uri="{FF2B5EF4-FFF2-40B4-BE49-F238E27FC236}">
                <a16:creationId xmlns:a16="http://schemas.microsoft.com/office/drawing/2014/main" id="{199577DA-8B05-55BA-D6BD-A9F30591F4E5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1919400" y="2165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31" name="navigation">
            <a:extLst>
              <a:ext uri="{FF2B5EF4-FFF2-40B4-BE49-F238E27FC236}">
                <a16:creationId xmlns:a16="http://schemas.microsoft.com/office/drawing/2014/main" id="{B3E5848C-38B7-C489-C91D-BB9E80947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8350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0 : citiation : 5 Icon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48C3DE89-47DA-5C90-A5BD-987089A0B4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0F951A03-A258-5D0C-346C-9EDFA0422B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2" name="date">
            <a:extLst>
              <a:ext uri="{FF2B5EF4-FFF2-40B4-BE49-F238E27FC236}">
                <a16:creationId xmlns:a16="http://schemas.microsoft.com/office/drawing/2014/main" id="{3BDB30AE-0771-9262-1869-36B5E00FEB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4536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18" name="Icon 6">
            <a:extLst>
              <a:ext uri="{FF2B5EF4-FFF2-40B4-BE49-F238E27FC236}">
                <a16:creationId xmlns:a16="http://schemas.microsoft.com/office/drawing/2014/main" id="{49D83825-0292-3B29-C602-F353CE1D6DDF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18863" y="3924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4536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nl-NL" noProof="0"/>
          </a:p>
        </p:txBody>
      </p:sp>
      <p:sp>
        <p:nvSpPr>
          <p:cNvPr id="19" name="Icon 5">
            <a:extLst>
              <a:ext uri="{FF2B5EF4-FFF2-40B4-BE49-F238E27FC236}">
                <a16:creationId xmlns:a16="http://schemas.microsoft.com/office/drawing/2014/main" id="{8733BC2E-04A1-0E30-9605-EAFAC19E888D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379432" y="3924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4536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20" name="Icon 4">
            <a:extLst>
              <a:ext uri="{FF2B5EF4-FFF2-40B4-BE49-F238E27FC236}">
                <a16:creationId xmlns:a16="http://schemas.microsoft.com/office/drawing/2014/main" id="{454BDB5F-930C-C204-3745-6B675B0D1FED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40000" y="3924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2088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16" name="Icon 3">
            <a:extLst>
              <a:ext uri="{FF2B5EF4-FFF2-40B4-BE49-F238E27FC236}">
                <a16:creationId xmlns:a16="http://schemas.microsoft.com/office/drawing/2014/main" id="{778D2EDF-3B43-FFAE-82A8-D3282374085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218863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2088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nl-NL" noProof="0"/>
          </a:p>
        </p:txBody>
      </p:sp>
      <p:sp>
        <p:nvSpPr>
          <p:cNvPr id="12" name="Icon 2">
            <a:extLst>
              <a:ext uri="{FF2B5EF4-FFF2-40B4-BE49-F238E27FC236}">
                <a16:creationId xmlns:a16="http://schemas.microsoft.com/office/drawing/2014/main" id="{233BAFF2-9C91-CD91-2A3C-35502D80CD15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379432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8" name="text box">
            <a:extLst>
              <a:ext uri="{FF2B5EF4-FFF2-40B4-BE49-F238E27FC236}">
                <a16:creationId xmlns:a16="http://schemas.microsoft.com/office/drawing/2014/main" id="{550C29E5-AD0A-1A38-3A54-79902F148C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3136" y="1484313"/>
            <a:ext cx="3420001" cy="2251782"/>
          </a:xfrm>
          <a:prstGeom prst="roundRect">
            <a:avLst>
              <a:gd name="adj" fmla="val 1968"/>
            </a:avLst>
          </a:prstGeom>
          <a:solidFill>
            <a:schemeClr val="accent2"/>
          </a:solidFill>
          <a:effectLst/>
        </p:spPr>
        <p:txBody>
          <a:bodyPr lIns="360000" tIns="180000" rIns="360000" bIns="1800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55024EE-ED41-23E4-D6DF-B61F42B219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804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1 : 6 Icons : 6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>
            <a:extLst>
              <a:ext uri="{FF2B5EF4-FFF2-40B4-BE49-F238E27FC236}">
                <a16:creationId xmlns:a16="http://schemas.microsoft.com/office/drawing/2014/main" id="{A9ACF289-960C-B8A3-3AC1-922A39C904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DD39A238-34E5-2DB6-20D5-CE2C12F855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C5DA8D53-50E2-9231-9FA6-A534CC5BAD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4536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18" name="Icon 6">
            <a:extLst>
              <a:ext uri="{FF2B5EF4-FFF2-40B4-BE49-F238E27FC236}">
                <a16:creationId xmlns:a16="http://schemas.microsoft.com/office/drawing/2014/main" id="{49D83825-0292-3B29-C602-F353CE1D6DDF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18863" y="3924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4536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nl-NL" noProof="0"/>
          </a:p>
        </p:txBody>
      </p:sp>
      <p:sp>
        <p:nvSpPr>
          <p:cNvPr id="19" name="Icon 5">
            <a:extLst>
              <a:ext uri="{FF2B5EF4-FFF2-40B4-BE49-F238E27FC236}">
                <a16:creationId xmlns:a16="http://schemas.microsoft.com/office/drawing/2014/main" id="{8733BC2E-04A1-0E30-9605-EAFAC19E888D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379432" y="3924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4536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20" name="Icon 4">
            <a:extLst>
              <a:ext uri="{FF2B5EF4-FFF2-40B4-BE49-F238E27FC236}">
                <a16:creationId xmlns:a16="http://schemas.microsoft.com/office/drawing/2014/main" id="{454BDB5F-930C-C204-3745-6B675B0D1FED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40000" y="3924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2088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16" name="Icon 3">
            <a:extLst>
              <a:ext uri="{FF2B5EF4-FFF2-40B4-BE49-F238E27FC236}">
                <a16:creationId xmlns:a16="http://schemas.microsoft.com/office/drawing/2014/main" id="{778D2EDF-3B43-FFAE-82A8-D3282374085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218863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2088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nl-NL" noProof="0"/>
          </a:p>
        </p:txBody>
      </p:sp>
      <p:sp>
        <p:nvSpPr>
          <p:cNvPr id="12" name="Icon 2">
            <a:extLst>
              <a:ext uri="{FF2B5EF4-FFF2-40B4-BE49-F238E27FC236}">
                <a16:creationId xmlns:a16="http://schemas.microsoft.com/office/drawing/2014/main" id="{233BAFF2-9C91-CD91-2A3C-35502D80CD15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379432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2088000"/>
            <a:ext cx="3420000" cy="1656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9" name="Icon 1">
            <a:extLst>
              <a:ext uri="{FF2B5EF4-FFF2-40B4-BE49-F238E27FC236}">
                <a16:creationId xmlns:a16="http://schemas.microsoft.com/office/drawing/2014/main" id="{33EE2071-A4F9-F16E-515D-B338908F809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40000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8E79C167-0DDF-C758-833F-88131E67FD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43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31a : 6 Icons : 6 contents vertical : 5 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>
            <a:extLst>
              <a:ext uri="{FF2B5EF4-FFF2-40B4-BE49-F238E27FC236}">
                <a16:creationId xmlns:a16="http://schemas.microsoft.com/office/drawing/2014/main" id="{A9ACF289-960C-B8A3-3AC1-922A39C904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DD39A238-34E5-2DB6-20D5-CE2C12F855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C5DA8D53-50E2-9231-9FA6-A534CC5BAD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4" name="content 6">
            <a:extLst>
              <a:ext uri="{FF2B5EF4-FFF2-40B4-BE49-F238E27FC236}">
                <a16:creationId xmlns:a16="http://schemas.microsoft.com/office/drawing/2014/main" id="{F7A4AFB9-B2C3-2648-FA1E-F5404C982F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9840687" y="2205850"/>
            <a:ext cx="1800000" cy="396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35" name="Icon 6">
            <a:extLst>
              <a:ext uri="{FF2B5EF4-FFF2-40B4-BE49-F238E27FC236}">
                <a16:creationId xmlns:a16="http://schemas.microsoft.com/office/drawing/2014/main" id="{822B3CB8-ED61-1808-6266-0634F5404102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9840687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content 5">
            <a:extLst>
              <a:ext uri="{FF2B5EF4-FFF2-40B4-BE49-F238E27FC236}">
                <a16:creationId xmlns:a16="http://schemas.microsoft.com/office/drawing/2014/main" id="{7061A03E-E0D3-4843-278C-9A6825A05BE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7980548" y="2205850"/>
            <a:ext cx="1800000" cy="396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33" name="Icon 5">
            <a:extLst>
              <a:ext uri="{FF2B5EF4-FFF2-40B4-BE49-F238E27FC236}">
                <a16:creationId xmlns:a16="http://schemas.microsoft.com/office/drawing/2014/main" id="{00EFF7EE-7A3C-08F8-A84B-FB932F1FB1D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980548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content 4">
            <a:extLst>
              <a:ext uri="{FF2B5EF4-FFF2-40B4-BE49-F238E27FC236}">
                <a16:creationId xmlns:a16="http://schemas.microsoft.com/office/drawing/2014/main" id="{92E5967C-C1AC-3474-98B8-8B39D5A9BC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120411" y="2205850"/>
            <a:ext cx="1800000" cy="396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31" name="Icon 4">
            <a:extLst>
              <a:ext uri="{FF2B5EF4-FFF2-40B4-BE49-F238E27FC236}">
                <a16:creationId xmlns:a16="http://schemas.microsoft.com/office/drawing/2014/main" id="{62186A82-1AD6-577A-F072-1A5465E3718B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120411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8" name="content 3">
            <a:extLst>
              <a:ext uri="{FF2B5EF4-FFF2-40B4-BE49-F238E27FC236}">
                <a16:creationId xmlns:a16="http://schemas.microsoft.com/office/drawing/2014/main" id="{88D8A0D9-6C1D-B75B-D0E5-0E8334FDD092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260274" y="2205850"/>
            <a:ext cx="1800000" cy="396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29" name="Icon 3">
            <a:extLst>
              <a:ext uri="{FF2B5EF4-FFF2-40B4-BE49-F238E27FC236}">
                <a16:creationId xmlns:a16="http://schemas.microsoft.com/office/drawing/2014/main" id="{43C6AD31-445E-CEFF-4D01-A97B0D022B4D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260274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6" name="content 2">
            <a:extLst>
              <a:ext uri="{FF2B5EF4-FFF2-40B4-BE49-F238E27FC236}">
                <a16:creationId xmlns:a16="http://schemas.microsoft.com/office/drawing/2014/main" id="{925AF7DB-133B-617C-8686-E2FB5878406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400137" y="2205850"/>
            <a:ext cx="1800000" cy="396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27" name="Icon 2">
            <a:extLst>
              <a:ext uri="{FF2B5EF4-FFF2-40B4-BE49-F238E27FC236}">
                <a16:creationId xmlns:a16="http://schemas.microsoft.com/office/drawing/2014/main" id="{FCB99B04-0957-6FB6-09DD-3D6F211329D7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2400137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2205850"/>
            <a:ext cx="1800000" cy="396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9" name="Icon 1">
            <a:extLst>
              <a:ext uri="{FF2B5EF4-FFF2-40B4-BE49-F238E27FC236}">
                <a16:creationId xmlns:a16="http://schemas.microsoft.com/office/drawing/2014/main" id="{33EE2071-A4F9-F16E-515D-B338908F809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40000" y="147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8E79C167-0DDF-C758-833F-88131E67FD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830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2 : map : 8 content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37672E6B-D56A-9FDA-8DA1-98B1D23FA1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7222DFE1-BC04-B8AC-5461-17073F0DC3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6DD1CB9A-21EB-DD32-CC17-503D2123C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8" name="content 8">
            <a:extLst>
              <a:ext uri="{FF2B5EF4-FFF2-40B4-BE49-F238E27FC236}">
                <a16:creationId xmlns:a16="http://schemas.microsoft.com/office/drawing/2014/main" id="{518B5815-FAF1-382A-90D5-5E2A36D98686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10536343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6" name="content 7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08291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0" name="content 6">
            <a:extLst>
              <a:ext uri="{FF2B5EF4-FFF2-40B4-BE49-F238E27FC236}">
                <a16:creationId xmlns:a16="http://schemas.microsoft.com/office/drawing/2014/main" id="{1F4D443D-5AA5-A727-9590-E25C5752F890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7680242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4" name="content 5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52193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BBC2B3C5-519E-7447-E8AE-4CE6264B8271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824144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3" name="content 3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96095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5" name="content 2">
            <a:extLst>
              <a:ext uri="{FF2B5EF4-FFF2-40B4-BE49-F238E27FC236}">
                <a16:creationId xmlns:a16="http://schemas.microsoft.com/office/drawing/2014/main" id="{B8111F2A-6B01-4671-279E-B12FFC0DADB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968046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5pPr>
              <a:defRPr lang="en-US" dirty="0"/>
            </a:lvl5pPr>
          </a:lstStyle>
          <a:p>
            <a:pPr lvl="0"/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7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7283CE9D-9870-A915-832E-B264A8B01E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379703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33 : 8 logo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A3AFCC88-0942-2B4E-9F33-76D6C3BFA8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FEBA2A75-F427-C296-FEA8-F79E540072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BFF897E0-A2D1-3E0D-EB48-AF3C638E21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4" name="bg 8">
            <a:extLst>
              <a:ext uri="{FF2B5EF4-FFF2-40B4-BE49-F238E27FC236}">
                <a16:creationId xmlns:a16="http://schemas.microsoft.com/office/drawing/2014/main" id="{798E3A3B-0F96-5231-F93C-20C93AD0DDDB}"/>
              </a:ext>
            </a:extLst>
          </p:cNvPr>
          <p:cNvSpPr>
            <a:spLocks noGrp="1"/>
          </p:cNvSpPr>
          <p:nvPr>
            <p:ph type="body" idx="57" hasCustomPrompt="1"/>
          </p:nvPr>
        </p:nvSpPr>
        <p:spPr>
          <a:xfrm>
            <a:off x="9108000" y="4727579"/>
            <a:ext cx="2520000" cy="1440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5" name="logo placeholder 8">
            <a:extLst>
              <a:ext uri="{FF2B5EF4-FFF2-40B4-BE49-F238E27FC236}">
                <a16:creationId xmlns:a16="http://schemas.microsoft.com/office/drawing/2014/main" id="{464FBB89-38A9-A152-EF87-B014A3C3504C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9684000" y="5177579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2" name="bg 7">
            <a:extLst>
              <a:ext uri="{FF2B5EF4-FFF2-40B4-BE49-F238E27FC236}">
                <a16:creationId xmlns:a16="http://schemas.microsoft.com/office/drawing/2014/main" id="{8555F016-E89A-612F-9BF6-19DCA33D9A7B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6255621" y="4727579"/>
            <a:ext cx="2520000" cy="1440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3" name="logo placeholder 7">
            <a:extLst>
              <a:ext uri="{FF2B5EF4-FFF2-40B4-BE49-F238E27FC236}">
                <a16:creationId xmlns:a16="http://schemas.microsoft.com/office/drawing/2014/main" id="{E473467E-4A35-36E3-83E5-96CD9C835CA4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6831621" y="5177579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36" name="bg 6">
            <a:extLst>
              <a:ext uri="{FF2B5EF4-FFF2-40B4-BE49-F238E27FC236}">
                <a16:creationId xmlns:a16="http://schemas.microsoft.com/office/drawing/2014/main" id="{7C11DA8E-A99A-C329-7460-AE56A9B9F31D}"/>
              </a:ext>
            </a:extLst>
          </p:cNvPr>
          <p:cNvSpPr>
            <a:spLocks noGrp="1"/>
          </p:cNvSpPr>
          <p:nvPr>
            <p:ph type="body" idx="53" hasCustomPrompt="1"/>
          </p:nvPr>
        </p:nvSpPr>
        <p:spPr>
          <a:xfrm>
            <a:off x="3400526" y="4727579"/>
            <a:ext cx="2520000" cy="1440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7" name="logo placeholder 6">
            <a:extLst>
              <a:ext uri="{FF2B5EF4-FFF2-40B4-BE49-F238E27FC236}">
                <a16:creationId xmlns:a16="http://schemas.microsoft.com/office/drawing/2014/main" id="{09068B7D-F7DF-3D38-FCD8-5376466AED7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976526" y="5177579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2" name="bg 5">
            <a:extLst>
              <a:ext uri="{FF2B5EF4-FFF2-40B4-BE49-F238E27FC236}">
                <a16:creationId xmlns:a16="http://schemas.microsoft.com/office/drawing/2014/main" id="{FFACDF31-97FC-D3EC-DA88-672D82A6CD00}"/>
              </a:ext>
            </a:extLst>
          </p:cNvPr>
          <p:cNvSpPr>
            <a:spLocks noGrp="1"/>
          </p:cNvSpPr>
          <p:nvPr>
            <p:ph type="body" idx="49" hasCustomPrompt="1"/>
          </p:nvPr>
        </p:nvSpPr>
        <p:spPr>
          <a:xfrm>
            <a:off x="540000" y="4727579"/>
            <a:ext cx="2520000" cy="1440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logo placeholder 5">
            <a:extLst>
              <a:ext uri="{FF2B5EF4-FFF2-40B4-BE49-F238E27FC236}">
                <a16:creationId xmlns:a16="http://schemas.microsoft.com/office/drawing/2014/main" id="{C52F9749-023E-F9B9-1016-F2ED8BA56178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116000" y="5177579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53" name="bg 4">
            <a:extLst>
              <a:ext uri="{FF2B5EF4-FFF2-40B4-BE49-F238E27FC236}">
                <a16:creationId xmlns:a16="http://schemas.microsoft.com/office/drawing/2014/main" id="{601DEF52-7D74-9304-2866-D934720448A1}"/>
              </a:ext>
            </a:extLst>
          </p:cNvPr>
          <p:cNvSpPr>
            <a:spLocks noGrp="1"/>
          </p:cNvSpPr>
          <p:nvPr>
            <p:ph type="body" idx="65" hasCustomPrompt="1"/>
          </p:nvPr>
        </p:nvSpPr>
        <p:spPr>
          <a:xfrm>
            <a:off x="9108000" y="2922972"/>
            <a:ext cx="2520000" cy="1440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4" name="logo placeholder 4">
            <a:extLst>
              <a:ext uri="{FF2B5EF4-FFF2-40B4-BE49-F238E27FC236}">
                <a16:creationId xmlns:a16="http://schemas.microsoft.com/office/drawing/2014/main" id="{CC776A6E-2018-2F8D-D574-45FB8EC69F8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9684000" y="3372972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51" name="bg 3">
            <a:extLst>
              <a:ext uri="{FF2B5EF4-FFF2-40B4-BE49-F238E27FC236}">
                <a16:creationId xmlns:a16="http://schemas.microsoft.com/office/drawing/2014/main" id="{90FF352D-6277-5E1B-C1CD-841493BDA38E}"/>
              </a:ext>
            </a:extLst>
          </p:cNvPr>
          <p:cNvSpPr>
            <a:spLocks noGrp="1"/>
          </p:cNvSpPr>
          <p:nvPr>
            <p:ph type="body" idx="63" hasCustomPrompt="1"/>
          </p:nvPr>
        </p:nvSpPr>
        <p:spPr>
          <a:xfrm>
            <a:off x="6255621" y="2922972"/>
            <a:ext cx="2520000" cy="1440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2" name="logo placeholder 3">
            <a:extLst>
              <a:ext uri="{FF2B5EF4-FFF2-40B4-BE49-F238E27FC236}">
                <a16:creationId xmlns:a16="http://schemas.microsoft.com/office/drawing/2014/main" id="{7F2643F3-3E6A-D50B-15D4-0AC553260C10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6831621" y="3372972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9" name="bg 2">
            <a:extLst>
              <a:ext uri="{FF2B5EF4-FFF2-40B4-BE49-F238E27FC236}">
                <a16:creationId xmlns:a16="http://schemas.microsoft.com/office/drawing/2014/main" id="{8271526C-032C-9312-2D01-DE88E536D62A}"/>
              </a:ext>
            </a:extLst>
          </p:cNvPr>
          <p:cNvSpPr>
            <a:spLocks noGrp="1"/>
          </p:cNvSpPr>
          <p:nvPr>
            <p:ph type="body" idx="61" hasCustomPrompt="1"/>
          </p:nvPr>
        </p:nvSpPr>
        <p:spPr>
          <a:xfrm>
            <a:off x="3400526" y="2922972"/>
            <a:ext cx="2520000" cy="1440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0" name="logo placeholder 2">
            <a:extLst>
              <a:ext uri="{FF2B5EF4-FFF2-40B4-BE49-F238E27FC236}">
                <a16:creationId xmlns:a16="http://schemas.microsoft.com/office/drawing/2014/main" id="{BCB99A0E-B2C9-A6FB-1AC8-48C395038955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976526" y="3372972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7" name="bg 1">
            <a:extLst>
              <a:ext uri="{FF2B5EF4-FFF2-40B4-BE49-F238E27FC236}">
                <a16:creationId xmlns:a16="http://schemas.microsoft.com/office/drawing/2014/main" id="{5F485D5F-DCC0-A778-AAB3-9A229AD87CE6}"/>
              </a:ext>
            </a:extLst>
          </p:cNvPr>
          <p:cNvSpPr>
            <a:spLocks noGrp="1"/>
          </p:cNvSpPr>
          <p:nvPr>
            <p:ph type="body" idx="59" hasCustomPrompt="1"/>
          </p:nvPr>
        </p:nvSpPr>
        <p:spPr>
          <a:xfrm>
            <a:off x="540000" y="2922972"/>
            <a:ext cx="2520000" cy="1440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logo placeholder 1">
            <a:extLst>
              <a:ext uri="{FF2B5EF4-FFF2-40B4-BE49-F238E27FC236}">
                <a16:creationId xmlns:a16="http://schemas.microsoft.com/office/drawing/2014/main" id="{FB7F0871-2D86-D57B-F44D-26C39C15F7DD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1116000" y="3372972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FDF1F3F5-35AF-218A-96C9-50E5DFCBA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79893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34 : 15 logo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27864EB8-4E56-85B9-09A4-A8CDAC1D1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457849FC-F19D-3246-E4A3-0B33A1E267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5" name="date">
            <a:extLst>
              <a:ext uri="{FF2B5EF4-FFF2-40B4-BE49-F238E27FC236}">
                <a16:creationId xmlns:a16="http://schemas.microsoft.com/office/drawing/2014/main" id="{16D7681B-6A09-BE53-1C5E-32ECBACA06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5" name="bg 15">
            <a:extLst>
              <a:ext uri="{FF2B5EF4-FFF2-40B4-BE49-F238E27FC236}">
                <a16:creationId xmlns:a16="http://schemas.microsoft.com/office/drawing/2014/main" id="{9C59C73B-27AB-FA21-B165-B9AADA68AC8E}"/>
              </a:ext>
            </a:extLst>
          </p:cNvPr>
          <p:cNvSpPr>
            <a:spLocks noGrp="1"/>
          </p:cNvSpPr>
          <p:nvPr>
            <p:ph type="body" idx="69" hasCustomPrompt="1"/>
          </p:nvPr>
        </p:nvSpPr>
        <p:spPr>
          <a:xfrm>
            <a:off x="9636000" y="5008404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2E890C8E-9507-C2EE-FD9D-070CE31733E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948700" y="531440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8" name="bg 14">
            <a:extLst>
              <a:ext uri="{FF2B5EF4-FFF2-40B4-BE49-F238E27FC236}">
                <a16:creationId xmlns:a16="http://schemas.microsoft.com/office/drawing/2014/main" id="{0679E6A9-C8F5-6513-42E5-3A0D9E1DCD9A}"/>
              </a:ext>
            </a:extLst>
          </p:cNvPr>
          <p:cNvSpPr>
            <a:spLocks noGrp="1"/>
          </p:cNvSpPr>
          <p:nvPr>
            <p:ph type="body" idx="70" hasCustomPrompt="1"/>
          </p:nvPr>
        </p:nvSpPr>
        <p:spPr>
          <a:xfrm>
            <a:off x="7362000" y="5008404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8" name="picture placeholder 14">
            <a:extLst>
              <a:ext uri="{FF2B5EF4-FFF2-40B4-BE49-F238E27FC236}">
                <a16:creationId xmlns:a16="http://schemas.microsoft.com/office/drawing/2014/main" id="{B813425A-0B5A-A6C1-9B5C-BA7BF0CBC71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77525" y="531440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31" name="bg 13">
            <a:extLst>
              <a:ext uri="{FF2B5EF4-FFF2-40B4-BE49-F238E27FC236}">
                <a16:creationId xmlns:a16="http://schemas.microsoft.com/office/drawing/2014/main" id="{1B1F3CCB-B9E2-1161-0D08-3F1A1DA3A7E8}"/>
              </a:ext>
            </a:extLst>
          </p:cNvPr>
          <p:cNvSpPr>
            <a:spLocks noGrp="1"/>
          </p:cNvSpPr>
          <p:nvPr>
            <p:ph type="body" idx="71" hasCustomPrompt="1"/>
          </p:nvPr>
        </p:nvSpPr>
        <p:spPr>
          <a:xfrm>
            <a:off x="5088000" y="5008404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id="{2D846DC3-419F-48F8-0693-CE0C549D2F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406350" y="531440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32" name="bg 12">
            <a:extLst>
              <a:ext uri="{FF2B5EF4-FFF2-40B4-BE49-F238E27FC236}">
                <a16:creationId xmlns:a16="http://schemas.microsoft.com/office/drawing/2014/main" id="{B23E9E28-70D9-6C2E-F024-EB8B8A566431}"/>
              </a:ext>
            </a:extLst>
          </p:cNvPr>
          <p:cNvSpPr>
            <a:spLocks noGrp="1"/>
          </p:cNvSpPr>
          <p:nvPr>
            <p:ph type="body" idx="72" hasCustomPrompt="1"/>
          </p:nvPr>
        </p:nvSpPr>
        <p:spPr>
          <a:xfrm>
            <a:off x="2814000" y="5008404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97979B19-8D6D-216E-BB58-CC5DA169D86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135175" y="531440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53" name="bg 11">
            <a:extLst>
              <a:ext uri="{FF2B5EF4-FFF2-40B4-BE49-F238E27FC236}">
                <a16:creationId xmlns:a16="http://schemas.microsoft.com/office/drawing/2014/main" id="{8473370E-8F36-4320-8A70-A84A35407F2E}"/>
              </a:ext>
            </a:extLst>
          </p:cNvPr>
          <p:cNvSpPr>
            <a:spLocks noGrp="1"/>
          </p:cNvSpPr>
          <p:nvPr>
            <p:ph type="body" idx="73" hasCustomPrompt="1"/>
          </p:nvPr>
        </p:nvSpPr>
        <p:spPr>
          <a:xfrm>
            <a:off x="540000" y="5008404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6222EA8F-CAC8-E9BF-FF49-CFEA020DA8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64000" y="531440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4" name="bg 10">
            <a:extLst>
              <a:ext uri="{FF2B5EF4-FFF2-40B4-BE49-F238E27FC236}">
                <a16:creationId xmlns:a16="http://schemas.microsoft.com/office/drawing/2014/main" id="{48CB112A-528E-D64F-7544-E0C32EC2F81E}"/>
              </a:ext>
            </a:extLst>
          </p:cNvPr>
          <p:cNvSpPr>
            <a:spLocks noGrp="1"/>
          </p:cNvSpPr>
          <p:nvPr>
            <p:ph type="body" idx="65" hasCustomPrompt="1"/>
          </p:nvPr>
        </p:nvSpPr>
        <p:spPr>
          <a:xfrm>
            <a:off x="9636000" y="3508377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4" name="picture placeholder 10">
            <a:extLst>
              <a:ext uri="{FF2B5EF4-FFF2-40B4-BE49-F238E27FC236}">
                <a16:creationId xmlns:a16="http://schemas.microsoft.com/office/drawing/2014/main" id="{3415E750-564C-6C2E-8179-FB02127B1B2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48700" y="3799130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3" name="bg 9">
            <a:extLst>
              <a:ext uri="{FF2B5EF4-FFF2-40B4-BE49-F238E27FC236}">
                <a16:creationId xmlns:a16="http://schemas.microsoft.com/office/drawing/2014/main" id="{3CFD6598-1C91-8EF1-5101-3626EEF85578}"/>
              </a:ext>
            </a:extLst>
          </p:cNvPr>
          <p:cNvSpPr>
            <a:spLocks noGrp="1"/>
          </p:cNvSpPr>
          <p:nvPr>
            <p:ph type="body" idx="64" hasCustomPrompt="1"/>
          </p:nvPr>
        </p:nvSpPr>
        <p:spPr>
          <a:xfrm>
            <a:off x="7362000" y="3508377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EB0D8851-BDC9-F498-DD52-ED7CFE7E800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677525" y="3799130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4" name="bg 8">
            <a:extLst>
              <a:ext uri="{FF2B5EF4-FFF2-40B4-BE49-F238E27FC236}">
                <a16:creationId xmlns:a16="http://schemas.microsoft.com/office/drawing/2014/main" id="{50700239-BEBA-499D-6761-65168E3DA487}"/>
              </a:ext>
            </a:extLst>
          </p:cNvPr>
          <p:cNvSpPr>
            <a:spLocks noGrp="1"/>
          </p:cNvSpPr>
          <p:nvPr>
            <p:ph type="body" idx="68" hasCustomPrompt="1"/>
          </p:nvPr>
        </p:nvSpPr>
        <p:spPr>
          <a:xfrm>
            <a:off x="5088000" y="3508377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picture placeholder 8">
            <a:extLst>
              <a:ext uri="{FF2B5EF4-FFF2-40B4-BE49-F238E27FC236}">
                <a16:creationId xmlns:a16="http://schemas.microsoft.com/office/drawing/2014/main" id="{B2560046-7EB6-BDC9-1F54-A3979746E0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406350" y="3799130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8" name="bg 7">
            <a:extLst>
              <a:ext uri="{FF2B5EF4-FFF2-40B4-BE49-F238E27FC236}">
                <a16:creationId xmlns:a16="http://schemas.microsoft.com/office/drawing/2014/main" id="{744DCB1D-24F9-4208-762C-3A575E6FF002}"/>
              </a:ext>
            </a:extLst>
          </p:cNvPr>
          <p:cNvSpPr>
            <a:spLocks noGrp="1"/>
          </p:cNvSpPr>
          <p:nvPr>
            <p:ph type="body" idx="67" hasCustomPrompt="1"/>
          </p:nvPr>
        </p:nvSpPr>
        <p:spPr>
          <a:xfrm>
            <a:off x="2814000" y="3508377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0" name="picture placeholder7">
            <a:extLst>
              <a:ext uri="{FF2B5EF4-FFF2-40B4-BE49-F238E27FC236}">
                <a16:creationId xmlns:a16="http://schemas.microsoft.com/office/drawing/2014/main" id="{F76487B9-F4AF-E6A5-4443-382BCEB2EA6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135175" y="3799130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6" name="bg 6">
            <a:extLst>
              <a:ext uri="{FF2B5EF4-FFF2-40B4-BE49-F238E27FC236}">
                <a16:creationId xmlns:a16="http://schemas.microsoft.com/office/drawing/2014/main" id="{96C38C73-A108-3EF2-722F-04106FB538C5}"/>
              </a:ext>
            </a:extLst>
          </p:cNvPr>
          <p:cNvSpPr>
            <a:spLocks noGrp="1"/>
          </p:cNvSpPr>
          <p:nvPr>
            <p:ph type="body" idx="66" hasCustomPrompt="1"/>
          </p:nvPr>
        </p:nvSpPr>
        <p:spPr>
          <a:xfrm>
            <a:off x="540000" y="3508377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2" name="picture placeholder 6">
            <a:extLst>
              <a:ext uri="{FF2B5EF4-FFF2-40B4-BE49-F238E27FC236}">
                <a16:creationId xmlns:a16="http://schemas.microsoft.com/office/drawing/2014/main" id="{37E67FF7-7E9E-2FC2-5FA7-5201E3B205E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64000" y="3799130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1" name="bg 5">
            <a:extLst>
              <a:ext uri="{FF2B5EF4-FFF2-40B4-BE49-F238E27FC236}">
                <a16:creationId xmlns:a16="http://schemas.microsoft.com/office/drawing/2014/main" id="{6DCDBA46-AEB2-F81E-57E9-9C1C78EEB8AB}"/>
              </a:ext>
            </a:extLst>
          </p:cNvPr>
          <p:cNvSpPr>
            <a:spLocks noGrp="1"/>
          </p:cNvSpPr>
          <p:nvPr>
            <p:ph type="body" idx="63" hasCustomPrompt="1"/>
          </p:nvPr>
        </p:nvSpPr>
        <p:spPr>
          <a:xfrm>
            <a:off x="9636000" y="2008350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7CD0061E-2BC7-26C2-D8B4-92212BE5823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948700" y="227325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0" name="bg 4">
            <a:extLst>
              <a:ext uri="{FF2B5EF4-FFF2-40B4-BE49-F238E27FC236}">
                <a16:creationId xmlns:a16="http://schemas.microsoft.com/office/drawing/2014/main" id="{31F8E4D7-B534-0FBC-C9CF-2422A6E3DF27}"/>
              </a:ext>
            </a:extLst>
          </p:cNvPr>
          <p:cNvSpPr>
            <a:spLocks noGrp="1"/>
          </p:cNvSpPr>
          <p:nvPr>
            <p:ph type="body" idx="62" hasCustomPrompt="1"/>
          </p:nvPr>
        </p:nvSpPr>
        <p:spPr>
          <a:xfrm>
            <a:off x="7362000" y="2008350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AB01EAA0-DDCA-971B-4B4E-DE2A18542BA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77525" y="227325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9" name="bg 3">
            <a:extLst>
              <a:ext uri="{FF2B5EF4-FFF2-40B4-BE49-F238E27FC236}">
                <a16:creationId xmlns:a16="http://schemas.microsoft.com/office/drawing/2014/main" id="{40E5FDBF-BA47-8F74-6BC8-E5992999A106}"/>
              </a:ext>
            </a:extLst>
          </p:cNvPr>
          <p:cNvSpPr>
            <a:spLocks noGrp="1"/>
          </p:cNvSpPr>
          <p:nvPr>
            <p:ph type="body" idx="61" hasCustomPrompt="1"/>
          </p:nvPr>
        </p:nvSpPr>
        <p:spPr>
          <a:xfrm>
            <a:off x="5088000" y="2008350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E26C8068-7A2A-FA29-70EA-420517E4EF2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406350" y="227325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8" name="bg 2">
            <a:extLst>
              <a:ext uri="{FF2B5EF4-FFF2-40B4-BE49-F238E27FC236}">
                <a16:creationId xmlns:a16="http://schemas.microsoft.com/office/drawing/2014/main" id="{D9B6B73D-3F1B-0066-97B9-572BBE608CF4}"/>
              </a:ext>
            </a:extLst>
          </p:cNvPr>
          <p:cNvSpPr>
            <a:spLocks noGrp="1"/>
          </p:cNvSpPr>
          <p:nvPr>
            <p:ph type="body" idx="60" hasCustomPrompt="1"/>
          </p:nvPr>
        </p:nvSpPr>
        <p:spPr>
          <a:xfrm>
            <a:off x="2814000" y="2008350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52A6AD52-E1BF-37E8-9BBE-0A801AE80C5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135175" y="227325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6" name="bg 1">
            <a:extLst>
              <a:ext uri="{FF2B5EF4-FFF2-40B4-BE49-F238E27FC236}">
                <a16:creationId xmlns:a16="http://schemas.microsoft.com/office/drawing/2014/main" id="{DB4F04FE-E736-5194-E42B-AB77359C4318}"/>
              </a:ext>
            </a:extLst>
          </p:cNvPr>
          <p:cNvSpPr>
            <a:spLocks noGrp="1"/>
          </p:cNvSpPr>
          <p:nvPr>
            <p:ph type="body" idx="59" hasCustomPrompt="1"/>
          </p:nvPr>
        </p:nvSpPr>
        <p:spPr>
          <a:xfrm>
            <a:off x="540000" y="2008350"/>
            <a:ext cx="2016000" cy="115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2" name="picture placeholder 1">
            <a:extLst>
              <a:ext uri="{FF2B5EF4-FFF2-40B4-BE49-F238E27FC236}">
                <a16:creationId xmlns:a16="http://schemas.microsoft.com/office/drawing/2014/main" id="{E3468FD3-7243-81CD-BC4B-74253980B3D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64000" y="2273254"/>
            <a:ext cx="1368000" cy="54000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458179CF-D7D7-459E-377F-D528CB0C38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5032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34a : 4 gradients : 12 logo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B7DF5438-CE54-DB76-7519-6B492C35319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F49D278-F4EF-105E-D394-837DBAD3E5E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E6CEDB-A8CD-4A71-1981-445288A0659B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4" name="shadow 12">
            <a:extLst>
              <a:ext uri="{FF2B5EF4-FFF2-40B4-BE49-F238E27FC236}">
                <a16:creationId xmlns:a16="http://schemas.microsoft.com/office/drawing/2014/main" id="{7BA87915-76A6-AA9E-8FEC-843B267F996A}"/>
              </a:ext>
            </a:extLst>
          </p:cNvPr>
          <p:cNvSpPr txBox="1"/>
          <p:nvPr userDrawn="1"/>
        </p:nvSpPr>
        <p:spPr bwMode="auto">
          <a:xfrm>
            <a:off x="10296000" y="5149787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97" name="logo placeholder 12">
            <a:extLst>
              <a:ext uri="{FF2B5EF4-FFF2-40B4-BE49-F238E27FC236}">
                <a16:creationId xmlns:a16="http://schemas.microsoft.com/office/drawing/2014/main" id="{1125ADF2-7F3B-4366-BF76-9281D8AFE84D}"/>
              </a:ext>
            </a:extLst>
          </p:cNvPr>
          <p:cNvSpPr>
            <a:spLocks noGrp="1"/>
          </p:cNvSpPr>
          <p:nvPr userDrawn="1">
            <p:ph type="pic" sz="quarter" idx="41"/>
          </p:nvPr>
        </p:nvSpPr>
        <p:spPr>
          <a:xfrm>
            <a:off x="10567138" y="5325111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1" name="shadow 11">
            <a:extLst>
              <a:ext uri="{FF2B5EF4-FFF2-40B4-BE49-F238E27FC236}">
                <a16:creationId xmlns:a16="http://schemas.microsoft.com/office/drawing/2014/main" id="{0AA790C1-B2DE-E6E1-5BDD-AD1AC77D6DBA}"/>
              </a:ext>
            </a:extLst>
          </p:cNvPr>
          <p:cNvSpPr txBox="1"/>
          <p:nvPr userDrawn="1"/>
        </p:nvSpPr>
        <p:spPr bwMode="auto">
          <a:xfrm>
            <a:off x="8596076" y="5149787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99" name="logo placeholder 11">
            <a:extLst>
              <a:ext uri="{FF2B5EF4-FFF2-40B4-BE49-F238E27FC236}">
                <a16:creationId xmlns:a16="http://schemas.microsoft.com/office/drawing/2014/main" id="{4B193DB4-7BE9-7CD2-2779-83928D859BAE}"/>
              </a:ext>
            </a:extLst>
          </p:cNvPr>
          <p:cNvSpPr>
            <a:spLocks noGrp="1"/>
          </p:cNvSpPr>
          <p:nvPr userDrawn="1">
            <p:ph type="pic" sz="quarter" idx="42"/>
          </p:nvPr>
        </p:nvSpPr>
        <p:spPr>
          <a:xfrm>
            <a:off x="8843113" y="5325111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shadow 10">
            <a:extLst>
              <a:ext uri="{FF2B5EF4-FFF2-40B4-BE49-F238E27FC236}">
                <a16:creationId xmlns:a16="http://schemas.microsoft.com/office/drawing/2014/main" id="{C9348939-0276-960F-408F-62ABE12ABB2E}"/>
              </a:ext>
            </a:extLst>
          </p:cNvPr>
          <p:cNvSpPr txBox="1"/>
          <p:nvPr userDrawn="1"/>
        </p:nvSpPr>
        <p:spPr bwMode="auto">
          <a:xfrm>
            <a:off x="6896151" y="5149787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101" name="logo placeholder 10">
            <a:extLst>
              <a:ext uri="{FF2B5EF4-FFF2-40B4-BE49-F238E27FC236}">
                <a16:creationId xmlns:a16="http://schemas.microsoft.com/office/drawing/2014/main" id="{3CBFFEC2-79F3-CD75-DAF9-0389F3564703}"/>
              </a:ext>
            </a:extLst>
          </p:cNvPr>
          <p:cNvSpPr>
            <a:spLocks noGrp="1"/>
          </p:cNvSpPr>
          <p:nvPr userDrawn="1">
            <p:ph type="pic" sz="quarter" idx="43"/>
          </p:nvPr>
        </p:nvSpPr>
        <p:spPr>
          <a:xfrm>
            <a:off x="7157188" y="5325111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shadow 9">
            <a:extLst>
              <a:ext uri="{FF2B5EF4-FFF2-40B4-BE49-F238E27FC236}">
                <a16:creationId xmlns:a16="http://schemas.microsoft.com/office/drawing/2014/main" id="{448DD996-4C79-0B11-8386-F8FE0B5E8ED7}"/>
              </a:ext>
            </a:extLst>
          </p:cNvPr>
          <p:cNvSpPr txBox="1"/>
          <p:nvPr userDrawn="1"/>
        </p:nvSpPr>
        <p:spPr bwMode="auto">
          <a:xfrm>
            <a:off x="10296000" y="400002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89" name="logo placeholder 9">
            <a:extLst>
              <a:ext uri="{FF2B5EF4-FFF2-40B4-BE49-F238E27FC236}">
                <a16:creationId xmlns:a16="http://schemas.microsoft.com/office/drawing/2014/main" id="{89CFB8F1-963E-9795-2AB6-37335219BD87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10567138" y="4169323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shadow 8">
            <a:extLst>
              <a:ext uri="{FF2B5EF4-FFF2-40B4-BE49-F238E27FC236}">
                <a16:creationId xmlns:a16="http://schemas.microsoft.com/office/drawing/2014/main" id="{03633C2A-6A19-6F8D-E23E-5F30FC11CBFB}"/>
              </a:ext>
            </a:extLst>
          </p:cNvPr>
          <p:cNvSpPr txBox="1"/>
          <p:nvPr userDrawn="1"/>
        </p:nvSpPr>
        <p:spPr bwMode="auto">
          <a:xfrm>
            <a:off x="8596076" y="400002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91" name="logo placeholder 8">
            <a:extLst>
              <a:ext uri="{FF2B5EF4-FFF2-40B4-BE49-F238E27FC236}">
                <a16:creationId xmlns:a16="http://schemas.microsoft.com/office/drawing/2014/main" id="{D82004BE-7897-ED19-E2FA-A6EB83D50B21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8843113" y="4169323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shadow 7">
            <a:extLst>
              <a:ext uri="{FF2B5EF4-FFF2-40B4-BE49-F238E27FC236}">
                <a16:creationId xmlns:a16="http://schemas.microsoft.com/office/drawing/2014/main" id="{3DC9CA55-525B-79E7-E574-5A2569975ABC}"/>
              </a:ext>
            </a:extLst>
          </p:cNvPr>
          <p:cNvSpPr txBox="1"/>
          <p:nvPr userDrawn="1"/>
        </p:nvSpPr>
        <p:spPr bwMode="auto">
          <a:xfrm>
            <a:off x="6896151" y="400002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93" name="logo placeholder 7">
            <a:extLst>
              <a:ext uri="{FF2B5EF4-FFF2-40B4-BE49-F238E27FC236}">
                <a16:creationId xmlns:a16="http://schemas.microsoft.com/office/drawing/2014/main" id="{141E863E-D86F-4D0F-02BA-35830ADD0E04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157188" y="4169323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shadow 6">
            <a:extLst>
              <a:ext uri="{FF2B5EF4-FFF2-40B4-BE49-F238E27FC236}">
                <a16:creationId xmlns:a16="http://schemas.microsoft.com/office/drawing/2014/main" id="{745E4B94-5D5A-A08F-6BFF-191ADAADC2B9}"/>
              </a:ext>
            </a:extLst>
          </p:cNvPr>
          <p:cNvSpPr txBox="1"/>
          <p:nvPr userDrawn="1"/>
        </p:nvSpPr>
        <p:spPr bwMode="auto">
          <a:xfrm>
            <a:off x="10296000" y="287607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81" name="logo placeholder 6">
            <a:extLst>
              <a:ext uri="{FF2B5EF4-FFF2-40B4-BE49-F238E27FC236}">
                <a16:creationId xmlns:a16="http://schemas.microsoft.com/office/drawing/2014/main" id="{2742F88B-F2B8-3938-AEFA-13FAD75C5CB4}"/>
              </a:ext>
            </a:extLst>
          </p:cNvPr>
          <p:cNvSpPr>
            <a:spLocks noGrp="1"/>
          </p:cNvSpPr>
          <p:nvPr userDrawn="1">
            <p:ph type="pic" sz="quarter" idx="33"/>
          </p:nvPr>
        </p:nvSpPr>
        <p:spPr>
          <a:xfrm>
            <a:off x="10567138" y="3050750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shadow 5">
            <a:extLst>
              <a:ext uri="{FF2B5EF4-FFF2-40B4-BE49-F238E27FC236}">
                <a16:creationId xmlns:a16="http://schemas.microsoft.com/office/drawing/2014/main" id="{40983ABE-EDDB-721C-84BD-AD4C6E18443A}"/>
              </a:ext>
            </a:extLst>
          </p:cNvPr>
          <p:cNvSpPr txBox="1"/>
          <p:nvPr userDrawn="1"/>
        </p:nvSpPr>
        <p:spPr bwMode="auto">
          <a:xfrm>
            <a:off x="8596076" y="287607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83" name="logo placeholder 5">
            <a:extLst>
              <a:ext uri="{FF2B5EF4-FFF2-40B4-BE49-F238E27FC236}">
                <a16:creationId xmlns:a16="http://schemas.microsoft.com/office/drawing/2014/main" id="{05150DB6-4095-E54D-BF32-6D2966FB69E8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8843113" y="3050750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hadow 4">
            <a:extLst>
              <a:ext uri="{FF2B5EF4-FFF2-40B4-BE49-F238E27FC236}">
                <a16:creationId xmlns:a16="http://schemas.microsoft.com/office/drawing/2014/main" id="{3D534717-DB4D-58B9-12F4-DBA44E24BFF9}"/>
              </a:ext>
            </a:extLst>
          </p:cNvPr>
          <p:cNvSpPr txBox="1"/>
          <p:nvPr userDrawn="1"/>
        </p:nvSpPr>
        <p:spPr bwMode="auto">
          <a:xfrm>
            <a:off x="6896151" y="287607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85" name="logo placeholder 4">
            <a:extLst>
              <a:ext uri="{FF2B5EF4-FFF2-40B4-BE49-F238E27FC236}">
                <a16:creationId xmlns:a16="http://schemas.microsoft.com/office/drawing/2014/main" id="{D30CCF7D-673C-55D3-A468-D97F87EE006B}"/>
              </a:ext>
            </a:extLst>
          </p:cNvPr>
          <p:cNvSpPr>
            <a:spLocks noGrp="1"/>
          </p:cNvSpPr>
          <p:nvPr userDrawn="1">
            <p:ph type="pic" sz="quarter" idx="35"/>
          </p:nvPr>
        </p:nvSpPr>
        <p:spPr>
          <a:xfrm>
            <a:off x="7157188" y="3050750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hadow 3">
            <a:extLst>
              <a:ext uri="{FF2B5EF4-FFF2-40B4-BE49-F238E27FC236}">
                <a16:creationId xmlns:a16="http://schemas.microsoft.com/office/drawing/2014/main" id="{B8AEA00C-98DA-2D82-209F-6F35246301C2}"/>
              </a:ext>
            </a:extLst>
          </p:cNvPr>
          <p:cNvSpPr txBox="1"/>
          <p:nvPr userDrawn="1"/>
        </p:nvSpPr>
        <p:spPr bwMode="auto">
          <a:xfrm>
            <a:off x="10296000" y="173307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3" name="logo placeholder 3">
            <a:extLst>
              <a:ext uri="{FF2B5EF4-FFF2-40B4-BE49-F238E27FC236}">
                <a16:creationId xmlns:a16="http://schemas.microsoft.com/office/drawing/2014/main" id="{35EEE6D8-D74C-90B6-18D0-58976CD7A558}"/>
              </a:ext>
            </a:extLst>
          </p:cNvPr>
          <p:cNvSpPr>
            <a:spLocks noGrp="1"/>
          </p:cNvSpPr>
          <p:nvPr userDrawn="1">
            <p:ph type="pic" sz="quarter" idx="29"/>
          </p:nvPr>
        </p:nvSpPr>
        <p:spPr>
          <a:xfrm>
            <a:off x="10567138" y="1901016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hadow 2">
            <a:extLst>
              <a:ext uri="{FF2B5EF4-FFF2-40B4-BE49-F238E27FC236}">
                <a16:creationId xmlns:a16="http://schemas.microsoft.com/office/drawing/2014/main" id="{DFE9FFCC-55C3-8FB5-98B7-133EE47E5A14}"/>
              </a:ext>
            </a:extLst>
          </p:cNvPr>
          <p:cNvSpPr txBox="1"/>
          <p:nvPr userDrawn="1"/>
        </p:nvSpPr>
        <p:spPr bwMode="auto">
          <a:xfrm>
            <a:off x="8596076" y="173307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75" name="logo placeholder 2">
            <a:extLst>
              <a:ext uri="{FF2B5EF4-FFF2-40B4-BE49-F238E27FC236}">
                <a16:creationId xmlns:a16="http://schemas.microsoft.com/office/drawing/2014/main" id="{7E3449CE-B4DE-5C1A-9668-C6F8F9E0DD38}"/>
              </a:ext>
            </a:extLst>
          </p:cNvPr>
          <p:cNvSpPr>
            <a:spLocks noGrp="1"/>
          </p:cNvSpPr>
          <p:nvPr userDrawn="1">
            <p:ph type="pic" sz="quarter" idx="30"/>
          </p:nvPr>
        </p:nvSpPr>
        <p:spPr>
          <a:xfrm>
            <a:off x="8843113" y="1901016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shadow 1">
            <a:extLst>
              <a:ext uri="{FF2B5EF4-FFF2-40B4-BE49-F238E27FC236}">
                <a16:creationId xmlns:a16="http://schemas.microsoft.com/office/drawing/2014/main" id="{0C42C38B-EEB0-7C4F-8D02-3A4CCB70485D}"/>
              </a:ext>
            </a:extLst>
          </p:cNvPr>
          <p:cNvSpPr txBox="1"/>
          <p:nvPr userDrawn="1"/>
        </p:nvSpPr>
        <p:spPr bwMode="auto">
          <a:xfrm>
            <a:off x="6896151" y="1733072"/>
            <a:ext cx="1332000" cy="79200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77" name="logo placeholder 1">
            <a:extLst>
              <a:ext uri="{FF2B5EF4-FFF2-40B4-BE49-F238E27FC236}">
                <a16:creationId xmlns:a16="http://schemas.microsoft.com/office/drawing/2014/main" id="{D34CE9B8-818E-3DDB-F209-C7A33E0FDB0F}"/>
              </a:ext>
            </a:extLst>
          </p:cNvPr>
          <p:cNvSpPr>
            <a:spLocks noGrp="1"/>
          </p:cNvSpPr>
          <p:nvPr userDrawn="1">
            <p:ph type="pic" sz="quarter" idx="31"/>
          </p:nvPr>
        </p:nvSpPr>
        <p:spPr>
          <a:xfrm>
            <a:off x="7157188" y="1901016"/>
            <a:ext cx="816000" cy="43714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textbox 2 below">
            <a:extLst>
              <a:ext uri="{FF2B5EF4-FFF2-40B4-BE49-F238E27FC236}">
                <a16:creationId xmlns:a16="http://schemas.microsoft.com/office/drawing/2014/main" id="{F4FBAF76-6E8A-C307-3D11-6C501F523D55}"/>
              </a:ext>
            </a:extLst>
          </p:cNvPr>
          <p:cNvSpPr>
            <a:spLocks noGrp="1"/>
          </p:cNvSpPr>
          <p:nvPr userDrawn="1">
            <p:ph type="body" idx="68" hasCustomPrompt="1"/>
          </p:nvPr>
        </p:nvSpPr>
        <p:spPr>
          <a:xfrm>
            <a:off x="3520134" y="3886431"/>
            <a:ext cx="2880000" cy="2268000"/>
          </a:xfrm>
          <a:prstGeom prst="roundRect">
            <a:avLst>
              <a:gd name="adj" fmla="val 2335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44000" tIns="21600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0" spc="4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Testtext</a:t>
            </a:r>
          </a:p>
        </p:txBody>
      </p:sp>
      <p:sp>
        <p:nvSpPr>
          <p:cNvPr id="39" name="text 2 below">
            <a:extLst>
              <a:ext uri="{FF2B5EF4-FFF2-40B4-BE49-F238E27FC236}">
                <a16:creationId xmlns:a16="http://schemas.microsoft.com/office/drawing/2014/main" id="{29E1B6E4-DBE8-DEEE-A245-44ABA3FE0484}"/>
              </a:ext>
            </a:extLst>
          </p:cNvPr>
          <p:cNvSpPr>
            <a:spLocks noGrp="1"/>
          </p:cNvSpPr>
          <p:nvPr userDrawn="1">
            <p:ph type="body" sz="quarter" idx="69"/>
          </p:nvPr>
        </p:nvSpPr>
        <p:spPr>
          <a:xfrm>
            <a:off x="3747770" y="4761525"/>
            <a:ext cx="2520000" cy="1296000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>
              <a:defRPr lang="en-US" smtClean="0">
                <a:solidFill>
                  <a:schemeClr val="bg1"/>
                </a:solidFill>
              </a:defRPr>
            </a:lvl5pPr>
            <a:lvl6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7pPr>
            <a:lvl8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8pPr>
            <a:lvl9pPr>
              <a:defRPr lang="en-US" sz="1200" dirty="0">
                <a:solidFill>
                  <a:schemeClr val="bg1"/>
                </a:solidFill>
              </a:defRPr>
            </a:lvl9pPr>
          </a:lstStyle>
          <a:p>
            <a:pPr lvl="0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Second level</a:t>
            </a:r>
          </a:p>
          <a:p>
            <a:pPr lvl="2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Third level </a:t>
            </a:r>
          </a:p>
          <a:p>
            <a:pPr lvl="3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>
              <a:buClr>
                <a:schemeClr val="bg1"/>
              </a:buClr>
            </a:pPr>
            <a:r>
              <a:rPr lang="en-US"/>
              <a:t>Sixth level</a:t>
            </a:r>
          </a:p>
          <a:p>
            <a:pPr lvl="6">
              <a:buClr>
                <a:schemeClr val="bg1"/>
              </a:buClr>
            </a:pPr>
            <a:r>
              <a:rPr lang="en-US"/>
              <a:t>Seventh level</a:t>
            </a:r>
          </a:p>
          <a:p>
            <a:pPr lvl="7">
              <a:buClr>
                <a:schemeClr val="bg1"/>
              </a:buClr>
            </a:pPr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0" name="textbox 1 below">
            <a:extLst>
              <a:ext uri="{FF2B5EF4-FFF2-40B4-BE49-F238E27FC236}">
                <a16:creationId xmlns:a16="http://schemas.microsoft.com/office/drawing/2014/main" id="{1B1722B6-8450-B910-50A5-F10CA47EF28C}"/>
              </a:ext>
            </a:extLst>
          </p:cNvPr>
          <p:cNvSpPr>
            <a:spLocks noGrp="1"/>
          </p:cNvSpPr>
          <p:nvPr userDrawn="1">
            <p:ph type="body" idx="70" hasCustomPrompt="1"/>
          </p:nvPr>
        </p:nvSpPr>
        <p:spPr>
          <a:xfrm>
            <a:off x="540000" y="3886431"/>
            <a:ext cx="2880000" cy="2268000"/>
          </a:xfrm>
          <a:prstGeom prst="roundRect">
            <a:avLst>
              <a:gd name="adj" fmla="val 2335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44000" tIns="21600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0" spc="4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Testtext</a:t>
            </a:r>
          </a:p>
        </p:txBody>
      </p:sp>
      <p:sp>
        <p:nvSpPr>
          <p:cNvPr id="41" name="text 1 below">
            <a:extLst>
              <a:ext uri="{FF2B5EF4-FFF2-40B4-BE49-F238E27FC236}">
                <a16:creationId xmlns:a16="http://schemas.microsoft.com/office/drawing/2014/main" id="{7F42DA1E-E0D7-AB23-D6B2-5C71AFE302AF}"/>
              </a:ext>
            </a:extLst>
          </p:cNvPr>
          <p:cNvSpPr>
            <a:spLocks noGrp="1"/>
          </p:cNvSpPr>
          <p:nvPr userDrawn="1">
            <p:ph type="body" sz="quarter" idx="71"/>
          </p:nvPr>
        </p:nvSpPr>
        <p:spPr>
          <a:xfrm>
            <a:off x="770067" y="4761525"/>
            <a:ext cx="2520000" cy="1296000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>
              <a:defRPr lang="en-US" smtClean="0">
                <a:solidFill>
                  <a:schemeClr val="bg1"/>
                </a:solidFill>
              </a:defRPr>
            </a:lvl5pPr>
            <a:lvl6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7pPr>
            <a:lvl8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8pPr>
            <a:lvl9pPr>
              <a:defRPr lang="en-US" sz="1200" dirty="0">
                <a:solidFill>
                  <a:schemeClr val="bg1"/>
                </a:solidFill>
              </a:defRPr>
            </a:lvl9pPr>
          </a:lstStyle>
          <a:p>
            <a:pPr lvl="0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Second level</a:t>
            </a:r>
          </a:p>
          <a:p>
            <a:pPr lvl="2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Third level </a:t>
            </a:r>
          </a:p>
          <a:p>
            <a:pPr lvl="3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>
              <a:buClr>
                <a:schemeClr val="bg1"/>
              </a:buClr>
            </a:pPr>
            <a:r>
              <a:rPr lang="en-US"/>
              <a:t>Sixth level</a:t>
            </a:r>
          </a:p>
          <a:p>
            <a:pPr lvl="6">
              <a:buClr>
                <a:schemeClr val="bg1"/>
              </a:buClr>
            </a:pPr>
            <a:r>
              <a:rPr lang="en-US"/>
              <a:t>Seventh level</a:t>
            </a:r>
          </a:p>
          <a:p>
            <a:pPr lvl="7">
              <a:buClr>
                <a:schemeClr val="bg1"/>
              </a:buClr>
            </a:pPr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29" name="textbox 2">
            <a:extLst>
              <a:ext uri="{FF2B5EF4-FFF2-40B4-BE49-F238E27FC236}">
                <a16:creationId xmlns:a16="http://schemas.microsoft.com/office/drawing/2014/main" id="{EAC91221-6B27-61BA-286E-D5ECB006B892}"/>
              </a:ext>
            </a:extLst>
          </p:cNvPr>
          <p:cNvSpPr>
            <a:spLocks noGrp="1"/>
          </p:cNvSpPr>
          <p:nvPr userDrawn="1">
            <p:ph type="body" idx="62" hasCustomPrompt="1"/>
          </p:nvPr>
        </p:nvSpPr>
        <p:spPr>
          <a:xfrm>
            <a:off x="3520134" y="1484312"/>
            <a:ext cx="2880000" cy="2268000"/>
          </a:xfrm>
          <a:prstGeom prst="roundRect">
            <a:avLst>
              <a:gd name="adj" fmla="val 2335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44000" tIns="21600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0" spc="4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Testtext</a:t>
            </a:r>
          </a:p>
        </p:txBody>
      </p:sp>
      <p:sp>
        <p:nvSpPr>
          <p:cNvPr id="33" name="text 2">
            <a:extLst>
              <a:ext uri="{FF2B5EF4-FFF2-40B4-BE49-F238E27FC236}">
                <a16:creationId xmlns:a16="http://schemas.microsoft.com/office/drawing/2014/main" id="{4818C9A4-7108-350F-9A62-A637D9339E60}"/>
              </a:ext>
            </a:extLst>
          </p:cNvPr>
          <p:cNvSpPr>
            <a:spLocks noGrp="1"/>
          </p:cNvSpPr>
          <p:nvPr userDrawn="1">
            <p:ph type="body" sz="quarter" idx="65"/>
          </p:nvPr>
        </p:nvSpPr>
        <p:spPr>
          <a:xfrm>
            <a:off x="3747770" y="2359406"/>
            <a:ext cx="2520000" cy="1296000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>
              <a:defRPr lang="en-US" smtClean="0">
                <a:solidFill>
                  <a:schemeClr val="bg1"/>
                </a:solidFill>
              </a:defRPr>
            </a:lvl5pPr>
            <a:lvl6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7pPr>
            <a:lvl8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tabLst>
                <a:tab pos="182563" algn="l"/>
              </a:tabLst>
              <a:defRPr lang="en-US" sz="1200" b="0" i="0" kern="1200" baseline="0" noProof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8pPr>
            <a:lvl9pPr>
              <a:defRPr lang="en-US" sz="1200" dirty="0">
                <a:solidFill>
                  <a:schemeClr val="bg1"/>
                </a:solidFill>
              </a:defRPr>
            </a:lvl9pPr>
          </a:lstStyle>
          <a:p>
            <a:pPr lvl="0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Second level</a:t>
            </a:r>
          </a:p>
          <a:p>
            <a:pPr lvl="2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Third level </a:t>
            </a:r>
          </a:p>
          <a:p>
            <a:pPr lvl="3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>
              <a:buClr>
                <a:schemeClr val="bg1"/>
              </a:buClr>
            </a:pPr>
            <a:r>
              <a:rPr lang="en-US"/>
              <a:t>Sixth level</a:t>
            </a:r>
          </a:p>
          <a:p>
            <a:pPr lvl="6">
              <a:buClr>
                <a:schemeClr val="bg1"/>
              </a:buClr>
            </a:pPr>
            <a:r>
              <a:rPr lang="en-US"/>
              <a:t>Seventh level</a:t>
            </a:r>
          </a:p>
          <a:p>
            <a:pPr lvl="7">
              <a:buClr>
                <a:schemeClr val="bg1"/>
              </a:buClr>
            </a:pPr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41210209-2F8F-4A94-756B-386574596A9C}"/>
              </a:ext>
            </a:extLst>
          </p:cNvPr>
          <p:cNvSpPr>
            <a:spLocks noGrp="1"/>
          </p:cNvSpPr>
          <p:nvPr userDrawn="1">
            <p:ph type="body" idx="61" hasCustomPrompt="1"/>
          </p:nvPr>
        </p:nvSpPr>
        <p:spPr>
          <a:xfrm>
            <a:off x="540000" y="1484312"/>
            <a:ext cx="2880000" cy="2268000"/>
          </a:xfrm>
          <a:prstGeom prst="roundRect">
            <a:avLst>
              <a:gd name="adj" fmla="val 2335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44000" tIns="21600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0" spc="4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  <a:r>
              <a:rPr lang="en-US" err="1"/>
              <a:t>Testtext</a:t>
            </a:r>
            <a:endParaRPr lang="en-US"/>
          </a:p>
        </p:txBody>
      </p:sp>
      <p:sp>
        <p:nvSpPr>
          <p:cNvPr id="32" name="text 1">
            <a:extLst>
              <a:ext uri="{FF2B5EF4-FFF2-40B4-BE49-F238E27FC236}">
                <a16:creationId xmlns:a16="http://schemas.microsoft.com/office/drawing/2014/main" id="{A0ADE226-CB9B-D822-4EC3-AA0028471BB9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770067" y="2359406"/>
            <a:ext cx="2520000" cy="1296000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defRPr lang="en-US" sz="1200" i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2pPr>
            <a:lvl3pPr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3pPr>
            <a:lvl4pPr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defRPr lang="en-US" sz="1400" dirty="0">
                <a:solidFill>
                  <a:schemeClr val="bg1"/>
                </a:solidFill>
              </a:defRPr>
            </a:lvl5pPr>
            <a:lvl6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tabLst>
                <a:tab pos="182563" algn="l"/>
              </a:tabLst>
              <a:defRPr lang="en-US" sz="1200" b="0" i="0" kern="1200" baseline="0" noProof="0" dirty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tabLst>
                <a:tab pos="182563" algn="l"/>
              </a:tabLst>
              <a:defRPr lang="en-US" sz="1200" b="0" i="0" kern="1200" baseline="0" noProof="0" dirty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7pPr>
            <a:lvl8pPr algn="l" defTabSz="914400" rtl="0" eaLnBrk="1" latinLnBrk="0" hangingPunct="1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tabLst>
                <a:tab pos="182563" algn="l"/>
              </a:tabLst>
              <a:defRPr lang="en-US" sz="1200" b="0" i="0" kern="1200" baseline="0" noProof="0" dirty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8pPr>
            <a:lvl9pPr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8EF6F7E1-2A5B-2542-694E-DEE72349B05A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0D8B8A8A-402D-C8A1-B168-F98BC5DD2918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680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34b : citiation : 16 logo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B7DF5438-CE54-DB76-7519-6B492C3531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F49D278-F4EF-105E-D394-837DBAD3E5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E6CEDB-A8CD-4A71-1981-445288A065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5" name="bg 16">
            <a:extLst>
              <a:ext uri="{FF2B5EF4-FFF2-40B4-BE49-F238E27FC236}">
                <a16:creationId xmlns:a16="http://schemas.microsoft.com/office/drawing/2014/main" id="{874BD11E-D062-6F3E-55F2-D278D887157D}"/>
              </a:ext>
            </a:extLst>
          </p:cNvPr>
          <p:cNvSpPr>
            <a:spLocks noGrp="1"/>
          </p:cNvSpPr>
          <p:nvPr>
            <p:ph type="body" idx="60" hasCustomPrompt="1"/>
          </p:nvPr>
        </p:nvSpPr>
        <p:spPr>
          <a:xfrm>
            <a:off x="10309138" y="4908408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logo placeholder 16">
            <a:extLst>
              <a:ext uri="{FF2B5EF4-FFF2-40B4-BE49-F238E27FC236}">
                <a16:creationId xmlns:a16="http://schemas.microsoft.com/office/drawing/2014/main" id="{1125ADF2-7F3B-4366-BF76-9281D8AFE84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10567138" y="5085837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4" name="bg 15">
            <a:extLst>
              <a:ext uri="{FF2B5EF4-FFF2-40B4-BE49-F238E27FC236}">
                <a16:creationId xmlns:a16="http://schemas.microsoft.com/office/drawing/2014/main" id="{8AB765D9-C1DA-56A2-B57E-8C8826F3101A}"/>
              </a:ext>
            </a:extLst>
          </p:cNvPr>
          <p:cNvSpPr>
            <a:spLocks noGrp="1"/>
          </p:cNvSpPr>
          <p:nvPr>
            <p:ph type="body" idx="59" hasCustomPrompt="1"/>
          </p:nvPr>
        </p:nvSpPr>
        <p:spPr>
          <a:xfrm>
            <a:off x="8585113" y="4908408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9" name="logo placeholder 15">
            <a:extLst>
              <a:ext uri="{FF2B5EF4-FFF2-40B4-BE49-F238E27FC236}">
                <a16:creationId xmlns:a16="http://schemas.microsoft.com/office/drawing/2014/main" id="{4B193DB4-7BE9-7CD2-2779-83928D859BA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843113" y="5085837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3" name="bg 14">
            <a:extLst>
              <a:ext uri="{FF2B5EF4-FFF2-40B4-BE49-F238E27FC236}">
                <a16:creationId xmlns:a16="http://schemas.microsoft.com/office/drawing/2014/main" id="{8291102F-A4A7-23DF-E987-68DDD979FB43}"/>
              </a:ext>
            </a:extLst>
          </p:cNvPr>
          <p:cNvSpPr>
            <a:spLocks noGrp="1"/>
          </p:cNvSpPr>
          <p:nvPr>
            <p:ph type="body" idx="58" hasCustomPrompt="1"/>
          </p:nvPr>
        </p:nvSpPr>
        <p:spPr>
          <a:xfrm>
            <a:off x="6899188" y="4908408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1" name="logo placeholder 14">
            <a:extLst>
              <a:ext uri="{FF2B5EF4-FFF2-40B4-BE49-F238E27FC236}">
                <a16:creationId xmlns:a16="http://schemas.microsoft.com/office/drawing/2014/main" id="{3CBFFEC2-79F3-CD75-DAF9-0389F3564703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7157188" y="5085837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bg 13">
            <a:extLst>
              <a:ext uri="{FF2B5EF4-FFF2-40B4-BE49-F238E27FC236}">
                <a16:creationId xmlns:a16="http://schemas.microsoft.com/office/drawing/2014/main" id="{80F67097-1CE7-57C7-C97E-0847968D942E}"/>
              </a:ext>
            </a:extLst>
          </p:cNvPr>
          <p:cNvSpPr>
            <a:spLocks noGrp="1"/>
          </p:cNvSpPr>
          <p:nvPr>
            <p:ph type="body" idx="57" hasCustomPrompt="1"/>
          </p:nvPr>
        </p:nvSpPr>
        <p:spPr>
          <a:xfrm>
            <a:off x="5167916" y="4908408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3" name="logo placeholder 13">
            <a:extLst>
              <a:ext uri="{FF2B5EF4-FFF2-40B4-BE49-F238E27FC236}">
                <a16:creationId xmlns:a16="http://schemas.microsoft.com/office/drawing/2014/main" id="{F113B359-3B0D-4694-4348-739B99E52E68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425916" y="5085837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1" name="bg 12">
            <a:extLst>
              <a:ext uri="{FF2B5EF4-FFF2-40B4-BE49-F238E27FC236}">
                <a16:creationId xmlns:a16="http://schemas.microsoft.com/office/drawing/2014/main" id="{89DC6826-536C-A61C-C318-0E093D85845B}"/>
              </a:ext>
            </a:extLst>
          </p:cNvPr>
          <p:cNvSpPr>
            <a:spLocks noGrp="1"/>
          </p:cNvSpPr>
          <p:nvPr>
            <p:ph type="body" idx="56" hasCustomPrompt="1"/>
          </p:nvPr>
        </p:nvSpPr>
        <p:spPr>
          <a:xfrm>
            <a:off x="10309138" y="3752620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9" name="logo placeholder 12">
            <a:extLst>
              <a:ext uri="{FF2B5EF4-FFF2-40B4-BE49-F238E27FC236}">
                <a16:creationId xmlns:a16="http://schemas.microsoft.com/office/drawing/2014/main" id="{89CFB8F1-963E-9795-2AB6-37335219BD8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0567138" y="3930049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0" name="bg 11">
            <a:extLst>
              <a:ext uri="{FF2B5EF4-FFF2-40B4-BE49-F238E27FC236}">
                <a16:creationId xmlns:a16="http://schemas.microsoft.com/office/drawing/2014/main" id="{302CA566-790B-AAF4-C53F-603BE626018C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8585113" y="3752620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1" name="logo placeholder 11">
            <a:extLst>
              <a:ext uri="{FF2B5EF4-FFF2-40B4-BE49-F238E27FC236}">
                <a16:creationId xmlns:a16="http://schemas.microsoft.com/office/drawing/2014/main" id="{D82004BE-7897-ED19-E2FA-A6EB83D50B2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843113" y="3930049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9" name="bg 10">
            <a:extLst>
              <a:ext uri="{FF2B5EF4-FFF2-40B4-BE49-F238E27FC236}">
                <a16:creationId xmlns:a16="http://schemas.microsoft.com/office/drawing/2014/main" id="{DD60A014-645C-4647-396D-A5B27710E681}"/>
              </a:ext>
            </a:extLst>
          </p:cNvPr>
          <p:cNvSpPr>
            <a:spLocks noGrp="1"/>
          </p:cNvSpPr>
          <p:nvPr>
            <p:ph type="body" idx="54" hasCustomPrompt="1"/>
          </p:nvPr>
        </p:nvSpPr>
        <p:spPr>
          <a:xfrm>
            <a:off x="6899188" y="3752620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3" name="logo placeholder 10">
            <a:extLst>
              <a:ext uri="{FF2B5EF4-FFF2-40B4-BE49-F238E27FC236}">
                <a16:creationId xmlns:a16="http://schemas.microsoft.com/office/drawing/2014/main" id="{141E863E-D86F-4D0F-02BA-35830ADD0E0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157188" y="3930049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8" name="bg 9">
            <a:extLst>
              <a:ext uri="{FF2B5EF4-FFF2-40B4-BE49-F238E27FC236}">
                <a16:creationId xmlns:a16="http://schemas.microsoft.com/office/drawing/2014/main" id="{A419D360-8F09-2C9B-808E-89115C166B85}"/>
              </a:ext>
            </a:extLst>
          </p:cNvPr>
          <p:cNvSpPr>
            <a:spLocks noGrp="1"/>
          </p:cNvSpPr>
          <p:nvPr>
            <p:ph type="body" idx="53" hasCustomPrompt="1"/>
          </p:nvPr>
        </p:nvSpPr>
        <p:spPr>
          <a:xfrm>
            <a:off x="5167916" y="3752620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5" name="logo placeholder 9">
            <a:extLst>
              <a:ext uri="{FF2B5EF4-FFF2-40B4-BE49-F238E27FC236}">
                <a16:creationId xmlns:a16="http://schemas.microsoft.com/office/drawing/2014/main" id="{A707DA6A-00FC-2E55-4B58-C515F774758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5425916" y="3930049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7" name="bg 8">
            <a:extLst>
              <a:ext uri="{FF2B5EF4-FFF2-40B4-BE49-F238E27FC236}">
                <a16:creationId xmlns:a16="http://schemas.microsoft.com/office/drawing/2014/main" id="{2F1957E5-8FBD-66A6-6EF8-D1682FBCD472}"/>
              </a:ext>
            </a:extLst>
          </p:cNvPr>
          <p:cNvSpPr>
            <a:spLocks noGrp="1"/>
          </p:cNvSpPr>
          <p:nvPr>
            <p:ph type="body" idx="52" hasCustomPrompt="1"/>
          </p:nvPr>
        </p:nvSpPr>
        <p:spPr>
          <a:xfrm>
            <a:off x="10309138" y="2634047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1" name="logo placeholder 8">
            <a:extLst>
              <a:ext uri="{FF2B5EF4-FFF2-40B4-BE49-F238E27FC236}">
                <a16:creationId xmlns:a16="http://schemas.microsoft.com/office/drawing/2014/main" id="{2742F88B-F2B8-3938-AEFA-13FAD75C5CB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0567138" y="2811476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6" name="bg 7">
            <a:extLst>
              <a:ext uri="{FF2B5EF4-FFF2-40B4-BE49-F238E27FC236}">
                <a16:creationId xmlns:a16="http://schemas.microsoft.com/office/drawing/2014/main" id="{B5A7949C-DB69-EA74-D08C-832266508987}"/>
              </a:ext>
            </a:extLst>
          </p:cNvPr>
          <p:cNvSpPr>
            <a:spLocks noGrp="1"/>
          </p:cNvSpPr>
          <p:nvPr>
            <p:ph type="body" idx="51" hasCustomPrompt="1"/>
          </p:nvPr>
        </p:nvSpPr>
        <p:spPr>
          <a:xfrm>
            <a:off x="8585113" y="2634047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3" name="logo placeholder 7">
            <a:extLst>
              <a:ext uri="{FF2B5EF4-FFF2-40B4-BE49-F238E27FC236}">
                <a16:creationId xmlns:a16="http://schemas.microsoft.com/office/drawing/2014/main" id="{05150DB6-4095-E54D-BF32-6D2966FB69E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843113" y="2811476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5" name="bg 6">
            <a:extLst>
              <a:ext uri="{FF2B5EF4-FFF2-40B4-BE49-F238E27FC236}">
                <a16:creationId xmlns:a16="http://schemas.microsoft.com/office/drawing/2014/main" id="{B6643F99-4B27-9E06-3CB2-6EB4F9F92BC8}"/>
              </a:ext>
            </a:extLst>
          </p:cNvPr>
          <p:cNvSpPr>
            <a:spLocks noGrp="1"/>
          </p:cNvSpPr>
          <p:nvPr>
            <p:ph type="body" idx="50" hasCustomPrompt="1"/>
          </p:nvPr>
        </p:nvSpPr>
        <p:spPr>
          <a:xfrm>
            <a:off x="6899188" y="2634047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5" name="logo placeholder 6">
            <a:extLst>
              <a:ext uri="{FF2B5EF4-FFF2-40B4-BE49-F238E27FC236}">
                <a16:creationId xmlns:a16="http://schemas.microsoft.com/office/drawing/2014/main" id="{D30CCF7D-673C-55D3-A468-D97F87EE006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157188" y="2811476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8" name="bg 5">
            <a:extLst>
              <a:ext uri="{FF2B5EF4-FFF2-40B4-BE49-F238E27FC236}">
                <a16:creationId xmlns:a16="http://schemas.microsoft.com/office/drawing/2014/main" id="{52C754B6-E39D-BFC3-EF8B-A82297063826}"/>
              </a:ext>
            </a:extLst>
          </p:cNvPr>
          <p:cNvSpPr>
            <a:spLocks noGrp="1"/>
          </p:cNvSpPr>
          <p:nvPr>
            <p:ph type="body" idx="49" hasCustomPrompt="1"/>
          </p:nvPr>
        </p:nvSpPr>
        <p:spPr>
          <a:xfrm>
            <a:off x="5167916" y="2634047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7" name="logo placeholder 5">
            <a:extLst>
              <a:ext uri="{FF2B5EF4-FFF2-40B4-BE49-F238E27FC236}">
                <a16:creationId xmlns:a16="http://schemas.microsoft.com/office/drawing/2014/main" id="{14EE79C8-1695-CEBE-76D4-0FB8EB61A33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425916" y="2811476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4" name="bg 4">
            <a:extLst>
              <a:ext uri="{FF2B5EF4-FFF2-40B4-BE49-F238E27FC236}">
                <a16:creationId xmlns:a16="http://schemas.microsoft.com/office/drawing/2014/main" id="{6DA49C04-E434-9490-D601-B73AC154ED21}"/>
              </a:ext>
            </a:extLst>
          </p:cNvPr>
          <p:cNvSpPr>
            <a:spLocks noGrp="1"/>
          </p:cNvSpPr>
          <p:nvPr>
            <p:ph type="body" idx="48" hasCustomPrompt="1"/>
          </p:nvPr>
        </p:nvSpPr>
        <p:spPr>
          <a:xfrm>
            <a:off x="10309138" y="1484313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3" name="logo placeholder 4">
            <a:extLst>
              <a:ext uri="{FF2B5EF4-FFF2-40B4-BE49-F238E27FC236}">
                <a16:creationId xmlns:a16="http://schemas.microsoft.com/office/drawing/2014/main" id="{35EEE6D8-D74C-90B6-18D0-58976CD7A55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567138" y="1661742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1" name="bg 3">
            <a:extLst>
              <a:ext uri="{FF2B5EF4-FFF2-40B4-BE49-F238E27FC236}">
                <a16:creationId xmlns:a16="http://schemas.microsoft.com/office/drawing/2014/main" id="{EEDB5C89-515E-5DD5-416E-E0CF2E462DAC}"/>
              </a:ext>
            </a:extLst>
          </p:cNvPr>
          <p:cNvSpPr>
            <a:spLocks noGrp="1"/>
          </p:cNvSpPr>
          <p:nvPr>
            <p:ph type="body" idx="47" hasCustomPrompt="1"/>
          </p:nvPr>
        </p:nvSpPr>
        <p:spPr>
          <a:xfrm>
            <a:off x="8585113" y="1484313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5" name="logo placeholder 3">
            <a:extLst>
              <a:ext uri="{FF2B5EF4-FFF2-40B4-BE49-F238E27FC236}">
                <a16:creationId xmlns:a16="http://schemas.microsoft.com/office/drawing/2014/main" id="{7E3449CE-B4DE-5C1A-9668-C6F8F9E0DD3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843113" y="1661742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9" name="bg 2">
            <a:extLst>
              <a:ext uri="{FF2B5EF4-FFF2-40B4-BE49-F238E27FC236}">
                <a16:creationId xmlns:a16="http://schemas.microsoft.com/office/drawing/2014/main" id="{CAF1A436-24E9-836A-02BA-EB5325F9CD24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6899188" y="1484313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logo placeholder 2">
            <a:extLst>
              <a:ext uri="{FF2B5EF4-FFF2-40B4-BE49-F238E27FC236}">
                <a16:creationId xmlns:a16="http://schemas.microsoft.com/office/drawing/2014/main" id="{D34CE9B8-818E-3DDB-F209-C7A33E0FDB0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57188" y="1661742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6" name="bg 1">
            <a:extLst>
              <a:ext uri="{FF2B5EF4-FFF2-40B4-BE49-F238E27FC236}">
                <a16:creationId xmlns:a16="http://schemas.microsoft.com/office/drawing/2014/main" id="{AA362D31-8E31-4B44-0CC0-00BA36C0C98C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5167916" y="1484313"/>
            <a:ext cx="1332000" cy="792000"/>
          </a:xfrm>
          <a:prstGeom prst="roundRect">
            <a:avLst>
              <a:gd name="adj" fmla="val 2335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9" name="logo placeholder 1">
            <a:extLst>
              <a:ext uri="{FF2B5EF4-FFF2-40B4-BE49-F238E27FC236}">
                <a16:creationId xmlns:a16="http://schemas.microsoft.com/office/drawing/2014/main" id="{39884650-5323-73EB-025E-43D4C2B46049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5425916" y="1661742"/>
            <a:ext cx="816000" cy="43714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ext box">
            <a:extLst>
              <a:ext uri="{FF2B5EF4-FFF2-40B4-BE49-F238E27FC236}">
                <a16:creationId xmlns:a16="http://schemas.microsoft.com/office/drawing/2014/main" id="{3127AFCB-564D-C99A-02C5-7E817ED71F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620712"/>
            <a:ext cx="4212028" cy="5545837"/>
          </a:xfrm>
          <a:prstGeom prst="roundRect">
            <a:avLst>
              <a:gd name="adj" fmla="val 1968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540000" tIns="432000" rIns="540000" anchor="t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algn="ctr"/>
            <a:endParaRPr lang="de-DE" sz="3200" b="1">
              <a:solidFill>
                <a:schemeClr val="bg2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" name="quote sign">
            <a:extLst>
              <a:ext uri="{FF2B5EF4-FFF2-40B4-BE49-F238E27FC236}">
                <a16:creationId xmlns:a16="http://schemas.microsoft.com/office/drawing/2014/main" id="{97FE4737-22BE-D975-BF5B-83A7D52CF5D7}"/>
              </a:ext>
            </a:extLst>
          </p:cNvPr>
          <p:cNvSpPr/>
          <p:nvPr userDrawn="1"/>
        </p:nvSpPr>
        <p:spPr>
          <a:xfrm>
            <a:off x="903658" y="861601"/>
            <a:ext cx="681460" cy="576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xt below">
            <a:extLst>
              <a:ext uri="{FF2B5EF4-FFF2-40B4-BE49-F238E27FC236}">
                <a16:creationId xmlns:a16="http://schemas.microsoft.com/office/drawing/2014/main" id="{E27A12E3-EEA6-DB51-37EE-952D75E5F3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16876" y="3259551"/>
            <a:ext cx="2880000" cy="2376000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t">
            <a:noAutofit/>
          </a:bodyPr>
          <a:lstStyle>
            <a:lvl1pPr>
              <a:defRPr lang="en-US" sz="1200" i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3pPr>
            <a:lvl4pPr>
              <a:defRPr lang="en-US" sz="1200" dirty="0">
                <a:solidFill>
                  <a:schemeClr val="bg1"/>
                </a:solidFill>
              </a:defRPr>
            </a:lvl4pPr>
            <a:lvl5pPr>
              <a:defRPr lang="en-US" sz="1600" dirty="0">
                <a:solidFill>
                  <a:schemeClr val="bg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0D8B8A8A-402D-C8A1-B168-F98BC5DD29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7724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8 : title small : 3 pictures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034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>
            <a:extLst>
              <a:ext uri="{FF2B5EF4-FFF2-40B4-BE49-F238E27FC236}">
                <a16:creationId xmlns:a16="http://schemas.microsoft.com/office/drawing/2014/main" id="{43A8C717-4722-397F-A0C8-433FF5FE6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FBD8772-FE66-8FDF-84A4-30F5BE97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E99FB28A-22AA-994E-7043-22AAEC7A3A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4" name="content">
            <a:extLst>
              <a:ext uri="{FF2B5EF4-FFF2-40B4-BE49-F238E27FC236}">
                <a16:creationId xmlns:a16="http://schemas.microsoft.com/office/drawing/2014/main" id="{BAD52ADE-440B-F73C-8384-4062C1392F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939478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3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34972" y="-180000"/>
            <a:ext cx="2700000" cy="32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3" name="content">
            <a:extLst>
              <a:ext uri="{FF2B5EF4-FFF2-40B4-BE49-F238E27FC236}">
                <a16:creationId xmlns:a16="http://schemas.microsoft.com/office/drawing/2014/main" id="{36EDB524-3828-3196-B148-EA4D6A28C4C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79652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picture 2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87486" y="-180000"/>
            <a:ext cx="2700000" cy="32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19825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picture 1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0000" y="-180000"/>
            <a:ext cx="2700000" cy="3240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1" name="subtitle colored">
            <a:extLst>
              <a:ext uri="{FF2B5EF4-FFF2-40B4-BE49-F238E27FC236}">
                <a16:creationId xmlns:a16="http://schemas.microsoft.com/office/drawing/2014/main" id="{EE4F1825-9269-3164-D5CF-9080D1FE03C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9999" y="3148551"/>
            <a:ext cx="2520000" cy="300745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lang="en-US" sz="2400" spc="0" baseline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ts val="2800"/>
              </a:lnSpc>
              <a:spcBef>
                <a:spcPct val="0"/>
              </a:spcBef>
              <a:tabLst>
                <a:tab pos="10760075" algn="r"/>
              </a:tabLst>
            </a:pPr>
            <a:r>
              <a:rPr lang="de-DE"/>
              <a:t>Mastertextformat bearbeiten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2519999" cy="2507398"/>
          </a:xfrm>
        </p:spPr>
        <p:txBody>
          <a:bodyPr vert="horz" anchor="b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D6AF56D-58A3-40A6-7508-E33636848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25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840906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5 : 9 texts : 9 subtexts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">
            <a:extLst>
              <a:ext uri="{FF2B5EF4-FFF2-40B4-BE49-F238E27FC236}">
                <a16:creationId xmlns:a16="http://schemas.microsoft.com/office/drawing/2014/main" id="{4EDD90E2-7D27-01D2-E549-61AA512422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4C379F78-EEFB-61C0-EFF4-B2B0EB7AA9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2" name="date">
            <a:extLst>
              <a:ext uri="{FF2B5EF4-FFF2-40B4-BE49-F238E27FC236}">
                <a16:creationId xmlns:a16="http://schemas.microsoft.com/office/drawing/2014/main" id="{39A2B28A-0BE2-76F0-E9F0-A9CB1C16FA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5" name="text 9">
            <a:extLst>
              <a:ext uri="{FF2B5EF4-FFF2-40B4-BE49-F238E27FC236}">
                <a16:creationId xmlns:a16="http://schemas.microsoft.com/office/drawing/2014/main" id="{66A3462E-C486-481A-21E6-0F68EBD51B9F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8293138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9" name="text 8">
            <a:extLst>
              <a:ext uri="{FF2B5EF4-FFF2-40B4-BE49-F238E27FC236}">
                <a16:creationId xmlns:a16="http://schemas.microsoft.com/office/drawing/2014/main" id="{0CE0BC1D-D256-6F58-D0E2-B49E48E01908}"/>
              </a:ext>
            </a:extLst>
          </p:cNvPr>
          <p:cNvSpPr>
            <a:spLocks noGrp="1"/>
          </p:cNvSpPr>
          <p:nvPr>
            <p:ph type="body" idx="48"/>
          </p:nvPr>
        </p:nvSpPr>
        <p:spPr>
          <a:xfrm>
            <a:off x="4549138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8" name="text 7">
            <a:extLst>
              <a:ext uri="{FF2B5EF4-FFF2-40B4-BE49-F238E27FC236}">
                <a16:creationId xmlns:a16="http://schemas.microsoft.com/office/drawing/2014/main" id="{4286180F-18BA-96F9-0338-BC3BCC1C3BF1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851996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7" name="text 6">
            <a:extLst>
              <a:ext uri="{FF2B5EF4-FFF2-40B4-BE49-F238E27FC236}">
                <a16:creationId xmlns:a16="http://schemas.microsoft.com/office/drawing/2014/main" id="{FA2EA2AE-37E9-3C8B-0FB6-5605ED402655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8293138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6" name="text 5">
            <a:extLst>
              <a:ext uri="{FF2B5EF4-FFF2-40B4-BE49-F238E27FC236}">
                <a16:creationId xmlns:a16="http://schemas.microsoft.com/office/drawing/2014/main" id="{C0E17200-E0A1-E7DF-9AC9-E70558F0E115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4549138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5" name="text 4">
            <a:extLst>
              <a:ext uri="{FF2B5EF4-FFF2-40B4-BE49-F238E27FC236}">
                <a16:creationId xmlns:a16="http://schemas.microsoft.com/office/drawing/2014/main" id="{534CD5F5-02DD-F1D1-5093-97A671F920C8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851996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4" name="text 3">
            <a:extLst>
              <a:ext uri="{FF2B5EF4-FFF2-40B4-BE49-F238E27FC236}">
                <a16:creationId xmlns:a16="http://schemas.microsoft.com/office/drawing/2014/main" id="{7810A71F-77E2-A86A-AC75-1289914984B5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8293138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2" name="text 2">
            <a:extLst>
              <a:ext uri="{FF2B5EF4-FFF2-40B4-BE49-F238E27FC236}">
                <a16:creationId xmlns:a16="http://schemas.microsoft.com/office/drawing/2014/main" id="{9F50B442-010B-5F54-4DC4-C86FE80AE092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4549138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99949031-B22E-AA1C-EED8-1CB03BD65C03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851996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519A8DE-5D27-118F-DCF9-2A48373C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6" name="navigation">
            <a:extLst>
              <a:ext uri="{FF2B5EF4-FFF2-40B4-BE49-F238E27FC236}">
                <a16:creationId xmlns:a16="http://schemas.microsoft.com/office/drawing/2014/main" id="{3435F76F-05FA-0797-ECF7-8C6766ACF8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339579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6 : full page picture : 1 gradientextcircle : 2 oval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full size">
            <a:extLst>
              <a:ext uri="{FF2B5EF4-FFF2-40B4-BE49-F238E27FC236}">
                <a16:creationId xmlns:a16="http://schemas.microsoft.com/office/drawing/2014/main" id="{940ECA07-E3D7-CFCA-C677-0BD690AD1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  <a:solidFill>
            <a:schemeClr val="bg1"/>
          </a:solidFill>
          <a:ln w="3175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82825752-3B68-DCA6-D70E-76EBF0465B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CC9A477D-5A61-55EA-5B62-A43CEB429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C779AB2A-12B9-D58C-7C6A-E4F2B83542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" name="logo placeholder">
            <a:extLst>
              <a:ext uri="{FF2B5EF4-FFF2-40B4-BE49-F238E27FC236}">
                <a16:creationId xmlns:a16="http://schemas.microsoft.com/office/drawing/2014/main" id="{D57049B8-749E-2B11-2F57-B8905BF5862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4" name="text oval right">
            <a:extLst>
              <a:ext uri="{FF2B5EF4-FFF2-40B4-BE49-F238E27FC236}">
                <a16:creationId xmlns:a16="http://schemas.microsoft.com/office/drawing/2014/main" id="{D77C710B-9746-E994-9BDC-7999D1E292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22495" y="2808000"/>
            <a:ext cx="4680000" cy="19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260000" bIns="0" rtlCol="0" anchor="ctr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/>
              <a:t>Fifth level</a:t>
            </a:r>
          </a:p>
        </p:txBody>
      </p:sp>
      <p:sp>
        <p:nvSpPr>
          <p:cNvPr id="11" name="text oval left">
            <a:extLst>
              <a:ext uri="{FF2B5EF4-FFF2-40B4-BE49-F238E27FC236}">
                <a16:creationId xmlns:a16="http://schemas.microsoft.com/office/drawing/2014/main" id="{A2CE80B2-8B9A-D0FB-C427-6D3137DAE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85495" y="2808000"/>
            <a:ext cx="4140000" cy="19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/>
              <a:t>Fifth level</a:t>
            </a:r>
          </a:p>
        </p:txBody>
      </p:sp>
      <p:sp>
        <p:nvSpPr>
          <p:cNvPr id="15" name="text circle">
            <a:extLst>
              <a:ext uri="{FF2B5EF4-FFF2-40B4-BE49-F238E27FC236}">
                <a16:creationId xmlns:a16="http://schemas.microsoft.com/office/drawing/2014/main" id="{3C8F43FB-572A-C67D-FEEB-4E1A842D7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31317" y="2628000"/>
            <a:ext cx="2340000" cy="2340000"/>
          </a:xfrm>
          <a:prstGeom prst="flowChartConnector">
            <a:avLst/>
          </a:prstGeom>
          <a:solidFill>
            <a:schemeClr val="bg1"/>
          </a:solidFill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04138522-C695-4395-F275-BCB54A94B6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67037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36a : full page picture : circle : 3 oval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full size">
            <a:extLst>
              <a:ext uri="{FF2B5EF4-FFF2-40B4-BE49-F238E27FC236}">
                <a16:creationId xmlns:a16="http://schemas.microsoft.com/office/drawing/2014/main" id="{F6E1902A-473C-3F19-AAE4-9B651FE77A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2000" y="-12700"/>
            <a:ext cx="12204000" cy="6870700"/>
          </a:xfrm>
          <a:solidFill>
            <a:schemeClr val="bg1"/>
          </a:solidFill>
          <a:ln w="3175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Bild</a:t>
            </a:r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82825752-3B68-DCA6-D70E-76EBF0465B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CC9A477D-5A61-55EA-5B62-A43CEB429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C779AB2A-12B9-D58C-7C6A-E4F2B83542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4" name="logo placeholder">
            <a:extLst>
              <a:ext uri="{FF2B5EF4-FFF2-40B4-BE49-F238E27FC236}">
                <a16:creationId xmlns:a16="http://schemas.microsoft.com/office/drawing/2014/main" id="{E9BCCCA7-B9AF-F498-40C4-869BA49F955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3E6AA0F0-30F8-5088-2044-347A632077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25137" y="4627545"/>
            <a:ext cx="7128000" cy="900000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4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</a:defRPr>
            </a:lvl2pPr>
            <a:lvl3pPr>
              <a:defRPr lang="en-US" sz="14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9" name="text 2">
            <a:extLst>
              <a:ext uri="{FF2B5EF4-FFF2-40B4-BE49-F238E27FC236}">
                <a16:creationId xmlns:a16="http://schemas.microsoft.com/office/drawing/2014/main" id="{57DAAD7C-B3E0-4642-94DB-417D92D974B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5137" y="3351882"/>
            <a:ext cx="7128000" cy="900000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4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</a:defRPr>
            </a:lvl2pPr>
            <a:lvl3pPr>
              <a:defRPr lang="en-US" sz="14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ext 1">
            <a:extLst>
              <a:ext uri="{FF2B5EF4-FFF2-40B4-BE49-F238E27FC236}">
                <a16:creationId xmlns:a16="http://schemas.microsoft.com/office/drawing/2014/main" id="{F2463AE6-9794-D7A8-A678-315AD5F33D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25137" y="2076218"/>
            <a:ext cx="7128000" cy="900000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4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</a:defRPr>
            </a:lvl2pPr>
            <a:lvl3pPr>
              <a:defRPr lang="en-US" sz="14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8" name="circle">
            <a:extLst>
              <a:ext uri="{FF2B5EF4-FFF2-40B4-BE49-F238E27FC236}">
                <a16:creationId xmlns:a16="http://schemas.microsoft.com/office/drawing/2014/main" id="{4BF98BFE-CCD8-B635-3FD5-A9F3F3E61F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628000"/>
            <a:ext cx="2340000" cy="2340000"/>
          </a:xfrm>
          <a:prstGeom prst="flowChartConnector">
            <a:avLst/>
          </a:prstGeom>
          <a:noFill/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cxnSp>
        <p:nvCxnSpPr>
          <p:cNvPr id="19" name="Gewinkelte Verbindung 9">
            <a:extLst>
              <a:ext uri="{FF2B5EF4-FFF2-40B4-BE49-F238E27FC236}">
                <a16:creationId xmlns:a16="http://schemas.microsoft.com/office/drawing/2014/main" id="{62C4CD96-ED4A-60EB-5AC4-6B3D5997C359}"/>
              </a:ext>
            </a:extLst>
          </p:cNvPr>
          <p:cNvCxnSpPr>
            <a:cxnSpLocks/>
            <a:stCxn id="8" idx="6"/>
            <a:endCxn id="16" idx="1"/>
          </p:cNvCxnSpPr>
          <p:nvPr userDrawn="1"/>
        </p:nvCxnSpPr>
        <p:spPr>
          <a:xfrm>
            <a:off x="2880000" y="3798000"/>
            <a:ext cx="1345137" cy="1279545"/>
          </a:xfrm>
          <a:prstGeom prst="bentConnector3">
            <a:avLst>
              <a:gd name="adj1" fmla="val 50000"/>
            </a:avLst>
          </a:prstGeom>
          <a:ln w="22225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winkelte Verbindung 7">
            <a:extLst>
              <a:ext uri="{FF2B5EF4-FFF2-40B4-BE49-F238E27FC236}">
                <a16:creationId xmlns:a16="http://schemas.microsoft.com/office/drawing/2014/main" id="{863812CE-E3F7-4AD8-BFAC-BC944F27BBB5}"/>
              </a:ext>
            </a:extLst>
          </p:cNvPr>
          <p:cNvCxnSpPr>
            <a:cxnSpLocks/>
            <a:stCxn id="8" idx="6"/>
            <a:endCxn id="6" idx="1"/>
          </p:cNvCxnSpPr>
          <p:nvPr userDrawn="1"/>
        </p:nvCxnSpPr>
        <p:spPr>
          <a:xfrm flipV="1">
            <a:off x="2880000" y="2526218"/>
            <a:ext cx="1345137" cy="1271782"/>
          </a:xfrm>
          <a:prstGeom prst="bentConnector3">
            <a:avLst>
              <a:gd name="adj1" fmla="val 50000"/>
            </a:avLst>
          </a:prstGeom>
          <a:ln w="1905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>
            <a:extLst>
              <a:ext uri="{FF2B5EF4-FFF2-40B4-BE49-F238E27FC236}">
                <a16:creationId xmlns:a16="http://schemas.microsoft.com/office/drawing/2014/main" id="{1ED48383-9E08-C202-05E0-9240EC448B39}"/>
              </a:ext>
            </a:extLst>
          </p:cNvPr>
          <p:cNvCxnSpPr>
            <a:cxnSpLocks/>
            <a:stCxn id="8" idx="6"/>
            <a:endCxn id="9" idx="1"/>
          </p:cNvCxnSpPr>
          <p:nvPr userDrawn="1"/>
        </p:nvCxnSpPr>
        <p:spPr>
          <a:xfrm>
            <a:off x="2880000" y="3798000"/>
            <a:ext cx="1345137" cy="3882"/>
          </a:xfrm>
          <a:prstGeom prst="line">
            <a:avLst/>
          </a:prstGeom>
          <a:ln w="1905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04138522-C695-4395-F275-BCB54A94B6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066596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37 : full page picture : cit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">
            <a:extLst>
              <a:ext uri="{FF2B5EF4-FFF2-40B4-BE49-F238E27FC236}">
                <a16:creationId xmlns:a16="http://schemas.microsoft.com/office/drawing/2014/main" id="{940ECA07-E3D7-CFCA-C677-0BD690AD1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B7DF5438-CE54-DB76-7519-6B492C3531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F49D278-F4EF-105E-D394-837DBAD3E5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E6CEDB-A8CD-4A71-1981-445288A065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" name="logo placeholder">
            <a:extLst>
              <a:ext uri="{FF2B5EF4-FFF2-40B4-BE49-F238E27FC236}">
                <a16:creationId xmlns:a16="http://schemas.microsoft.com/office/drawing/2014/main" id="{F34A17B4-9EFA-E101-8CCF-87C31702833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box">
            <a:extLst>
              <a:ext uri="{FF2B5EF4-FFF2-40B4-BE49-F238E27FC236}">
                <a16:creationId xmlns:a16="http://schemas.microsoft.com/office/drawing/2014/main" id="{3C8F43FB-572A-C67D-FEEB-4E1A842D7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620712"/>
            <a:ext cx="4212028" cy="5545837"/>
          </a:xfrm>
          <a:prstGeom prst="roundRect">
            <a:avLst>
              <a:gd name="adj" fmla="val 1968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540000" tIns="432000" rIns="540000" anchor="t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algn="ctr"/>
            <a:endParaRPr lang="de-DE" sz="3200" b="1">
              <a:solidFill>
                <a:schemeClr val="bg2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6" name="quote sign">
            <a:extLst>
              <a:ext uri="{FF2B5EF4-FFF2-40B4-BE49-F238E27FC236}">
                <a16:creationId xmlns:a16="http://schemas.microsoft.com/office/drawing/2014/main" id="{C5A90AA4-840E-FD16-AF55-175C0E43A9A5}"/>
              </a:ext>
            </a:extLst>
          </p:cNvPr>
          <p:cNvSpPr/>
          <p:nvPr/>
        </p:nvSpPr>
        <p:spPr>
          <a:xfrm>
            <a:off x="903658" y="861601"/>
            <a:ext cx="681460" cy="576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 below">
            <a:extLst>
              <a:ext uri="{FF2B5EF4-FFF2-40B4-BE49-F238E27FC236}">
                <a16:creationId xmlns:a16="http://schemas.microsoft.com/office/drawing/2014/main" id="{A2CE80B2-8B9A-D0FB-C427-6D3137DAE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16876" y="3259551"/>
            <a:ext cx="2880000" cy="2376000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t">
            <a:noAutofit/>
          </a:bodyPr>
          <a:lstStyle>
            <a:lvl1pPr>
              <a:defRPr lang="en-US" sz="1200" i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3pPr>
            <a:lvl4pPr>
              <a:defRPr lang="en-US" sz="1200" dirty="0">
                <a:solidFill>
                  <a:schemeClr val="bg1"/>
                </a:solidFill>
              </a:defRPr>
            </a:lvl4pPr>
            <a:lvl5pPr>
              <a:defRPr lang="en-US" sz="1600" dirty="0">
                <a:solidFill>
                  <a:schemeClr val="bg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37" name="citiation right">
            <a:extLst>
              <a:ext uri="{FF2B5EF4-FFF2-40B4-BE49-F238E27FC236}">
                <a16:creationId xmlns:a16="http://schemas.microsoft.com/office/drawing/2014/main" id="{04E48D07-1188-AE3A-D277-D5445D795FF0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888602" y="1989138"/>
            <a:ext cx="4752536" cy="417671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000" b="0" kern="1200" baseline="0" noProof="0" dirty="0" smtClean="0">
                <a:solidFill>
                  <a:schemeClr val="bg1"/>
                </a:solidFill>
                <a:latin typeface="Segoe UI Semibold" panose="020B0502040204020203" pitchFamily="34" charset="0"/>
                <a:ea typeface="Calibri" panose="020F0502020204030204" pitchFamily="34" charset="0"/>
                <a:cs typeface="Segoe UI Semibold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0D8B8A8A-402D-C8A1-B168-F98BC5DD29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461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7a : citiation large text :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full size">
            <a:extLst>
              <a:ext uri="{FF2B5EF4-FFF2-40B4-BE49-F238E27FC236}">
                <a16:creationId xmlns:a16="http://schemas.microsoft.com/office/drawing/2014/main" id="{23C638FC-BC3A-342E-0C98-F526F40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EDBA17E5-A876-6E6B-BBEE-4194613D4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">
            <a:extLst>
              <a:ext uri="{FF2B5EF4-FFF2-40B4-BE49-F238E27FC236}">
                <a16:creationId xmlns:a16="http://schemas.microsoft.com/office/drawing/2014/main" id="{FAA925A6-1C0D-E6FF-6BEF-B0D9DC0851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66863C84-EB36-E341-8913-58798A12DA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5" name="citiation right">
            <a:extLst>
              <a:ext uri="{FF2B5EF4-FFF2-40B4-BE49-F238E27FC236}">
                <a16:creationId xmlns:a16="http://schemas.microsoft.com/office/drawing/2014/main" id="{A4866143-830C-FF0D-2A28-1EC4A994D9BD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624455" y="1690469"/>
            <a:ext cx="4319999" cy="3979529"/>
          </a:xfrm>
          <a:prstGeom prst="roundRect">
            <a:avLst>
              <a:gd name="adj" fmla="val 134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792000" tIns="216000" rIns="792000" bIns="216000" anchor="ctr"/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0" name="quote sign">
            <a:extLst>
              <a:ext uri="{FF2B5EF4-FFF2-40B4-BE49-F238E27FC236}">
                <a16:creationId xmlns:a16="http://schemas.microsoft.com/office/drawing/2014/main" id="{D18DFA0B-61B2-AE97-4F3F-68EEA959D74B}"/>
              </a:ext>
            </a:extLst>
          </p:cNvPr>
          <p:cNvSpPr/>
          <p:nvPr/>
        </p:nvSpPr>
        <p:spPr>
          <a:xfrm>
            <a:off x="682294" y="1495240"/>
            <a:ext cx="1236994" cy="10466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citiation left">
            <a:extLst>
              <a:ext uri="{FF2B5EF4-FFF2-40B4-BE49-F238E27FC236}">
                <a16:creationId xmlns:a16="http://schemas.microsoft.com/office/drawing/2014/main" id="{A3635072-3A3F-1D94-8195-E86197AF679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539999" y="1799999"/>
            <a:ext cx="5580000" cy="3780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0" b="1" kern="1200" baseline="0" noProof="0" dirty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5400000" scaled="1"/>
                </a:gradFill>
                <a:latin typeface="Segoe UI Semibold" panose="020B0502040204020203" pitchFamily="34" charset="0"/>
                <a:ea typeface="Calibri" panose="020F0502020204030204" pitchFamily="34" charset="0"/>
                <a:cs typeface="Segoe UI Semibold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8AD8282-E041-B6A9-3DC9-7682010AF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11AA186C-0972-345D-F7FB-A611D12F0E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8597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8 : button : circle picture right : Icon :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id="{0948C084-3C49-6E92-DCE7-1A0796F0D702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2" name="picture">
            <a:extLst>
              <a:ext uri="{FF2B5EF4-FFF2-40B4-BE49-F238E27FC236}">
                <a16:creationId xmlns:a16="http://schemas.microsoft.com/office/drawing/2014/main" id="{E77A569B-F732-9AEF-CC11-01CD2C0334C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6712D566-0995-64A7-66F3-7FB1B2204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49076240-8AB9-3F65-C821-1D75377EA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4B85E798-6E3A-844A-0896-FCF20C1991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1" name="circle">
            <a:extLst>
              <a:ext uri="{FF2B5EF4-FFF2-40B4-BE49-F238E27FC236}">
                <a16:creationId xmlns:a16="http://schemas.microsoft.com/office/drawing/2014/main" id="{BC785D15-73D4-9F44-D7D8-DE973EA0353F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164997" y="2633900"/>
            <a:ext cx="1620000" cy="162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Icon">
            <a:extLst>
              <a:ext uri="{FF2B5EF4-FFF2-40B4-BE49-F238E27FC236}">
                <a16:creationId xmlns:a16="http://schemas.microsoft.com/office/drawing/2014/main" id="{08475AEA-7ACB-8822-C278-96007F06C2A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524997" y="2993900"/>
            <a:ext cx="900000" cy="90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endParaRPr lang="de-DE"/>
          </a:p>
        </p:txBody>
      </p:sp>
      <p:sp>
        <p:nvSpPr>
          <p:cNvPr id="18" name="link">
            <a:extLst>
              <a:ext uri="{FF2B5EF4-FFF2-40B4-BE49-F238E27FC236}">
                <a16:creationId xmlns:a16="http://schemas.microsoft.com/office/drawing/2014/main" id="{78CFD0F5-D130-0748-C27D-439E1A984A1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550863" y="3933473"/>
            <a:ext cx="1800000" cy="360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108000" tIns="0" rIns="108000" bIns="36000" rtlCol="0" anchor="ctr">
            <a:noAutofit/>
          </a:bodyPr>
          <a:lstStyle>
            <a:lvl1pPr algn="ctr">
              <a:defRPr lang="en-DE" sz="1200" cap="all" spc="4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/>
            <a:endParaRPr lang="de-DE"/>
          </a:p>
        </p:txBody>
      </p:sp>
      <p:sp>
        <p:nvSpPr>
          <p:cNvPr id="49" name="subhead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2649538"/>
            <a:ext cx="5400000" cy="1080000"/>
          </a:xfrm>
          <a:noFill/>
        </p:spPr>
        <p:txBody>
          <a:bodyPr vert="horz" lIns="0" tIns="0" rIns="0" bIns="0" rtlCol="0">
            <a:noAutofit/>
          </a:bodyPr>
          <a:lstStyle>
            <a:lvl1pPr algn="l">
              <a:lnSpc>
                <a:spcPct val="100000"/>
              </a:lnSpc>
              <a:defRPr lang="en-US" sz="14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de-DE"/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F5BB7C3B-9C68-9E36-993B-AE7ED29AE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0713"/>
            <a:ext cx="5400000" cy="1728787"/>
          </a:xfrm>
        </p:spPr>
        <p:txBody>
          <a:bodyPr vert="horz" anchor="b"/>
          <a:lstStyle>
            <a:lvl1pPr algn="l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928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9 : 60pt black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">
            <a:extLst>
              <a:ext uri="{FF2B5EF4-FFF2-40B4-BE49-F238E27FC236}">
                <a16:creationId xmlns:a16="http://schemas.microsoft.com/office/drawing/2014/main" id="{3A8A5451-BC54-CF66-45C7-1AAB95FB65A1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2F8D9B-DF69-555B-800C-8ADC4ADF18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C9D26DD4-C6C1-6BA0-335B-0C75BD8475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FCDC5009-F380-8E8C-EB3C-6FA6981D1B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D055392A-66DF-B5A8-490D-AAE53E075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0713"/>
            <a:ext cx="9649029" cy="5544287"/>
          </a:xfrm>
        </p:spPr>
        <p:txBody>
          <a:bodyPr vert="horz" anchor="ctr" anchorCtr="0"/>
          <a:lstStyle>
            <a:lvl1pPr>
              <a:lnSpc>
                <a:spcPct val="100000"/>
              </a:lnSpc>
              <a:defRPr lang="en-US" sz="6000" b="1" kern="1200" baseline="0" noProof="0" dirty="0">
                <a:solidFill>
                  <a:schemeClr val="tx1"/>
                </a:solidFill>
                <a:latin typeface="Segoe UI Semibold" panose="020B0502040204020203" pitchFamily="34" charset="0"/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03164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0 : picture full size : 60pt white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ll size picture">
            <a:extLst>
              <a:ext uri="{FF2B5EF4-FFF2-40B4-BE49-F238E27FC236}">
                <a16:creationId xmlns:a16="http://schemas.microsoft.com/office/drawing/2014/main" id="{7A7E08B6-BD3C-57EF-6FE8-694BE5ACAE7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/>
          </a:solidFill>
          <a:ln w="12692" cap="flat">
            <a:noFill/>
            <a:prstDash val="solid"/>
            <a:miter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DE" dirty="0"/>
            </a:lvl1pPr>
          </a:lstStyle>
          <a:p>
            <a:pPr lvl="0"/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9A7F2AB-CD90-A9B9-9856-54B2A40E7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62BD523D-7BC3-2DEF-3802-01ECC7DED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FC8A5331-6A12-6483-81EF-B3F6E6618A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D055392A-66DF-B5A8-490D-AAE53E075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41324"/>
            <a:ext cx="11088000" cy="5724525"/>
          </a:xfrm>
        </p:spPr>
        <p:txBody>
          <a:bodyPr vert="horz" anchor="b" anchorCtr="0"/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30416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1a : title page shape right :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4BB14D95-49AB-4529-5662-66D2A1B2685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6120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6120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2108200"/>
            <a:ext cx="6120000" cy="16718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customer logo">
            <a:extLst>
              <a:ext uri="{FF2B5EF4-FFF2-40B4-BE49-F238E27FC236}">
                <a16:creationId xmlns:a16="http://schemas.microsoft.com/office/drawing/2014/main" id="{F29030CF-FCFE-645A-2C3D-221138F146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00" y="1479856"/>
            <a:ext cx="2124000" cy="468000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endParaRPr lang="en-US"/>
          </a:p>
        </p:txBody>
      </p:sp>
      <p:pic>
        <p:nvPicPr>
          <p:cNvPr id="55" name="valantic logo">
            <a:extLst>
              <a:ext uri="{FF2B5EF4-FFF2-40B4-BE49-F238E27FC236}">
                <a16:creationId xmlns:a16="http://schemas.microsoft.com/office/drawing/2014/main" id="{F7AE2AE6-2DD6-B611-8273-3605A63BC1C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6652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2 : title page shape left 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AD6F41C9-4A93-32C8-6A07-1E2E6A0F1E71}"/>
              </a:ext>
            </a:extLst>
          </p:cNvPr>
          <p:cNvSpPr/>
          <p:nvPr/>
        </p:nvSpPr>
        <p:spPr>
          <a:xfrm>
            <a:off x="0" y="0"/>
            <a:ext cx="5447966" cy="5679440"/>
          </a:xfrm>
          <a:custGeom>
            <a:avLst/>
            <a:gdLst>
              <a:gd name="connsiteX0" fmla="*/ 0 w 5447966"/>
              <a:gd name="connsiteY0" fmla="*/ 5679440 h 5679440"/>
              <a:gd name="connsiteX1" fmla="*/ 1985010 w 5447966"/>
              <a:gd name="connsiteY1" fmla="*/ 4832350 h 5679440"/>
              <a:gd name="connsiteX2" fmla="*/ 5369560 w 5447966"/>
              <a:gd name="connsiteY2" fmla="*/ 1478280 h 5679440"/>
              <a:gd name="connsiteX3" fmla="*/ 5394960 w 5447966"/>
              <a:gd name="connsiteY3" fmla="*/ 0 h 5679440"/>
              <a:gd name="connsiteX4" fmla="*/ 0 w 5447966"/>
              <a:gd name="connsiteY4" fmla="*/ 0 h 5679440"/>
              <a:gd name="connsiteX5" fmla="*/ 0 w 5447966"/>
              <a:gd name="connsiteY5" fmla="*/ 5679440 h 5679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47966" h="5679440">
                <a:moveTo>
                  <a:pt x="0" y="5679440"/>
                </a:moveTo>
                <a:cubicBezTo>
                  <a:pt x="386080" y="5322570"/>
                  <a:pt x="1009650" y="5035550"/>
                  <a:pt x="1985010" y="4832350"/>
                </a:cubicBezTo>
                <a:cubicBezTo>
                  <a:pt x="3644900" y="4525010"/>
                  <a:pt x="5027930" y="3234690"/>
                  <a:pt x="5369560" y="1478280"/>
                </a:cubicBezTo>
                <a:cubicBezTo>
                  <a:pt x="5467350" y="976630"/>
                  <a:pt x="5471160" y="477520"/>
                  <a:pt x="5394960" y="0"/>
                </a:cubicBezTo>
                <a:lnTo>
                  <a:pt x="0" y="0"/>
                </a:lnTo>
                <a:lnTo>
                  <a:pt x="0" y="567944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9100" y="5220000"/>
            <a:ext cx="5305138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2238" y="3960000"/>
            <a:ext cx="5292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2238" y="1800000"/>
            <a:ext cx="5292000" cy="19800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">
            <a:extLst>
              <a:ext uri="{FF2B5EF4-FFF2-40B4-BE49-F238E27FC236}">
                <a16:creationId xmlns:a16="http://schemas.microsoft.com/office/drawing/2014/main" id="{CEA84F44-0235-7522-0E1C-89824049EB0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40000" y="1476000"/>
            <a:ext cx="4392000" cy="4392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7" name="valantic logo">
            <a:extLst>
              <a:ext uri="{FF2B5EF4-FFF2-40B4-BE49-F238E27FC236}">
                <a16:creationId xmlns:a16="http://schemas.microsoft.com/office/drawing/2014/main" id="{229F41A1-E67C-3D74-44C9-B4997EBD3AC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168552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584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1 : BASIC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154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>
            <a:extLst>
              <a:ext uri="{FF2B5EF4-FFF2-40B4-BE49-F238E27FC236}">
                <a16:creationId xmlns:a16="http://schemas.microsoft.com/office/drawing/2014/main" id="{2B8DCA8E-E758-A02D-2104-E01EE369E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6579E58F-8136-67AD-3280-33201D869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6A0A194C-20EC-8385-1671-2BE66E04C7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11088000" cy="468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  <a:lvl6pPr>
              <a:defRPr lang="en-US" dirty="0" smtClean="0"/>
            </a:lvl6pPr>
            <a:lvl7pPr>
              <a:defRPr lang="en-US" dirty="0" smtClean="0"/>
            </a:lvl7pPr>
            <a:lvl8pPr>
              <a:defRPr lang="en-US" dirty="0" smtClean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2006E74-F413-42A1-5EBE-FFA34D108A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371170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9 : 4 pictures top :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325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">
            <a:extLst>
              <a:ext uri="{FF2B5EF4-FFF2-40B4-BE49-F238E27FC236}">
                <a16:creationId xmlns:a16="http://schemas.microsoft.com/office/drawing/2014/main" id="{63D2B20F-0609-55E7-7FB3-B5EE7402F6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15CFD07B-B345-C5CF-102F-714DA927D2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629EB2D1-84A0-2CF1-B415-FC5E5FD7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4" name="content">
            <a:extLst>
              <a:ext uri="{FF2B5EF4-FFF2-40B4-BE49-F238E27FC236}">
                <a16:creationId xmlns:a16="http://schemas.microsoft.com/office/drawing/2014/main" id="{BAD52ADE-440B-F73C-8384-4062C1392F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108292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4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08292" y="1476000"/>
            <a:ext cx="2520000" cy="14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3" name="content">
            <a:extLst>
              <a:ext uri="{FF2B5EF4-FFF2-40B4-BE49-F238E27FC236}">
                <a16:creationId xmlns:a16="http://schemas.microsoft.com/office/drawing/2014/main" id="{36EDB524-3828-3196-B148-EA4D6A28C4C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60098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picture 3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52194" y="1476000"/>
            <a:ext cx="2520000" cy="14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11904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picture 2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96097" y="1476000"/>
            <a:ext cx="2520000" cy="1440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40482FD8-4BA0-D9DD-B70D-CF60E58832E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63710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6D4F5E74-E4BC-26A1-6B3C-B594169526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0000" y="1476000"/>
            <a:ext cx="2520000" cy="1440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754094-CFF9-5176-ADA0-C7C302BF1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285D18D8-AB0C-71A7-8522-08C65978C7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4142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3 : title page shape right :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">
            <a:extLst>
              <a:ext uri="{FF2B5EF4-FFF2-40B4-BE49-F238E27FC236}">
                <a16:creationId xmlns:a16="http://schemas.microsoft.com/office/drawing/2014/main" id="{13C4ED9C-0F15-4EBF-24ED-452F2FAAA345}"/>
              </a:ext>
            </a:extLst>
          </p:cNvPr>
          <p:cNvSpPr/>
          <p:nvPr/>
        </p:nvSpPr>
        <p:spPr>
          <a:xfrm>
            <a:off x="6240779" y="0"/>
            <a:ext cx="5951220" cy="6858000"/>
          </a:xfrm>
          <a:custGeom>
            <a:avLst/>
            <a:gdLst>
              <a:gd name="connsiteX0" fmla="*/ 4410710 w 5951220"/>
              <a:gd name="connsiteY0" fmla="*/ 2077720 h 6858000"/>
              <a:gd name="connsiteX1" fmla="*/ 4418330 w 5951220"/>
              <a:gd name="connsiteY1" fmla="*/ 2137410 h 6858000"/>
              <a:gd name="connsiteX2" fmla="*/ 4418330 w 5951220"/>
              <a:gd name="connsiteY2" fmla="*/ 2137410 h 6858000"/>
              <a:gd name="connsiteX3" fmla="*/ 3103880 w 5951220"/>
              <a:gd name="connsiteY3" fmla="*/ 3703320 h 6858000"/>
              <a:gd name="connsiteX4" fmla="*/ 3103880 w 5951220"/>
              <a:gd name="connsiteY4" fmla="*/ 3703320 h 6858000"/>
              <a:gd name="connsiteX5" fmla="*/ 0 w 5951220"/>
              <a:gd name="connsiteY5" fmla="*/ 6858000 h 6858000"/>
              <a:gd name="connsiteX6" fmla="*/ 5951220 w 5951220"/>
              <a:gd name="connsiteY6" fmla="*/ 6858000 h 6858000"/>
              <a:gd name="connsiteX7" fmla="*/ 5951220 w 5951220"/>
              <a:gd name="connsiteY7" fmla="*/ 0 h 6858000"/>
              <a:gd name="connsiteX8" fmla="*/ 4947920 w 5951220"/>
              <a:gd name="connsiteY8" fmla="*/ 0 h 6858000"/>
              <a:gd name="connsiteX9" fmla="*/ 4410710 w 5951220"/>
              <a:gd name="connsiteY9" fmla="*/ 20777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51220" h="6858000">
                <a:moveTo>
                  <a:pt x="4410710" y="2077720"/>
                </a:moveTo>
                <a:cubicBezTo>
                  <a:pt x="4413251" y="2098040"/>
                  <a:pt x="4415790" y="2117090"/>
                  <a:pt x="4418330" y="2137410"/>
                </a:cubicBezTo>
                <a:lnTo>
                  <a:pt x="4418330" y="2137410"/>
                </a:lnTo>
                <a:cubicBezTo>
                  <a:pt x="4540251" y="2990850"/>
                  <a:pt x="4259580" y="3456940"/>
                  <a:pt x="3103880" y="3703320"/>
                </a:cubicBezTo>
                <a:lnTo>
                  <a:pt x="3103880" y="3703320"/>
                </a:lnTo>
                <a:cubicBezTo>
                  <a:pt x="1507490" y="4041140"/>
                  <a:pt x="303530" y="5308600"/>
                  <a:pt x="0" y="6858000"/>
                </a:cubicBezTo>
                <a:lnTo>
                  <a:pt x="5951220" y="6858000"/>
                </a:lnTo>
                <a:lnTo>
                  <a:pt x="5951220" y="0"/>
                </a:lnTo>
                <a:lnTo>
                  <a:pt x="4947920" y="0"/>
                </a:lnTo>
                <a:cubicBezTo>
                  <a:pt x="4527551" y="579120"/>
                  <a:pt x="4316730" y="1311910"/>
                  <a:pt x="4410710" y="2077720"/>
                </a:cubicBez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47" name="picture">
            <a:extLst>
              <a:ext uri="{FF2B5EF4-FFF2-40B4-BE49-F238E27FC236}">
                <a16:creationId xmlns:a16="http://schemas.microsoft.com/office/drawing/2014/main" id="{4D41E0E2-1CE2-8D15-96F8-054C2EE83B0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084000" y="1512000"/>
            <a:ext cx="3960000" cy="396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5292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5292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1800000"/>
            <a:ext cx="5292000" cy="19800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5" name="valantic logo">
            <a:extLst>
              <a:ext uri="{FF2B5EF4-FFF2-40B4-BE49-F238E27FC236}">
                <a16:creationId xmlns:a16="http://schemas.microsoft.com/office/drawing/2014/main" id="{E8200BE0-EDC6-CB39-DA8C-60765B9CA79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21156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4 : divid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">
            <a:extLst>
              <a:ext uri="{FF2B5EF4-FFF2-40B4-BE49-F238E27FC236}">
                <a16:creationId xmlns:a16="http://schemas.microsoft.com/office/drawing/2014/main" id="{91DFF449-D72F-DDBE-0BB0-4D8362D0D732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9E683A2-BFBA-78E2-EFF4-F23E8ACF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174BBD4C-7E24-6348-4F34-59081BDF91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B52345E1-CD1E-D49E-138C-5E5472A96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8" name="subhead">
            <a:extLst>
              <a:ext uri="{FF2B5EF4-FFF2-40B4-BE49-F238E27FC236}">
                <a16:creationId xmlns:a16="http://schemas.microsoft.com/office/drawing/2014/main" id="{0077CA06-319C-1757-577C-479DBCF8C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960000"/>
            <a:ext cx="8280000" cy="2025850"/>
          </a:xfr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20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de-DE"/>
          </a:p>
        </p:txBody>
      </p:sp>
      <p:sp>
        <p:nvSpPr>
          <p:cNvPr id="3" name="divider title">
            <a:extLst>
              <a:ext uri="{FF2B5EF4-FFF2-40B4-BE49-F238E27FC236}">
                <a16:creationId xmlns:a16="http://schemas.microsoft.com/office/drawing/2014/main" id="{776D3A14-B2FD-F1C5-2103-0893E5BCE8D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9999" y="1476000"/>
            <a:ext cx="8279999" cy="2304000"/>
          </a:xfrm>
        </p:spPr>
        <p:txBody>
          <a:bodyPr anchor="b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3600" b="0" kern="1200" spc="0" baseline="0" smtClean="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284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5 : divider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">
            <a:extLst>
              <a:ext uri="{FF2B5EF4-FFF2-40B4-BE49-F238E27FC236}">
                <a16:creationId xmlns:a16="http://schemas.microsoft.com/office/drawing/2014/main" id="{4F872331-0C1C-6CEC-F8B3-B6873CFEB938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3" name="picture freeform">
            <a:extLst>
              <a:ext uri="{FF2B5EF4-FFF2-40B4-BE49-F238E27FC236}">
                <a16:creationId xmlns:a16="http://schemas.microsoft.com/office/drawing/2014/main" id="{1434E581-EF0A-42F8-0436-AF47C2A2118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1204BDC-B53F-866C-E006-7747A3EAC7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07BA8968-D70C-9A3A-45ED-C7A9292CB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DD043EB8-D7A3-B72D-10FA-90C0F1116F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8" name="subhead">
            <a:extLst>
              <a:ext uri="{FF2B5EF4-FFF2-40B4-BE49-F238E27FC236}">
                <a16:creationId xmlns:a16="http://schemas.microsoft.com/office/drawing/2014/main" id="{0077CA06-319C-1757-577C-479DBCF8C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960000"/>
            <a:ext cx="6120000" cy="2025850"/>
          </a:xfr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20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de-DE"/>
          </a:p>
        </p:txBody>
      </p:sp>
      <p:sp>
        <p:nvSpPr>
          <p:cNvPr id="7" name="divider title">
            <a:extLst>
              <a:ext uri="{FF2B5EF4-FFF2-40B4-BE49-F238E27FC236}">
                <a16:creationId xmlns:a16="http://schemas.microsoft.com/office/drawing/2014/main" id="{7027E245-FD12-05E9-6D4F-9152F88853B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9999" y="1476000"/>
            <a:ext cx="6120000" cy="2304000"/>
          </a:xfrm>
        </p:spPr>
        <p:txBody>
          <a:bodyPr anchor="b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3600" b="0" kern="1200" spc="0" baseline="0" smtClean="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587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6 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id="{49B57F66-1E25-BEF2-2840-BC348302B416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33DE3DD-35F4-0544-EA20-8DFF76354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">
            <a:extLst>
              <a:ext uri="{FF2B5EF4-FFF2-40B4-BE49-F238E27FC236}">
                <a16:creationId xmlns:a16="http://schemas.microsoft.com/office/drawing/2014/main" id="{26C97F54-C050-02E2-007C-884C1343F6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BF5DF564-1583-214B-1FF2-64660F623A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97E6113D-8276-DBCB-BE23-99275743B1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79999" y="2545091"/>
            <a:ext cx="6840000" cy="3600000"/>
          </a:xfrm>
        </p:spPr>
        <p:txBody>
          <a:bodyPr/>
          <a:lstStyle>
            <a:lvl1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pc="4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z="1600">
                <a:solidFill>
                  <a:schemeClr val="accent1"/>
                </a:solidFill>
              </a:defRPr>
            </a:lvl3pPr>
            <a:lvl4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tabLst>
                <a:tab pos="355600" algn="l"/>
              </a:tabLst>
              <a:defRPr cap="all" spc="100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solidFill>
                  <a:srgbClr val="FF4B4B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8AB546F2-9484-3FC2-840F-D7D025E67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9999" y="1476000"/>
            <a:ext cx="6840000" cy="468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60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pPr lvl="0">
              <a:lnSpc>
                <a:spcPts val="4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426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7 : agenda : pictur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">
            <a:extLst>
              <a:ext uri="{FF2B5EF4-FFF2-40B4-BE49-F238E27FC236}">
                <a16:creationId xmlns:a16="http://schemas.microsoft.com/office/drawing/2014/main" id="{6B444FF9-115C-9C62-5C32-301544072D6A}"/>
              </a:ext>
            </a:extLst>
          </p:cNvPr>
          <p:cNvSpPr/>
          <p:nvPr/>
        </p:nvSpPr>
        <p:spPr>
          <a:xfrm>
            <a:off x="8123268" y="0"/>
            <a:ext cx="4068731" cy="6858000"/>
          </a:xfrm>
          <a:custGeom>
            <a:avLst/>
            <a:gdLst>
              <a:gd name="connsiteX0" fmla="*/ 4068732 w 4068731"/>
              <a:gd name="connsiteY0" fmla="*/ 0 h 6858000"/>
              <a:gd name="connsiteX1" fmla="*/ 2749202 w 4068731"/>
              <a:gd name="connsiteY1" fmla="*/ 0 h 6858000"/>
              <a:gd name="connsiteX2" fmla="*/ 1453802 w 4068731"/>
              <a:gd name="connsiteY2" fmla="*/ 2786380 h 6858000"/>
              <a:gd name="connsiteX3" fmla="*/ 8542 w 4068731"/>
              <a:gd name="connsiteY3" fmla="*/ 4671060 h 6858000"/>
              <a:gd name="connsiteX4" fmla="*/ 1255682 w 4068731"/>
              <a:gd name="connsiteY4" fmla="*/ 6858000 h 6858000"/>
              <a:gd name="connsiteX5" fmla="*/ 4068732 w 4068731"/>
              <a:gd name="connsiteY5" fmla="*/ 6858000 h 6858000"/>
              <a:gd name="connsiteX6" fmla="*/ 4068732 w 406873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8731" h="6858000">
                <a:moveTo>
                  <a:pt x="4068732" y="0"/>
                </a:moveTo>
                <a:lnTo>
                  <a:pt x="2749202" y="0"/>
                </a:lnTo>
                <a:cubicBezTo>
                  <a:pt x="3295302" y="1083310"/>
                  <a:pt x="3080672" y="2165350"/>
                  <a:pt x="1453802" y="2786380"/>
                </a:cubicBezTo>
                <a:cubicBezTo>
                  <a:pt x="672752" y="3072130"/>
                  <a:pt x="86012" y="3787140"/>
                  <a:pt x="8542" y="4671060"/>
                </a:cubicBezTo>
                <a:cubicBezTo>
                  <a:pt x="-74008" y="5614670"/>
                  <a:pt x="449232" y="6471920"/>
                  <a:pt x="1255682" y="6858000"/>
                </a:cubicBezTo>
                <a:lnTo>
                  <a:pt x="4068732" y="6858000"/>
                </a:lnTo>
                <a:lnTo>
                  <a:pt x="4068732" y="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39AAC393-1463-1EC1-A82F-F996DE84D3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04FEFFCF-D04D-6B27-6B35-E98D792BAF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02DD2C31-BDC2-85A3-B24D-5CBC4747A8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88" name="picture">
            <a:extLst>
              <a:ext uri="{FF2B5EF4-FFF2-40B4-BE49-F238E27FC236}">
                <a16:creationId xmlns:a16="http://schemas.microsoft.com/office/drawing/2014/main" id="{CCDA154D-FA0F-7258-D1D3-FF4ACED7D2CB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331943" y="874713"/>
            <a:ext cx="3960000" cy="3960000"/>
          </a:xfrm>
          <a:prstGeom prst="flowChartConnector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E2B67AC-FFA9-F8F8-FF22-3F6E55E16A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79999" y="2545091"/>
            <a:ext cx="5040000" cy="3600000"/>
          </a:xfrm>
        </p:spPr>
        <p:txBody>
          <a:bodyPr/>
          <a:lstStyle>
            <a:lvl1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pc="4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z="1600">
                <a:solidFill>
                  <a:schemeClr val="accent1"/>
                </a:solidFill>
              </a:defRPr>
            </a:lvl3pPr>
            <a:lvl4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tabLst>
                <a:tab pos="355600" algn="l"/>
              </a:tabLst>
              <a:defRPr cap="all" spc="100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solidFill>
                  <a:srgbClr val="FF4B4B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C88E0FE-794B-A3A2-B2FE-AEC80F80F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9999" y="1476000"/>
            <a:ext cx="5040000" cy="468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600" dirty="0"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pPr lvl="0">
              <a:lnSpc>
                <a:spcPts val="4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909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8 : endpage : contacts 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">
            <a:extLst>
              <a:ext uri="{FF2B5EF4-FFF2-40B4-BE49-F238E27FC236}">
                <a16:creationId xmlns:a16="http://schemas.microsoft.com/office/drawing/2014/main" id="{DEB7BC1F-A79B-AA66-7970-3BCA12F439D4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2" name="picture">
            <a:extLst>
              <a:ext uri="{FF2B5EF4-FFF2-40B4-BE49-F238E27FC236}">
                <a16:creationId xmlns:a16="http://schemas.microsoft.com/office/drawing/2014/main" id="{06D95D9A-7ABF-0C99-E0D3-6102DCF5C76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A4CF64D-F9BF-7921-7E12-A28AA812D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D54F34F2-1FD1-16F8-9498-18294A40D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8D24AD69-2ABC-1FC7-650C-97853CAEC9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3" name="content 3">
            <a:extLst>
              <a:ext uri="{FF2B5EF4-FFF2-40B4-BE49-F238E27FC236}">
                <a16:creationId xmlns:a16="http://schemas.microsoft.com/office/drawing/2014/main" id="{F67A6F1F-133D-4546-591C-CB2926538A9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91943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de-DE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AB8E8C71-0420-F71A-7AA1-4542827B232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729715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de-DE"/>
          </a:p>
        </p:txBody>
      </p:sp>
      <p:sp>
        <p:nvSpPr>
          <p:cNvPr id="15" name="content 1">
            <a:extLst>
              <a:ext uri="{FF2B5EF4-FFF2-40B4-BE49-F238E27FC236}">
                <a16:creationId xmlns:a16="http://schemas.microsoft.com/office/drawing/2014/main" id="{40687540-1D0B-FE54-D00D-FEC7240B1C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de-DE"/>
          </a:p>
        </p:txBody>
      </p:sp>
      <p:sp>
        <p:nvSpPr>
          <p:cNvPr id="57" name="title">
            <a:extLst>
              <a:ext uri="{FF2B5EF4-FFF2-40B4-BE49-F238E27FC236}">
                <a16:creationId xmlns:a16="http://schemas.microsoft.com/office/drawing/2014/main" id="{2B2872E1-DDB4-35E2-92B5-17EB99D5218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40000" y="612000"/>
            <a:ext cx="9252000" cy="2520000"/>
          </a:xfrm>
        </p:spPr>
        <p:txBody>
          <a:bodyPr anchor="b"/>
          <a:lstStyle>
            <a:lvl1pPr marL="0" indent="0">
              <a:lnSpc>
                <a:spcPts val="6200"/>
              </a:lnSpc>
              <a:buNone/>
              <a:defRPr sz="60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0900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49 : introduction left :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hape">
            <a:extLst>
              <a:ext uri="{FF2B5EF4-FFF2-40B4-BE49-F238E27FC236}">
                <a16:creationId xmlns:a16="http://schemas.microsoft.com/office/drawing/2014/main" id="{71966820-2A78-4DF1-E48F-D4C4D5C735B8}"/>
              </a:ext>
            </a:extLst>
          </p:cNvPr>
          <p:cNvSpPr/>
          <p:nvPr userDrawn="1"/>
        </p:nvSpPr>
        <p:spPr>
          <a:xfrm>
            <a:off x="8123268" y="0"/>
            <a:ext cx="4068731" cy="6858000"/>
          </a:xfrm>
          <a:custGeom>
            <a:avLst/>
            <a:gdLst>
              <a:gd name="connsiteX0" fmla="*/ 4068732 w 4068731"/>
              <a:gd name="connsiteY0" fmla="*/ 0 h 6858000"/>
              <a:gd name="connsiteX1" fmla="*/ 2749202 w 4068731"/>
              <a:gd name="connsiteY1" fmla="*/ 0 h 6858000"/>
              <a:gd name="connsiteX2" fmla="*/ 1453802 w 4068731"/>
              <a:gd name="connsiteY2" fmla="*/ 2786380 h 6858000"/>
              <a:gd name="connsiteX3" fmla="*/ 8542 w 4068731"/>
              <a:gd name="connsiteY3" fmla="*/ 4671060 h 6858000"/>
              <a:gd name="connsiteX4" fmla="*/ 1255682 w 4068731"/>
              <a:gd name="connsiteY4" fmla="*/ 6858000 h 6858000"/>
              <a:gd name="connsiteX5" fmla="*/ 4068732 w 4068731"/>
              <a:gd name="connsiteY5" fmla="*/ 6858000 h 6858000"/>
              <a:gd name="connsiteX6" fmla="*/ 4068732 w 406873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8731" h="6858000">
                <a:moveTo>
                  <a:pt x="4068732" y="0"/>
                </a:moveTo>
                <a:lnTo>
                  <a:pt x="2749202" y="0"/>
                </a:lnTo>
                <a:cubicBezTo>
                  <a:pt x="3295302" y="1083310"/>
                  <a:pt x="3080672" y="2165350"/>
                  <a:pt x="1453802" y="2786380"/>
                </a:cubicBezTo>
                <a:cubicBezTo>
                  <a:pt x="672752" y="3072130"/>
                  <a:pt x="86012" y="3787140"/>
                  <a:pt x="8542" y="4671060"/>
                </a:cubicBezTo>
                <a:cubicBezTo>
                  <a:pt x="-74008" y="5614670"/>
                  <a:pt x="449232" y="6471920"/>
                  <a:pt x="1255682" y="6858000"/>
                </a:cubicBezTo>
                <a:lnTo>
                  <a:pt x="4068732" y="6858000"/>
                </a:lnTo>
                <a:lnTo>
                  <a:pt x="4068732" y="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FBACB6C-E538-315B-836C-5747BC433D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">
            <a:extLst>
              <a:ext uri="{FF2B5EF4-FFF2-40B4-BE49-F238E27FC236}">
                <a16:creationId xmlns:a16="http://schemas.microsoft.com/office/drawing/2014/main" id="{CB867239-D2B4-D5DB-1E8A-708333F2D8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A908DC11-E6F3-54CF-0E9D-2ADE4513C7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9" name="picture">
            <a:extLst>
              <a:ext uri="{FF2B5EF4-FFF2-40B4-BE49-F238E27FC236}">
                <a16:creationId xmlns:a16="http://schemas.microsoft.com/office/drawing/2014/main" id="{C1D90B68-BF6E-D09D-42E7-77765BFEC44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401138" y="1317100"/>
            <a:ext cx="3240000" cy="3240000"/>
          </a:xfrm>
          <a:prstGeom prst="flowChartConnector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9BE9AB25-3402-897C-7102-5B25952D6A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0" y="2880000"/>
            <a:ext cx="6120000" cy="3285850"/>
          </a:xfr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lang="en-US" sz="1200" dirty="0"/>
            </a:lvl1pPr>
            <a:lvl2pPr>
              <a:lnSpc>
                <a:spcPts val="1600"/>
              </a:lnSpc>
              <a:spcAft>
                <a:spcPts val="0"/>
              </a:spcAft>
              <a:defRPr sz="1200"/>
            </a:lvl2pPr>
            <a:lvl3pPr>
              <a:lnSpc>
                <a:spcPts val="1600"/>
              </a:lnSpc>
              <a:spcAft>
                <a:spcPts val="0"/>
              </a:spcAft>
              <a:defRPr sz="1200"/>
            </a:lvl3pPr>
            <a:lvl4pPr>
              <a:lnSpc>
                <a:spcPts val="1600"/>
              </a:lnSpc>
              <a:spcAft>
                <a:spcPts val="0"/>
              </a:spcAft>
              <a:defRPr sz="1200"/>
            </a:lvl4pPr>
            <a:lvl5pPr>
              <a:spcBef>
                <a:spcPts val="300"/>
              </a:spcBef>
              <a:spcAft>
                <a:spcPts val="1800"/>
              </a:spcAft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endParaRPr lang="en-US"/>
          </a:p>
        </p:txBody>
      </p:sp>
      <p:sp>
        <p:nvSpPr>
          <p:cNvPr id="12" name="subhead">
            <a:extLst>
              <a:ext uri="{FF2B5EF4-FFF2-40B4-BE49-F238E27FC236}">
                <a16:creationId xmlns:a16="http://schemas.microsoft.com/office/drawing/2014/main" id="{2E068325-F576-E139-3996-A94AB4C7DB9F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2160000" y="1872000"/>
            <a:ext cx="6120000" cy="434612"/>
          </a:xfrm>
        </p:spPr>
        <p:txBody>
          <a:bodyPr lIns="0" r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E7120AA-6746-99EE-C354-C34DE9578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0" y="972000"/>
            <a:ext cx="6120000" cy="863600"/>
          </a:xfrm>
        </p:spPr>
        <p:txBody>
          <a:bodyPr vert="horz" anchor="b" anchorCtr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852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45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49 : introduction right :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">
            <a:extLst>
              <a:ext uri="{FF2B5EF4-FFF2-40B4-BE49-F238E27FC236}">
                <a16:creationId xmlns:a16="http://schemas.microsoft.com/office/drawing/2014/main" id="{56AB6B82-FECE-B640-9BED-9BCD53C3E892}"/>
              </a:ext>
            </a:extLst>
          </p:cNvPr>
          <p:cNvSpPr/>
          <p:nvPr userDrawn="1"/>
        </p:nvSpPr>
        <p:spPr>
          <a:xfrm flipH="1">
            <a:off x="-163456" y="0"/>
            <a:ext cx="4068731" cy="6858000"/>
          </a:xfrm>
          <a:custGeom>
            <a:avLst/>
            <a:gdLst>
              <a:gd name="connsiteX0" fmla="*/ 4068732 w 4068731"/>
              <a:gd name="connsiteY0" fmla="*/ 0 h 6858000"/>
              <a:gd name="connsiteX1" fmla="*/ 2749202 w 4068731"/>
              <a:gd name="connsiteY1" fmla="*/ 0 h 6858000"/>
              <a:gd name="connsiteX2" fmla="*/ 1453802 w 4068731"/>
              <a:gd name="connsiteY2" fmla="*/ 2786380 h 6858000"/>
              <a:gd name="connsiteX3" fmla="*/ 8542 w 4068731"/>
              <a:gd name="connsiteY3" fmla="*/ 4671060 h 6858000"/>
              <a:gd name="connsiteX4" fmla="*/ 1255682 w 4068731"/>
              <a:gd name="connsiteY4" fmla="*/ 6858000 h 6858000"/>
              <a:gd name="connsiteX5" fmla="*/ 4068732 w 4068731"/>
              <a:gd name="connsiteY5" fmla="*/ 6858000 h 6858000"/>
              <a:gd name="connsiteX6" fmla="*/ 4068732 w 406873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8731" h="6858000">
                <a:moveTo>
                  <a:pt x="4068732" y="0"/>
                </a:moveTo>
                <a:lnTo>
                  <a:pt x="2749202" y="0"/>
                </a:lnTo>
                <a:cubicBezTo>
                  <a:pt x="3295302" y="1083310"/>
                  <a:pt x="3080672" y="2165350"/>
                  <a:pt x="1453802" y="2786380"/>
                </a:cubicBezTo>
                <a:cubicBezTo>
                  <a:pt x="672752" y="3072130"/>
                  <a:pt x="86012" y="3787140"/>
                  <a:pt x="8542" y="4671060"/>
                </a:cubicBezTo>
                <a:cubicBezTo>
                  <a:pt x="-74008" y="5614670"/>
                  <a:pt x="449232" y="6471920"/>
                  <a:pt x="1255682" y="6858000"/>
                </a:cubicBezTo>
                <a:lnTo>
                  <a:pt x="4068732" y="6858000"/>
                </a:lnTo>
                <a:lnTo>
                  <a:pt x="4068732" y="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3" name="picture">
            <a:extLst>
              <a:ext uri="{FF2B5EF4-FFF2-40B4-BE49-F238E27FC236}">
                <a16:creationId xmlns:a16="http://schemas.microsoft.com/office/drawing/2014/main" id="{65F041A7-C11A-A7CB-3DBC-051A6F5C00C5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1000502" y="1569600"/>
            <a:ext cx="3240000" cy="3240000"/>
          </a:xfrm>
          <a:prstGeom prst="flowChartConnector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FBACB6C-E538-315B-836C-5747BC433D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">
            <a:extLst>
              <a:ext uri="{FF2B5EF4-FFF2-40B4-BE49-F238E27FC236}">
                <a16:creationId xmlns:a16="http://schemas.microsoft.com/office/drawing/2014/main" id="{CB867239-D2B4-D5DB-1E8A-708333F2D8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A908DC11-E6F3-54CF-0E9D-2ADE4513C7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9" name="text">
            <a:extLst>
              <a:ext uri="{FF2B5EF4-FFF2-40B4-BE49-F238E27FC236}">
                <a16:creationId xmlns:a16="http://schemas.microsoft.com/office/drawing/2014/main" id="{9BE9AB25-3402-897C-7102-5B25952D6A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68000" y="2880000"/>
            <a:ext cx="5760000" cy="3276336"/>
          </a:xfr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lang="en-US" sz="1200" dirty="0"/>
            </a:lvl1pPr>
            <a:lvl2pPr>
              <a:lnSpc>
                <a:spcPts val="1600"/>
              </a:lnSpc>
              <a:spcAft>
                <a:spcPts val="0"/>
              </a:spcAft>
              <a:defRPr sz="1200"/>
            </a:lvl2pPr>
            <a:lvl3pPr>
              <a:lnSpc>
                <a:spcPts val="1600"/>
              </a:lnSpc>
              <a:spcAft>
                <a:spcPts val="0"/>
              </a:spcAft>
              <a:defRPr sz="1200"/>
            </a:lvl3pPr>
            <a:lvl4pPr>
              <a:lnSpc>
                <a:spcPts val="1600"/>
              </a:lnSpc>
              <a:spcAft>
                <a:spcPts val="0"/>
              </a:spcAft>
              <a:defRPr sz="1200"/>
            </a:lvl4pPr>
            <a:lvl5pPr>
              <a:spcBef>
                <a:spcPts val="300"/>
              </a:spcBef>
              <a:spcAft>
                <a:spcPts val="1800"/>
              </a:spcAft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endParaRPr lang="en-US"/>
          </a:p>
        </p:txBody>
      </p:sp>
      <p:sp>
        <p:nvSpPr>
          <p:cNvPr id="12" name="role">
            <a:extLst>
              <a:ext uri="{FF2B5EF4-FFF2-40B4-BE49-F238E27FC236}">
                <a16:creationId xmlns:a16="http://schemas.microsoft.com/office/drawing/2014/main" id="{2E068325-F576-E139-3996-A94AB4C7DB9F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5868000" y="1872000"/>
            <a:ext cx="5760000" cy="434612"/>
          </a:xfrm>
        </p:spPr>
        <p:txBody>
          <a:bodyPr lIns="0" r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E7120AA-6746-99EE-C354-C34DE9578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000" y="972000"/>
            <a:ext cx="5760000" cy="863600"/>
          </a:xfrm>
        </p:spPr>
        <p:txBody>
          <a:bodyPr vert="horz" anchor="b" anchorCtr="0"/>
          <a:lstStyle/>
          <a:p>
            <a:endParaRPr lang="en-US"/>
          </a:p>
        </p:txBody>
      </p:sp>
      <p:pic>
        <p:nvPicPr>
          <p:cNvPr id="6" name="valantic logo">
            <a:extLst>
              <a:ext uri="{FF2B5EF4-FFF2-40B4-BE49-F238E27FC236}">
                <a16:creationId xmlns:a16="http://schemas.microsoft.com/office/drawing/2014/main" id="{50E89532-4908-70C7-5CEA-E877FAC16A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5887" y="6218848"/>
            <a:ext cx="1169231" cy="45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504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49 : Team : Profile 1 :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8C089861-5434-E9A5-23AF-9E895E74CE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394AD75E-89F1-25C9-D689-F4E40F1D5E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671A8254-12C4-D4C4-AFBD-B224022CCA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6" name="content 6">
            <a:extLst>
              <a:ext uri="{FF2B5EF4-FFF2-40B4-BE49-F238E27FC236}">
                <a16:creationId xmlns:a16="http://schemas.microsoft.com/office/drawing/2014/main" id="{4000585D-21AD-114B-2B3C-84570D93D15B}"/>
              </a:ext>
            </a:extLst>
          </p:cNvPr>
          <p:cNvSpPr>
            <a:spLocks noGrp="1"/>
          </p:cNvSpPr>
          <p:nvPr>
            <p:ph sz="quarter" idx="78"/>
          </p:nvPr>
        </p:nvSpPr>
        <p:spPr>
          <a:xfrm>
            <a:off x="10044000" y="1453622"/>
            <a:ext cx="1584000" cy="4716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25" name="content 5">
            <a:extLst>
              <a:ext uri="{FF2B5EF4-FFF2-40B4-BE49-F238E27FC236}">
                <a16:creationId xmlns:a16="http://schemas.microsoft.com/office/drawing/2014/main" id="{34476E83-4EE1-BDC0-D1D2-68D10401CEC4}"/>
              </a:ext>
            </a:extLst>
          </p:cNvPr>
          <p:cNvSpPr>
            <a:spLocks noGrp="1"/>
          </p:cNvSpPr>
          <p:nvPr>
            <p:ph sz="quarter" idx="77"/>
          </p:nvPr>
        </p:nvSpPr>
        <p:spPr>
          <a:xfrm>
            <a:off x="7771517" y="1453622"/>
            <a:ext cx="2160000" cy="4716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20" name="content 4">
            <a:extLst>
              <a:ext uri="{FF2B5EF4-FFF2-40B4-BE49-F238E27FC236}">
                <a16:creationId xmlns:a16="http://schemas.microsoft.com/office/drawing/2014/main" id="{3CBEB059-9275-40EC-54B6-7D9C7BE41AB1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5499033" y="1453622"/>
            <a:ext cx="2160000" cy="4716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29" name="content 3">
            <a:extLst>
              <a:ext uri="{FF2B5EF4-FFF2-40B4-BE49-F238E27FC236}">
                <a16:creationId xmlns:a16="http://schemas.microsoft.com/office/drawing/2014/main" id="{089017DA-0B17-4563-BAB4-945351F65707}"/>
              </a:ext>
            </a:extLst>
          </p:cNvPr>
          <p:cNvSpPr>
            <a:spLocks noGrp="1"/>
          </p:cNvSpPr>
          <p:nvPr>
            <p:ph sz="quarter" idx="79"/>
          </p:nvPr>
        </p:nvSpPr>
        <p:spPr>
          <a:xfrm>
            <a:off x="3226549" y="4279014"/>
            <a:ext cx="2160000" cy="190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24" name="content 2">
            <a:extLst>
              <a:ext uri="{FF2B5EF4-FFF2-40B4-BE49-F238E27FC236}">
                <a16:creationId xmlns:a16="http://schemas.microsoft.com/office/drawing/2014/main" id="{60ED7C70-87D7-2FBF-876B-93BA30DF0D71}"/>
              </a:ext>
            </a:extLst>
          </p:cNvPr>
          <p:cNvSpPr>
            <a:spLocks noGrp="1"/>
          </p:cNvSpPr>
          <p:nvPr>
            <p:ph sz="quarter" idx="70"/>
          </p:nvPr>
        </p:nvSpPr>
        <p:spPr>
          <a:xfrm>
            <a:off x="3226549" y="1453622"/>
            <a:ext cx="2160000" cy="2592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30" name="content 1">
            <a:extLst>
              <a:ext uri="{FF2B5EF4-FFF2-40B4-BE49-F238E27FC236}">
                <a16:creationId xmlns:a16="http://schemas.microsoft.com/office/drawing/2014/main" id="{DBC563D3-ED21-E461-F246-841B242650F7}"/>
              </a:ext>
            </a:extLst>
          </p:cNvPr>
          <p:cNvSpPr>
            <a:spLocks noGrp="1"/>
          </p:cNvSpPr>
          <p:nvPr>
            <p:ph sz="quarter" idx="80"/>
          </p:nvPr>
        </p:nvSpPr>
        <p:spPr>
          <a:xfrm>
            <a:off x="565252" y="4279014"/>
            <a:ext cx="2176334" cy="190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52" name="picture">
            <a:extLst>
              <a:ext uri="{FF2B5EF4-FFF2-40B4-BE49-F238E27FC236}">
                <a16:creationId xmlns:a16="http://schemas.microsoft.com/office/drawing/2014/main" id="{E16D530D-B736-1C98-A57D-381E4DCC2AA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95102" y="2037996"/>
            <a:ext cx="2700000" cy="1980000"/>
          </a:xfrm>
          <a:prstGeom prst="roundRect">
            <a:avLst>
              <a:gd name="adj" fmla="val 3959"/>
            </a:avLst>
          </a:pr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21" name="name">
            <a:extLst>
              <a:ext uri="{FF2B5EF4-FFF2-40B4-BE49-F238E27FC236}">
                <a16:creationId xmlns:a16="http://schemas.microsoft.com/office/drawing/2014/main" id="{37749CFC-962A-7BB2-6A64-5FAAD068DCA8}"/>
              </a:ext>
            </a:extLst>
          </p:cNvPr>
          <p:cNvSpPr>
            <a:spLocks noGrp="1"/>
          </p:cNvSpPr>
          <p:nvPr>
            <p:ph type="body" idx="69"/>
          </p:nvPr>
        </p:nvSpPr>
        <p:spPr>
          <a:xfrm>
            <a:off x="540000" y="1440000"/>
            <a:ext cx="2201586" cy="504000"/>
          </a:xfrm>
        </p:spPr>
        <p:txBody>
          <a:bodyPr lIns="0" rIns="0" anchor="t" anchorCtr="0"/>
          <a:lstStyle>
            <a:lvl1pPr marL="0" indent="0" algn="l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4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E014A56-6919-303A-F165-A8B9AFE52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0" name="navigation">
            <a:extLst>
              <a:ext uri="{FF2B5EF4-FFF2-40B4-BE49-F238E27FC236}">
                <a16:creationId xmlns:a16="http://schemas.microsoft.com/office/drawing/2014/main" id="{FD8D2581-6964-2778-6F2E-FEB7528273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52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5854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49 : Team : Profile 2 :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13CE9111-A551-DE35-7F96-3CB24C61C6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">
            <a:extLst>
              <a:ext uri="{FF2B5EF4-FFF2-40B4-BE49-F238E27FC236}">
                <a16:creationId xmlns:a16="http://schemas.microsoft.com/office/drawing/2014/main" id="{7679B2B8-7BD6-46FB-8D99-331D814C60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1DEF1CD6-C0CB-6D64-EE61-6612CF5942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8" name="picture right">
            <a:extLst>
              <a:ext uri="{FF2B5EF4-FFF2-40B4-BE49-F238E27FC236}">
                <a16:creationId xmlns:a16="http://schemas.microsoft.com/office/drawing/2014/main" id="{500BF364-B154-B732-45F8-3424E506904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140000" y="1980000"/>
            <a:ext cx="2376000" cy="2088000"/>
          </a:xfrm>
          <a:prstGeom prst="roundRect">
            <a:avLst>
              <a:gd name="adj" fmla="val 3390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ID" sz="1000"/>
            </a:lvl1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icon to add picture</a:t>
            </a:r>
            <a:endParaRPr lang="en-ID"/>
          </a:p>
        </p:txBody>
      </p:sp>
      <p:sp>
        <p:nvSpPr>
          <p:cNvPr id="20" name="content 6">
            <a:extLst>
              <a:ext uri="{FF2B5EF4-FFF2-40B4-BE49-F238E27FC236}">
                <a16:creationId xmlns:a16="http://schemas.microsoft.com/office/drawing/2014/main" id="{D66B83BD-F77A-871B-10EA-083838368142}"/>
              </a:ext>
            </a:extLst>
          </p:cNvPr>
          <p:cNvSpPr>
            <a:spLocks noGrp="1"/>
          </p:cNvSpPr>
          <p:nvPr>
            <p:ph sz="quarter" idx="73"/>
          </p:nvPr>
        </p:nvSpPr>
        <p:spPr>
          <a:xfrm>
            <a:off x="9036000" y="4174350"/>
            <a:ext cx="2592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19" name="content 5">
            <a:extLst>
              <a:ext uri="{FF2B5EF4-FFF2-40B4-BE49-F238E27FC236}">
                <a16:creationId xmlns:a16="http://schemas.microsoft.com/office/drawing/2014/main" id="{5AFBCE0C-30B2-68D8-714F-83FE52D6D288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6912570" y="4174350"/>
            <a:ext cx="1980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A2971DF2-F257-DB34-C757-4E8BFB3A77FF}"/>
              </a:ext>
            </a:extLst>
          </p:cNvPr>
          <p:cNvSpPr>
            <a:spLocks noGrp="1"/>
          </p:cNvSpPr>
          <p:nvPr>
            <p:ph sz="quarter" idx="71"/>
          </p:nvPr>
        </p:nvSpPr>
        <p:spPr>
          <a:xfrm>
            <a:off x="9036000" y="612000"/>
            <a:ext cx="2592000" cy="3456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FE2DAEC4-A246-1397-2D70-FD86B5008741}"/>
              </a:ext>
            </a:extLst>
          </p:cNvPr>
          <p:cNvSpPr>
            <a:spLocks noGrp="1"/>
          </p:cNvSpPr>
          <p:nvPr>
            <p:ph sz="quarter" idx="70"/>
          </p:nvPr>
        </p:nvSpPr>
        <p:spPr>
          <a:xfrm>
            <a:off x="6912570" y="611999"/>
            <a:ext cx="1980000" cy="345599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21" name="content 2b">
            <a:extLst>
              <a:ext uri="{FF2B5EF4-FFF2-40B4-BE49-F238E27FC236}">
                <a16:creationId xmlns:a16="http://schemas.microsoft.com/office/drawing/2014/main" id="{9EB4C0AC-9C38-EC69-120B-EE72F6F9486E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4140000" y="4174350"/>
            <a:ext cx="237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9" name="content 2a">
            <a:extLst>
              <a:ext uri="{FF2B5EF4-FFF2-40B4-BE49-F238E27FC236}">
                <a16:creationId xmlns:a16="http://schemas.microsoft.com/office/drawing/2014/main" id="{A906F57E-C1A7-ECB2-3187-C56320FE3720}"/>
              </a:ext>
            </a:extLst>
          </p:cNvPr>
          <p:cNvSpPr>
            <a:spLocks noGrp="1"/>
          </p:cNvSpPr>
          <p:nvPr>
            <p:ph sz="quarter" idx="69"/>
          </p:nvPr>
        </p:nvSpPr>
        <p:spPr>
          <a:xfrm>
            <a:off x="4140000" y="612000"/>
            <a:ext cx="2376000" cy="1332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dirty="0"/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3pPr>
            <a:lvl4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lang="en-US" sz="1000" smtClean="0"/>
            </a:lvl4pPr>
            <a:lvl5pPr>
              <a:defRPr lang="en-US" sz="1000" smtClean="0">
                <a:solidFill>
                  <a:schemeClr val="tx1"/>
                </a:solidFill>
              </a:defRPr>
            </a:lvl5pPr>
            <a:lvl6pPr>
              <a:defRPr lang="en-US" sz="1000" smtClean="0"/>
            </a:lvl6pPr>
            <a:lvl7pPr>
              <a:defRPr lang="en-US" sz="1000" smtClean="0"/>
            </a:lvl7pPr>
            <a:lvl8pPr>
              <a:defRPr lang="en-US" sz="1000" smtClean="0"/>
            </a:lvl8pPr>
            <a:lvl9pPr>
              <a:lnSpc>
                <a:spcPts val="1200"/>
              </a:lnSpc>
              <a:spcAft>
                <a:spcPts val="600"/>
              </a:spcAft>
              <a:defRPr lang="en-US" sz="1000" smtClean="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6" y="1980000"/>
            <a:ext cx="3420000" cy="4176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000" dirty="0"/>
            </a:lvl1pPr>
            <a:lvl2pPr>
              <a:defRPr lang="en-US" sz="1000"/>
            </a:lvl2pPr>
            <a:lvl3pPr>
              <a:defRPr lang="en-US" sz="1000"/>
            </a:lvl3pPr>
            <a:lvl4pPr>
              <a:defRPr lang="en-US" sz="1000"/>
            </a:lvl4pPr>
            <a:lvl5pPr>
              <a:defRPr lang="en-US" sz="1000">
                <a:solidFill>
                  <a:schemeClr val="tx1"/>
                </a:solidFill>
              </a:defRPr>
            </a:lvl5pPr>
            <a:lvl6pPr>
              <a:defRPr lang="en-US" sz="1000"/>
            </a:lvl6pPr>
            <a:lvl7pPr>
              <a:defRPr lang="en-US" sz="1000"/>
            </a:lvl7pPr>
            <a:lvl8pPr>
              <a:defRPr lang="en-US" sz="1000"/>
            </a:lvl8pPr>
            <a:lvl9pPr>
              <a:defRPr lang="en-US" sz="1000"/>
            </a:lvl9pPr>
          </a:lstStyle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Second level</a:t>
            </a:r>
          </a:p>
          <a:p>
            <a:pPr lvl="2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Third level </a:t>
            </a:r>
          </a:p>
          <a:p>
            <a:pPr lvl="3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ourth level</a:t>
            </a:r>
          </a:p>
          <a:p>
            <a:pPr lvl="4">
              <a:lnSpc>
                <a:spcPts val="16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/>
              <a:t>Fifth level</a:t>
            </a:r>
          </a:p>
          <a:p>
            <a:pPr lvl="5">
              <a:lnSpc>
                <a:spcPts val="1400"/>
              </a:lnSpc>
            </a:pPr>
            <a:r>
              <a:rPr lang="en-US"/>
              <a:t>Sixth level</a:t>
            </a:r>
          </a:p>
          <a:p>
            <a:pPr lvl="6">
              <a:lnSpc>
                <a:spcPts val="1400"/>
              </a:lnSpc>
            </a:pPr>
            <a:r>
              <a:rPr lang="en-US"/>
              <a:t>Seventh level</a:t>
            </a:r>
          </a:p>
          <a:p>
            <a:pPr lvl="7">
              <a:lnSpc>
                <a:spcPts val="1400"/>
              </a:lnSpc>
            </a:pPr>
            <a:r>
              <a:rPr lang="en-US"/>
              <a:t>Eighth level</a:t>
            </a:r>
          </a:p>
          <a:p>
            <a:pPr lvl="8">
              <a:lnSpc>
                <a:spcPts val="1400"/>
              </a:lnSpc>
            </a:pPr>
            <a:r>
              <a:rPr lang="en-US"/>
              <a:t>Ninth level</a:t>
            </a:r>
          </a:p>
          <a:p>
            <a:pPr lvl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</a:pPr>
            <a:endParaRPr lang="en-US"/>
          </a:p>
        </p:txBody>
      </p:sp>
      <p:sp>
        <p:nvSpPr>
          <p:cNvPr id="6" name="name">
            <a:extLst>
              <a:ext uri="{FF2B5EF4-FFF2-40B4-BE49-F238E27FC236}">
                <a16:creationId xmlns:a16="http://schemas.microsoft.com/office/drawing/2014/main" id="{4FD8DC43-2230-29E6-EA6A-D1148AB2ADCC}"/>
              </a:ext>
            </a:extLst>
          </p:cNvPr>
          <p:cNvSpPr>
            <a:spLocks noGrp="1"/>
          </p:cNvSpPr>
          <p:nvPr>
            <p:ph type="body" idx="68"/>
          </p:nvPr>
        </p:nvSpPr>
        <p:spPr>
          <a:xfrm>
            <a:off x="540000" y="1440000"/>
            <a:ext cx="3420000" cy="504000"/>
          </a:xfrm>
        </p:spPr>
        <p:txBody>
          <a:bodyPr lIns="0" rIns="0" anchor="t" anchorCtr="0"/>
          <a:lstStyle>
            <a:lvl1pPr marL="0" indent="0" algn="l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4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C42A5394-0582-37AA-737C-9A22F650E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3420000" cy="828000"/>
          </a:xfrm>
        </p:spPr>
        <p:txBody>
          <a:bodyPr vert="horz" anchor="t"/>
          <a:lstStyle/>
          <a:p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E2DB2781-02B7-8F48-880C-0864DAF6A9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52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6003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0 : picture left : 4 textbox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BBD0F61-C6BE-1EDD-E4BB-7009D5ED50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350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BBD0F61-C6BE-1EDD-E4BB-7009D5ED5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>
            <a:extLst>
              <a:ext uri="{FF2B5EF4-FFF2-40B4-BE49-F238E27FC236}">
                <a16:creationId xmlns:a16="http://schemas.microsoft.com/office/drawing/2014/main" id="{BEB57DBE-63B8-E581-3096-F2652E6BC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A0884F85-B37A-46FC-CACB-D048B0C1E0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C36A1B14-05F1-8B1B-20DA-31A9A97A78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2" name="oval">
            <a:extLst>
              <a:ext uri="{FF2B5EF4-FFF2-40B4-BE49-F238E27FC236}">
                <a16:creationId xmlns:a16="http://schemas.microsoft.com/office/drawing/2014/main" id="{9A44537D-B68D-942D-AA58-F0F816A94AE7}"/>
              </a:ext>
            </a:extLst>
          </p:cNvPr>
          <p:cNvSpPr/>
          <p:nvPr/>
        </p:nvSpPr>
        <p:spPr>
          <a:xfrm>
            <a:off x="4308272" y="1125538"/>
            <a:ext cx="900000" cy="900000"/>
          </a:xfrm>
          <a:prstGeom prst="ellipse">
            <a:avLst/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>
            <a:noFill/>
          </a:ln>
          <a:effectLst>
            <a:outerShdw blurRad="63500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>
              <a:solidFill>
                <a:schemeClr val="bg1"/>
              </a:solidFill>
            </a:endParaRPr>
          </a:p>
        </p:txBody>
      </p:sp>
      <p:sp>
        <p:nvSpPr>
          <p:cNvPr id="28" name="icon-placeholder">
            <a:extLst>
              <a:ext uri="{FF2B5EF4-FFF2-40B4-BE49-F238E27FC236}">
                <a16:creationId xmlns:a16="http://schemas.microsoft.com/office/drawing/2014/main" id="{7A046E54-CAF8-82C1-9111-5F55CCBA55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452272" y="1269538"/>
            <a:ext cx="612000" cy="612000"/>
          </a:xfrm>
          <a:prstGeom prst="ellipse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picture left 11cm">
            <a:extLst>
              <a:ext uri="{FF2B5EF4-FFF2-40B4-BE49-F238E27FC236}">
                <a16:creationId xmlns:a16="http://schemas.microsoft.com/office/drawing/2014/main" id="{74ED0BBF-0E8C-44D4-921F-066BA5C9B1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960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E318E77B-CFEA-5F69-2552-9B3EE92ACF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833138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text 3">
            <a:extLst>
              <a:ext uri="{FF2B5EF4-FFF2-40B4-BE49-F238E27FC236}">
                <a16:creationId xmlns:a16="http://schemas.microsoft.com/office/drawing/2014/main" id="{759DB7E1-A1AC-4FE8-5983-602E59EB1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080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CAE3D3F0-664E-ABBC-3640-50F182DB9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33138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292821D-E361-102A-F29E-3F6CA54EC1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logo placeholder">
            <a:extLst>
              <a:ext uri="{FF2B5EF4-FFF2-40B4-BE49-F238E27FC236}">
                <a16:creationId xmlns:a16="http://schemas.microsoft.com/office/drawing/2014/main" id="{1F75B0BC-6C5A-1CD1-854C-F1D8676D772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A7461C7-A592-D8D9-0006-53F1781C6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0" y="622301"/>
            <a:ext cx="612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C0586414-654D-FD5A-5B01-5890021AF4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2103" y="396000"/>
            <a:ext cx="61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4382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49 : team : 2 pictures : 2 names and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3" name="addtext">
            <a:extLst>
              <a:ext uri="{FF2B5EF4-FFF2-40B4-BE49-F238E27FC236}">
                <a16:creationId xmlns:a16="http://schemas.microsoft.com/office/drawing/2014/main" id="{849B6CFB-350C-3F26-0011-94A6E6A3954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646450" y="2113699"/>
            <a:ext cx="1980000" cy="4052151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  <a:lvl2pPr>
              <a:defRPr lang="en-US" sz="1200"/>
            </a:lvl2pPr>
            <a:lvl3pPr>
              <a:defRPr lang="en-US" sz="1200"/>
            </a:lvl3pPr>
            <a:lvl4pPr>
              <a:defRPr lang="en-US" sz="1200"/>
            </a:lvl4pPr>
            <a:lvl5pPr>
              <a:defRPr lang="en-US" sz="1200"/>
            </a:lvl5pPr>
            <a:lvl6pPr>
              <a:defRPr lang="en-US" sz="1200"/>
            </a:lvl6pPr>
            <a:lvl7pPr>
              <a:defRPr lang="en-US" sz="1200"/>
            </a:lvl7pPr>
            <a:lvl8pPr>
              <a:defRPr lang="en-US" sz="1200"/>
            </a:lvl8pPr>
            <a:lvl9pPr>
              <a:defRPr lang="en-US" sz="1200" dirty="0"/>
            </a:lvl9pPr>
          </a:lstStyle>
          <a:p>
            <a:pPr lvl="0">
              <a:lnSpc>
                <a:spcPts val="1600"/>
              </a:lnSpc>
            </a:pPr>
            <a:endParaRPr lang="en-US"/>
          </a:p>
        </p:txBody>
      </p:sp>
      <p:sp>
        <p:nvSpPr>
          <p:cNvPr id="18" name="subtilte 3">
            <a:extLst>
              <a:ext uri="{FF2B5EF4-FFF2-40B4-BE49-F238E27FC236}">
                <a16:creationId xmlns:a16="http://schemas.microsoft.com/office/drawing/2014/main" id="{BE659DA4-361D-0068-83B9-84A1D509112C}"/>
              </a:ext>
            </a:extLst>
          </p:cNvPr>
          <p:cNvSpPr>
            <a:spLocks noGrp="1"/>
          </p:cNvSpPr>
          <p:nvPr>
            <p:ph type="body" idx="70"/>
          </p:nvPr>
        </p:nvSpPr>
        <p:spPr>
          <a:xfrm>
            <a:off x="9646450" y="1512000"/>
            <a:ext cx="1994688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" name="CV 2 text">
            <a:extLst>
              <a:ext uri="{FF2B5EF4-FFF2-40B4-BE49-F238E27FC236}">
                <a16:creationId xmlns:a16="http://schemas.microsoft.com/office/drawing/2014/main" id="{A82276AA-556D-9F16-87C3-9A3502D09B6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110698" y="3780000"/>
            <a:ext cx="4320000" cy="2376000"/>
          </a:xfrm>
        </p:spPr>
        <p:txBody>
          <a:bodyPr lIns="0" rIns="0"/>
          <a:lstStyle>
            <a:lvl1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1pPr>
            <a:lvl2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2pPr>
            <a:lvl3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  <a:lvl6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6pPr>
            <a:lvl7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7pPr>
            <a:lvl8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9pPr>
          </a:lstStyle>
          <a:p>
            <a:pPr lvl="0"/>
            <a:endParaRPr lang="en-US"/>
          </a:p>
        </p:txBody>
      </p:sp>
      <p:sp>
        <p:nvSpPr>
          <p:cNvPr id="67" name="bg shadow 2">
            <a:extLst>
              <a:ext uri="{FF2B5EF4-FFF2-40B4-BE49-F238E27FC236}">
                <a16:creationId xmlns:a16="http://schemas.microsoft.com/office/drawing/2014/main" id="{D5E34A60-AEFD-CB5F-7F16-E61E1EB95B46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5109652" y="2119313"/>
            <a:ext cx="432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8" name="role 2">
            <a:extLst>
              <a:ext uri="{FF2B5EF4-FFF2-40B4-BE49-F238E27FC236}">
                <a16:creationId xmlns:a16="http://schemas.microsoft.com/office/drawing/2014/main" id="{E9030E3B-9B95-4FBF-2233-89490F1AF5B0}"/>
              </a:ext>
            </a:extLst>
          </p:cNvPr>
          <p:cNvSpPr>
            <a:spLocks noGrp="1"/>
          </p:cNvSpPr>
          <p:nvPr>
            <p:ph type="body" idx="64"/>
          </p:nvPr>
        </p:nvSpPr>
        <p:spPr>
          <a:xfrm>
            <a:off x="6704843" y="2839175"/>
            <a:ext cx="2700000" cy="72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69" name="name 2">
            <a:extLst>
              <a:ext uri="{FF2B5EF4-FFF2-40B4-BE49-F238E27FC236}">
                <a16:creationId xmlns:a16="http://schemas.microsoft.com/office/drawing/2014/main" id="{44161A00-43BE-C269-836D-806038B0D335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6704843" y="2129755"/>
            <a:ext cx="2700000" cy="648000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70" name="picture 2">
            <a:extLst>
              <a:ext uri="{FF2B5EF4-FFF2-40B4-BE49-F238E27FC236}">
                <a16:creationId xmlns:a16="http://schemas.microsoft.com/office/drawing/2014/main" id="{15F978E7-316F-2B35-EAB8-3EC1599AEF34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5112000" y="2120107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3" name="subtilte 2">
            <a:extLst>
              <a:ext uri="{FF2B5EF4-FFF2-40B4-BE49-F238E27FC236}">
                <a16:creationId xmlns:a16="http://schemas.microsoft.com/office/drawing/2014/main" id="{8BED4AE3-69E6-C919-F264-88E9828D555F}"/>
              </a:ext>
            </a:extLst>
          </p:cNvPr>
          <p:cNvSpPr>
            <a:spLocks noGrp="1"/>
          </p:cNvSpPr>
          <p:nvPr>
            <p:ph type="body" idx="68"/>
          </p:nvPr>
        </p:nvSpPr>
        <p:spPr>
          <a:xfrm>
            <a:off x="5112000" y="1512000"/>
            <a:ext cx="4320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5" name="CV 1 text">
            <a:extLst>
              <a:ext uri="{FF2B5EF4-FFF2-40B4-BE49-F238E27FC236}">
                <a16:creationId xmlns:a16="http://schemas.microsoft.com/office/drawing/2014/main" id="{907A54C3-A2FF-A59E-41B3-23D2F7C1E59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6000" y="3780000"/>
            <a:ext cx="4320000" cy="2376000"/>
          </a:xfrm>
        </p:spPr>
        <p:txBody>
          <a:bodyPr lIns="0" rIns="0"/>
          <a:lstStyle>
            <a:lvl1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1pPr>
            <a:lvl2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2pPr>
            <a:lvl3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  <a:lvl6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6pPr>
            <a:lvl7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7pPr>
            <a:lvl8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9pPr>
          </a:lstStyle>
          <a:p>
            <a:pPr lvl="0"/>
            <a:endParaRPr lang="en-US"/>
          </a:p>
        </p:txBody>
      </p:sp>
      <p:sp>
        <p:nvSpPr>
          <p:cNvPr id="55" name="bg shadow 1">
            <a:extLst>
              <a:ext uri="{FF2B5EF4-FFF2-40B4-BE49-F238E27FC236}">
                <a16:creationId xmlns:a16="http://schemas.microsoft.com/office/drawing/2014/main" id="{83DA22D8-9131-568E-6E2F-B7A56687533C}"/>
              </a:ext>
            </a:extLst>
          </p:cNvPr>
          <p:cNvSpPr>
            <a:spLocks noGrp="1"/>
          </p:cNvSpPr>
          <p:nvPr>
            <p:ph type="body" idx="51"/>
          </p:nvPr>
        </p:nvSpPr>
        <p:spPr>
          <a:xfrm>
            <a:off x="542100" y="2119313"/>
            <a:ext cx="432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56" name="role 1">
            <a:extLst>
              <a:ext uri="{FF2B5EF4-FFF2-40B4-BE49-F238E27FC236}">
                <a16:creationId xmlns:a16="http://schemas.microsoft.com/office/drawing/2014/main" id="{4BDE1970-44C9-ADD3-EE45-3879EA6103C9}"/>
              </a:ext>
            </a:extLst>
          </p:cNvPr>
          <p:cNvSpPr>
            <a:spLocks noGrp="1"/>
          </p:cNvSpPr>
          <p:nvPr>
            <p:ph type="body" idx="52"/>
          </p:nvPr>
        </p:nvSpPr>
        <p:spPr>
          <a:xfrm>
            <a:off x="2130148" y="2839175"/>
            <a:ext cx="2700000" cy="72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7" name="name 1">
            <a:extLst>
              <a:ext uri="{FF2B5EF4-FFF2-40B4-BE49-F238E27FC236}">
                <a16:creationId xmlns:a16="http://schemas.microsoft.com/office/drawing/2014/main" id="{9C57D439-9620-24B8-87D8-5D3533B43D0E}"/>
              </a:ext>
            </a:extLst>
          </p:cNvPr>
          <p:cNvSpPr>
            <a:spLocks noGrp="1"/>
          </p:cNvSpPr>
          <p:nvPr>
            <p:ph type="body" idx="53"/>
          </p:nvPr>
        </p:nvSpPr>
        <p:spPr>
          <a:xfrm>
            <a:off x="2130148" y="2129755"/>
            <a:ext cx="2700000" cy="648000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8" name="picture 1">
            <a:extLst>
              <a:ext uri="{FF2B5EF4-FFF2-40B4-BE49-F238E27FC236}">
                <a16:creationId xmlns:a16="http://schemas.microsoft.com/office/drawing/2014/main" id="{9FBEFBBA-35B6-CE98-58D2-8F96D15F6FF4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0000" y="2120107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E1C428F9-ED39-3296-3569-1B7720A02641}"/>
              </a:ext>
            </a:extLst>
          </p:cNvPr>
          <p:cNvSpPr>
            <a:spLocks noGrp="1"/>
          </p:cNvSpPr>
          <p:nvPr>
            <p:ph type="body" idx="67"/>
          </p:nvPr>
        </p:nvSpPr>
        <p:spPr>
          <a:xfrm>
            <a:off x="540000" y="1512000"/>
            <a:ext cx="4320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E344807-457D-3CED-9971-F478B70A6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0151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9 : team : 3 pictures : 3 names and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">
            <a:extLst>
              <a:ext uri="{FF2B5EF4-FFF2-40B4-BE49-F238E27FC236}">
                <a16:creationId xmlns:a16="http://schemas.microsoft.com/office/drawing/2014/main" id="{FE8AD4AF-536E-EE81-A96B-29B63B21116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93" name="subhead 3">
            <a:extLst>
              <a:ext uri="{FF2B5EF4-FFF2-40B4-BE49-F238E27FC236}">
                <a16:creationId xmlns:a16="http://schemas.microsoft.com/office/drawing/2014/main" id="{A621FD8A-0372-D7B0-7589-D502248B585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803175" y="1800000"/>
            <a:ext cx="2592000" cy="436585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7" name="text 3">
            <a:extLst>
              <a:ext uri="{FF2B5EF4-FFF2-40B4-BE49-F238E27FC236}">
                <a16:creationId xmlns:a16="http://schemas.microsoft.com/office/drawing/2014/main" id="{03D9F645-BD61-312D-FDBA-3F63F457F0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96825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endParaRPr lang="en-US"/>
          </a:p>
        </p:txBody>
      </p:sp>
      <p:sp>
        <p:nvSpPr>
          <p:cNvPr id="14" name="picture 3">
            <a:extLst>
              <a:ext uri="{FF2B5EF4-FFF2-40B4-BE49-F238E27FC236}">
                <a16:creationId xmlns:a16="http://schemas.microsoft.com/office/drawing/2014/main" id="{9FF70640-2E25-EBCF-C164-4D8776EDCC0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802363" y="1790475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92" name="subhead 2">
            <a:extLst>
              <a:ext uri="{FF2B5EF4-FFF2-40B4-BE49-F238E27FC236}">
                <a16:creationId xmlns:a16="http://schemas.microsoft.com/office/drawing/2014/main" id="{0C79B4B6-AEFC-E24C-2B7C-4FE3BD9C9C77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4798412" y="1800000"/>
            <a:ext cx="2592000" cy="4365850"/>
          </a:xfrm>
          <a:prstGeom prst="roundRect">
            <a:avLst>
              <a:gd name="adj" fmla="val 699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id="{AE529241-D4E7-89E7-5EA8-61F00FC649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8412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endParaRPr lang="en-US"/>
          </a:p>
        </p:txBody>
      </p:sp>
      <p:sp>
        <p:nvSpPr>
          <p:cNvPr id="13" name="picture 2">
            <a:extLst>
              <a:ext uri="{FF2B5EF4-FFF2-40B4-BE49-F238E27FC236}">
                <a16:creationId xmlns:a16="http://schemas.microsoft.com/office/drawing/2014/main" id="{55B5AD6C-F5DC-9656-D99B-A67A0B7E50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800073" y="1790475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49" name="subhead 1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0" y="1800000"/>
            <a:ext cx="2592000" cy="4365850"/>
          </a:xfrm>
          <a:prstGeom prst="roundRect">
            <a:avLst>
              <a:gd name="adj" fmla="val 5284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907A54C3-A2FF-A59E-41B3-23D2F7C1E59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800000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endParaRPr lang="en-US"/>
          </a:p>
        </p:txBody>
      </p:sp>
      <p:sp>
        <p:nvSpPr>
          <p:cNvPr id="11" name="picture 1">
            <a:extLst>
              <a:ext uri="{FF2B5EF4-FFF2-40B4-BE49-F238E27FC236}">
                <a16:creationId xmlns:a16="http://schemas.microsoft.com/office/drawing/2014/main" id="{48BC97E5-F4FC-CFC7-7C93-504C59D7A2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800794" y="1790475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4593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49 : team : 4 pictures : 4 names and roles :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5" name="extratext 3">
            <a:extLst>
              <a:ext uri="{FF2B5EF4-FFF2-40B4-BE49-F238E27FC236}">
                <a16:creationId xmlns:a16="http://schemas.microsoft.com/office/drawing/2014/main" id="{907A54C3-A2FF-A59E-41B3-23D2F7C1E59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510356" y="2129755"/>
            <a:ext cx="3132000" cy="3060000"/>
          </a:xfrm>
        </p:spPr>
        <p:txBody>
          <a:bodyPr lIns="0" rIns="0"/>
          <a:lstStyle>
            <a:lvl1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1pPr>
            <a:lvl2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2pPr>
            <a:lvl3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  <a:lvl6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6pPr>
            <a:lvl7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7pPr>
            <a:lvl8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9pPr>
          </a:lstStyle>
          <a:p>
            <a:pPr lvl="0"/>
            <a:endParaRPr lang="en-US"/>
          </a:p>
        </p:txBody>
      </p:sp>
      <p:sp>
        <p:nvSpPr>
          <p:cNvPr id="6" name="name 3">
            <a:extLst>
              <a:ext uri="{FF2B5EF4-FFF2-40B4-BE49-F238E27FC236}">
                <a16:creationId xmlns:a16="http://schemas.microsoft.com/office/drawing/2014/main" id="{1C653765-1CB5-F006-FC70-1B326B107DBC}"/>
              </a:ext>
            </a:extLst>
          </p:cNvPr>
          <p:cNvSpPr>
            <a:spLocks noGrp="1"/>
          </p:cNvSpPr>
          <p:nvPr>
            <p:ph type="body" idx="69"/>
          </p:nvPr>
        </p:nvSpPr>
        <p:spPr>
          <a:xfrm>
            <a:off x="8510356" y="1512000"/>
            <a:ext cx="3153644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63" name="subhead 2.2">
            <a:extLst>
              <a:ext uri="{FF2B5EF4-FFF2-40B4-BE49-F238E27FC236}">
                <a16:creationId xmlns:a16="http://schemas.microsoft.com/office/drawing/2014/main" id="{5E9FF420-AE4E-B6D5-7A75-0EAED10C9583}"/>
              </a:ext>
            </a:extLst>
          </p:cNvPr>
          <p:cNvSpPr>
            <a:spLocks noGrp="1"/>
          </p:cNvSpPr>
          <p:nvPr>
            <p:ph type="body" idx="59"/>
          </p:nvPr>
        </p:nvSpPr>
        <p:spPr>
          <a:xfrm>
            <a:off x="4527278" y="3735676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4" name="role 2.2">
            <a:extLst>
              <a:ext uri="{FF2B5EF4-FFF2-40B4-BE49-F238E27FC236}">
                <a16:creationId xmlns:a16="http://schemas.microsoft.com/office/drawing/2014/main" id="{8F7C39DC-C8E1-D238-124E-F021D16845FB}"/>
              </a:ext>
            </a:extLst>
          </p:cNvPr>
          <p:cNvSpPr>
            <a:spLocks noGrp="1"/>
          </p:cNvSpPr>
          <p:nvPr>
            <p:ph type="body" idx="60"/>
          </p:nvPr>
        </p:nvSpPr>
        <p:spPr>
          <a:xfrm>
            <a:off x="6115328" y="4458713"/>
            <a:ext cx="1979612" cy="72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65" name="name 2.2">
            <a:extLst>
              <a:ext uri="{FF2B5EF4-FFF2-40B4-BE49-F238E27FC236}">
                <a16:creationId xmlns:a16="http://schemas.microsoft.com/office/drawing/2014/main" id="{93AF7DC2-179D-17D8-825F-4CD149B78523}"/>
              </a:ext>
            </a:extLst>
          </p:cNvPr>
          <p:cNvSpPr>
            <a:spLocks noGrp="1"/>
          </p:cNvSpPr>
          <p:nvPr>
            <p:ph type="body" idx="61"/>
          </p:nvPr>
        </p:nvSpPr>
        <p:spPr>
          <a:xfrm>
            <a:off x="6115328" y="3749294"/>
            <a:ext cx="1979612" cy="648000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66" name="picture 2.2">
            <a:extLst>
              <a:ext uri="{FF2B5EF4-FFF2-40B4-BE49-F238E27FC236}">
                <a16:creationId xmlns:a16="http://schemas.microsoft.com/office/drawing/2014/main" id="{E8AF6756-10EA-EB48-BA08-728E45D9EBF2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4525178" y="3735289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67" name="subhead 2">
            <a:extLst>
              <a:ext uri="{FF2B5EF4-FFF2-40B4-BE49-F238E27FC236}">
                <a16:creationId xmlns:a16="http://schemas.microsoft.com/office/drawing/2014/main" id="{D5E34A60-AEFD-CB5F-7F16-E61E1EB95B46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4527278" y="2119313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8" name="role 2">
            <a:extLst>
              <a:ext uri="{FF2B5EF4-FFF2-40B4-BE49-F238E27FC236}">
                <a16:creationId xmlns:a16="http://schemas.microsoft.com/office/drawing/2014/main" id="{E9030E3B-9B95-4FBF-2233-89490F1AF5B0}"/>
              </a:ext>
            </a:extLst>
          </p:cNvPr>
          <p:cNvSpPr>
            <a:spLocks noGrp="1"/>
          </p:cNvSpPr>
          <p:nvPr>
            <p:ph type="body" idx="64"/>
          </p:nvPr>
        </p:nvSpPr>
        <p:spPr>
          <a:xfrm>
            <a:off x="6115328" y="2839175"/>
            <a:ext cx="1979612" cy="72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69" name="name 2">
            <a:extLst>
              <a:ext uri="{FF2B5EF4-FFF2-40B4-BE49-F238E27FC236}">
                <a16:creationId xmlns:a16="http://schemas.microsoft.com/office/drawing/2014/main" id="{44161A00-43BE-C269-836D-806038B0D335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6115328" y="2129755"/>
            <a:ext cx="1979612" cy="648000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70" name="picture 2">
            <a:extLst>
              <a:ext uri="{FF2B5EF4-FFF2-40B4-BE49-F238E27FC236}">
                <a16:creationId xmlns:a16="http://schemas.microsoft.com/office/drawing/2014/main" id="{15F978E7-316F-2B35-EAB8-3EC1599AEF34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525178" y="2120107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3" name="name 2">
            <a:extLst>
              <a:ext uri="{FF2B5EF4-FFF2-40B4-BE49-F238E27FC236}">
                <a16:creationId xmlns:a16="http://schemas.microsoft.com/office/drawing/2014/main" id="{8BED4AE3-69E6-C919-F264-88E9828D555F}"/>
              </a:ext>
            </a:extLst>
          </p:cNvPr>
          <p:cNvSpPr>
            <a:spLocks noGrp="1"/>
          </p:cNvSpPr>
          <p:nvPr>
            <p:ph type="body" idx="68"/>
          </p:nvPr>
        </p:nvSpPr>
        <p:spPr>
          <a:xfrm>
            <a:off x="4527278" y="1512000"/>
            <a:ext cx="3600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1" name="subhead 1.2">
            <a:extLst>
              <a:ext uri="{FF2B5EF4-FFF2-40B4-BE49-F238E27FC236}">
                <a16:creationId xmlns:a16="http://schemas.microsoft.com/office/drawing/2014/main" id="{B299DAE8-5EE0-BE0F-0EB7-2E8B2289B134}"/>
              </a:ext>
            </a:extLst>
          </p:cNvPr>
          <p:cNvSpPr>
            <a:spLocks noGrp="1"/>
          </p:cNvSpPr>
          <p:nvPr>
            <p:ph type="body" idx="47"/>
          </p:nvPr>
        </p:nvSpPr>
        <p:spPr>
          <a:xfrm>
            <a:off x="542100" y="3735676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52" name="role 1.2">
            <a:extLst>
              <a:ext uri="{FF2B5EF4-FFF2-40B4-BE49-F238E27FC236}">
                <a16:creationId xmlns:a16="http://schemas.microsoft.com/office/drawing/2014/main" id="{B746FD40-314C-3697-899E-05FC1C879DD5}"/>
              </a:ext>
            </a:extLst>
          </p:cNvPr>
          <p:cNvSpPr>
            <a:spLocks noGrp="1"/>
          </p:cNvSpPr>
          <p:nvPr>
            <p:ph type="body" idx="48"/>
          </p:nvPr>
        </p:nvSpPr>
        <p:spPr>
          <a:xfrm>
            <a:off x="2130150" y="4458713"/>
            <a:ext cx="1979612" cy="72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3" name="name 1.2">
            <a:extLst>
              <a:ext uri="{FF2B5EF4-FFF2-40B4-BE49-F238E27FC236}">
                <a16:creationId xmlns:a16="http://schemas.microsoft.com/office/drawing/2014/main" id="{93DD4974-9E07-4AF9-7BDE-52E99DCCD507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2130150" y="3749294"/>
            <a:ext cx="1979612" cy="648000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4" name="picture 1.2">
            <a:extLst>
              <a:ext uri="{FF2B5EF4-FFF2-40B4-BE49-F238E27FC236}">
                <a16:creationId xmlns:a16="http://schemas.microsoft.com/office/drawing/2014/main" id="{8D77766B-F1D5-2967-9D02-8E610BEE28E5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40000" y="3735289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55" name="subhead 1">
            <a:extLst>
              <a:ext uri="{FF2B5EF4-FFF2-40B4-BE49-F238E27FC236}">
                <a16:creationId xmlns:a16="http://schemas.microsoft.com/office/drawing/2014/main" id="{83DA22D8-9131-568E-6E2F-B7A56687533C}"/>
              </a:ext>
            </a:extLst>
          </p:cNvPr>
          <p:cNvSpPr>
            <a:spLocks noGrp="1"/>
          </p:cNvSpPr>
          <p:nvPr>
            <p:ph type="body" idx="51"/>
          </p:nvPr>
        </p:nvSpPr>
        <p:spPr>
          <a:xfrm>
            <a:off x="542100" y="2119313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56" name="role 1">
            <a:extLst>
              <a:ext uri="{FF2B5EF4-FFF2-40B4-BE49-F238E27FC236}">
                <a16:creationId xmlns:a16="http://schemas.microsoft.com/office/drawing/2014/main" id="{4BDE1970-44C9-ADD3-EE45-3879EA6103C9}"/>
              </a:ext>
            </a:extLst>
          </p:cNvPr>
          <p:cNvSpPr>
            <a:spLocks noGrp="1"/>
          </p:cNvSpPr>
          <p:nvPr>
            <p:ph type="body" idx="52"/>
          </p:nvPr>
        </p:nvSpPr>
        <p:spPr>
          <a:xfrm>
            <a:off x="2130150" y="2839175"/>
            <a:ext cx="1979612" cy="72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7" name="name 1">
            <a:extLst>
              <a:ext uri="{FF2B5EF4-FFF2-40B4-BE49-F238E27FC236}">
                <a16:creationId xmlns:a16="http://schemas.microsoft.com/office/drawing/2014/main" id="{9C57D439-9620-24B8-87D8-5D3533B43D0E}"/>
              </a:ext>
            </a:extLst>
          </p:cNvPr>
          <p:cNvSpPr>
            <a:spLocks noGrp="1"/>
          </p:cNvSpPr>
          <p:nvPr>
            <p:ph type="body" idx="53"/>
          </p:nvPr>
        </p:nvSpPr>
        <p:spPr>
          <a:xfrm>
            <a:off x="2130150" y="2129755"/>
            <a:ext cx="1979612" cy="648000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8" name="picture 1">
            <a:extLst>
              <a:ext uri="{FF2B5EF4-FFF2-40B4-BE49-F238E27FC236}">
                <a16:creationId xmlns:a16="http://schemas.microsoft.com/office/drawing/2014/main" id="{9FBEFBBA-35B6-CE98-58D2-8F96D15F6FF4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0000" y="2120107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2" name="name 1">
            <a:extLst>
              <a:ext uri="{FF2B5EF4-FFF2-40B4-BE49-F238E27FC236}">
                <a16:creationId xmlns:a16="http://schemas.microsoft.com/office/drawing/2014/main" id="{E1C428F9-ED39-3296-3569-1B7720A02641}"/>
              </a:ext>
            </a:extLst>
          </p:cNvPr>
          <p:cNvSpPr>
            <a:spLocks noGrp="1"/>
          </p:cNvSpPr>
          <p:nvPr>
            <p:ph type="body" idx="67"/>
          </p:nvPr>
        </p:nvSpPr>
        <p:spPr>
          <a:xfrm>
            <a:off x="540000" y="1512000"/>
            <a:ext cx="3600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E344807-457D-3CED-9971-F478B70A6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4144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49 : team : 5 pictures : 5 names and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6" name="subhead 5">
            <a:extLst>
              <a:ext uri="{FF2B5EF4-FFF2-40B4-BE49-F238E27FC236}">
                <a16:creationId xmlns:a16="http://schemas.microsoft.com/office/drawing/2014/main" id="{4E1C1AAF-A0BE-06A6-F614-641D5BEB518A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9646450" y="1989138"/>
            <a:ext cx="1980000" cy="4176712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0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33" name="text 5">
            <a:extLst>
              <a:ext uri="{FF2B5EF4-FFF2-40B4-BE49-F238E27FC236}">
                <a16:creationId xmlns:a16="http://schemas.microsoft.com/office/drawing/2014/main" id="{17C954FA-43AD-EB36-53A4-5094CC436D7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646450" y="4869138"/>
            <a:ext cx="1980000" cy="1296712"/>
          </a:xfrm>
        </p:spPr>
        <p:txBody>
          <a:bodyPr lIns="144000" rIns="72000"/>
          <a:lstStyle>
            <a:lvl1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1pPr>
            <a:lvl2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2pPr>
            <a:lvl3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3pPr>
            <a:lvl4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4pPr>
            <a:lvl5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5pPr>
            <a:lvl6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6pPr>
            <a:lvl7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7pPr>
            <a:lvl8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8pPr>
            <a:lvl9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9pPr>
          </a:lstStyle>
          <a:p>
            <a:pPr lvl="0"/>
            <a:endParaRPr lang="en-US"/>
          </a:p>
        </p:txBody>
      </p:sp>
      <p:sp>
        <p:nvSpPr>
          <p:cNvPr id="28" name="role 5">
            <a:extLst>
              <a:ext uri="{FF2B5EF4-FFF2-40B4-BE49-F238E27FC236}">
                <a16:creationId xmlns:a16="http://schemas.microsoft.com/office/drawing/2014/main" id="{97D658EF-A00F-7DBB-D679-DDF7058203BF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9646450" y="4365972"/>
            <a:ext cx="1979612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9" name="name 5">
            <a:extLst>
              <a:ext uri="{FF2B5EF4-FFF2-40B4-BE49-F238E27FC236}">
                <a16:creationId xmlns:a16="http://schemas.microsoft.com/office/drawing/2014/main" id="{4159ED2E-B4DC-9421-4A49-F72FAA7D1B81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9646450" y="3925774"/>
            <a:ext cx="1979612" cy="36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9" name="picture 5">
            <a:extLst>
              <a:ext uri="{FF2B5EF4-FFF2-40B4-BE49-F238E27FC236}">
                <a16:creationId xmlns:a16="http://schemas.microsoft.com/office/drawing/2014/main" id="{A8AC1CB6-247B-124F-1A7A-0B5624FB892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648000" y="1989138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35" name="name 5">
            <a:extLst>
              <a:ext uri="{FF2B5EF4-FFF2-40B4-BE49-F238E27FC236}">
                <a16:creationId xmlns:a16="http://schemas.microsoft.com/office/drawing/2014/main" id="{74C3C0E1-BE63-8667-4822-DC87CF13CFB1}"/>
              </a:ext>
            </a:extLst>
          </p:cNvPr>
          <p:cNvSpPr>
            <a:spLocks noGrp="1"/>
          </p:cNvSpPr>
          <p:nvPr>
            <p:ph type="body" idx="47"/>
          </p:nvPr>
        </p:nvSpPr>
        <p:spPr>
          <a:xfrm>
            <a:off x="9646450" y="1512000"/>
            <a:ext cx="1979612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lang="en-US" sz="1200" b="0" kern="1200" cap="all" spc="10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/>
          </a:p>
        </p:txBody>
      </p:sp>
      <p:sp>
        <p:nvSpPr>
          <p:cNvPr id="2" name="subhead 4">
            <a:extLst>
              <a:ext uri="{FF2B5EF4-FFF2-40B4-BE49-F238E27FC236}">
                <a16:creationId xmlns:a16="http://schemas.microsoft.com/office/drawing/2014/main" id="{2E60EAAC-E319-6243-2FAB-917688217B61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7371000" y="1989138"/>
            <a:ext cx="1980000" cy="4176712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32" name="text 4">
            <a:extLst>
              <a:ext uri="{FF2B5EF4-FFF2-40B4-BE49-F238E27FC236}">
                <a16:creationId xmlns:a16="http://schemas.microsoft.com/office/drawing/2014/main" id="{A19B5ABD-384E-EA78-F0C0-AAC4E909FA0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7369838" y="4869138"/>
            <a:ext cx="1980000" cy="1296712"/>
          </a:xfrm>
        </p:spPr>
        <p:txBody>
          <a:bodyPr lIns="144000" rIns="72000"/>
          <a:lstStyle>
            <a:lvl1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1pPr>
            <a:lvl2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2pPr>
            <a:lvl3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3pPr>
            <a:lvl4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4pPr>
            <a:lvl5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5pPr>
            <a:lvl6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6pPr>
            <a:lvl7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7pPr>
            <a:lvl8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8pPr>
            <a:lvl9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9pPr>
          </a:lstStyle>
          <a:p>
            <a:pPr lvl="0"/>
            <a:endParaRPr lang="en-US"/>
          </a:p>
        </p:txBody>
      </p:sp>
      <p:sp>
        <p:nvSpPr>
          <p:cNvPr id="26" name="role 4">
            <a:extLst>
              <a:ext uri="{FF2B5EF4-FFF2-40B4-BE49-F238E27FC236}">
                <a16:creationId xmlns:a16="http://schemas.microsoft.com/office/drawing/2014/main" id="{E724F387-97F8-EF43-10D3-1A269E7A6CAF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371000" y="4365972"/>
            <a:ext cx="1979612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93368B83-F4A5-3024-C521-5C72B7BD97B3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7371000" y="3925774"/>
            <a:ext cx="1979612" cy="36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" name="picture 4">
            <a:extLst>
              <a:ext uri="{FF2B5EF4-FFF2-40B4-BE49-F238E27FC236}">
                <a16:creationId xmlns:a16="http://schemas.microsoft.com/office/drawing/2014/main" id="{ED5FC855-3CBD-1480-193E-6226E97D0A5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371000" y="1989138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36" name="name 4">
            <a:extLst>
              <a:ext uri="{FF2B5EF4-FFF2-40B4-BE49-F238E27FC236}">
                <a16:creationId xmlns:a16="http://schemas.microsoft.com/office/drawing/2014/main" id="{4C0A7D5A-161A-484D-80C2-40B4C19CC3A8}"/>
              </a:ext>
            </a:extLst>
          </p:cNvPr>
          <p:cNvSpPr>
            <a:spLocks noGrp="1"/>
          </p:cNvSpPr>
          <p:nvPr>
            <p:ph type="body" idx="48"/>
          </p:nvPr>
        </p:nvSpPr>
        <p:spPr>
          <a:xfrm>
            <a:off x="7371000" y="1512000"/>
            <a:ext cx="1979612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lang="en-US" sz="1200" b="0" kern="1200" cap="all" spc="10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/>
          </a:p>
        </p:txBody>
      </p:sp>
      <p:sp>
        <p:nvSpPr>
          <p:cNvPr id="93" name="subhead 3">
            <a:extLst>
              <a:ext uri="{FF2B5EF4-FFF2-40B4-BE49-F238E27FC236}">
                <a16:creationId xmlns:a16="http://schemas.microsoft.com/office/drawing/2014/main" id="{A621FD8A-0372-D7B0-7589-D502248B585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5094000" y="1989138"/>
            <a:ext cx="1980000" cy="4176712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31" name="text 3">
            <a:extLst>
              <a:ext uri="{FF2B5EF4-FFF2-40B4-BE49-F238E27FC236}">
                <a16:creationId xmlns:a16="http://schemas.microsoft.com/office/drawing/2014/main" id="{22D284A5-9502-B58F-70AF-85E8C654CBA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093226" y="4869138"/>
            <a:ext cx="1980000" cy="1296712"/>
          </a:xfrm>
        </p:spPr>
        <p:txBody>
          <a:bodyPr lIns="144000" rIns="72000"/>
          <a:lstStyle>
            <a:lvl1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1pPr>
            <a:lvl2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2pPr>
            <a:lvl3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3pPr>
            <a:lvl4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4pPr>
            <a:lvl5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5pPr>
            <a:lvl6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6pPr>
            <a:lvl7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7pPr>
            <a:lvl8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8pPr>
            <a:lvl9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9pPr>
          </a:lstStyle>
          <a:p>
            <a:pPr lvl="0"/>
            <a:endParaRPr lang="en-US"/>
          </a:p>
        </p:txBody>
      </p:sp>
      <p:sp>
        <p:nvSpPr>
          <p:cNvPr id="24" name="role 3">
            <a:extLst>
              <a:ext uri="{FF2B5EF4-FFF2-40B4-BE49-F238E27FC236}">
                <a16:creationId xmlns:a16="http://schemas.microsoft.com/office/drawing/2014/main" id="{F470F2DA-FCB8-F5D5-6B88-F425D328022F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5094000" y="4365972"/>
            <a:ext cx="1979612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5" name="name 3">
            <a:extLst>
              <a:ext uri="{FF2B5EF4-FFF2-40B4-BE49-F238E27FC236}">
                <a16:creationId xmlns:a16="http://schemas.microsoft.com/office/drawing/2014/main" id="{9FE0C0EA-647E-8F96-2324-D5CE5B15EE2A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5094000" y="3925774"/>
            <a:ext cx="1979612" cy="36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4" name="picture 3">
            <a:extLst>
              <a:ext uri="{FF2B5EF4-FFF2-40B4-BE49-F238E27FC236}">
                <a16:creationId xmlns:a16="http://schemas.microsoft.com/office/drawing/2014/main" id="{9FF70640-2E25-EBCF-C164-4D8776EDCC0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94000" y="1989138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37" name="name 3">
            <a:extLst>
              <a:ext uri="{FF2B5EF4-FFF2-40B4-BE49-F238E27FC236}">
                <a16:creationId xmlns:a16="http://schemas.microsoft.com/office/drawing/2014/main" id="{9F3DBABF-FEEA-BFD8-25B0-A08331E9DD21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5094000" y="1512000"/>
            <a:ext cx="1979612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lang="en-US" sz="1200" b="0" kern="1200" cap="all" spc="10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/>
          </a:p>
        </p:txBody>
      </p:sp>
      <p:sp>
        <p:nvSpPr>
          <p:cNvPr id="92" name="subhead 2">
            <a:extLst>
              <a:ext uri="{FF2B5EF4-FFF2-40B4-BE49-F238E27FC236}">
                <a16:creationId xmlns:a16="http://schemas.microsoft.com/office/drawing/2014/main" id="{0C79B4B6-AEFC-E24C-2B7C-4FE3BD9C9C77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2815837" y="1989138"/>
            <a:ext cx="1980000" cy="4176712"/>
          </a:xfrm>
          <a:prstGeom prst="roundRect">
            <a:avLst>
              <a:gd name="adj" fmla="val 699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30" name="text 2">
            <a:extLst>
              <a:ext uri="{FF2B5EF4-FFF2-40B4-BE49-F238E27FC236}">
                <a16:creationId xmlns:a16="http://schemas.microsoft.com/office/drawing/2014/main" id="{6CF00EF9-643B-8A9A-59D7-9A8864A3E9C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16613" y="4869138"/>
            <a:ext cx="1980000" cy="1296712"/>
          </a:xfrm>
        </p:spPr>
        <p:txBody>
          <a:bodyPr lIns="144000" rIns="72000"/>
          <a:lstStyle>
            <a:lvl1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1pPr>
            <a:lvl2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2pPr>
            <a:lvl3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3pPr>
            <a:lvl4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4pPr>
            <a:lvl5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5pPr>
            <a:lvl6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6pPr>
            <a:lvl7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7pPr>
            <a:lvl8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8pPr>
            <a:lvl9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9pPr>
          </a:lstStyle>
          <a:p>
            <a:pPr lvl="0"/>
            <a:endParaRPr lang="en-US"/>
          </a:p>
        </p:txBody>
      </p:sp>
      <p:sp>
        <p:nvSpPr>
          <p:cNvPr id="22" name="role 2">
            <a:extLst>
              <a:ext uri="{FF2B5EF4-FFF2-40B4-BE49-F238E27FC236}">
                <a16:creationId xmlns:a16="http://schemas.microsoft.com/office/drawing/2014/main" id="{C664ADAB-DC48-0DB1-A98F-95C861C0A004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2815837" y="4365972"/>
            <a:ext cx="1979612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3" name="name 2">
            <a:extLst>
              <a:ext uri="{FF2B5EF4-FFF2-40B4-BE49-F238E27FC236}">
                <a16:creationId xmlns:a16="http://schemas.microsoft.com/office/drawing/2014/main" id="{1EA7FB94-CB31-80E2-011E-9C5722D55A24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2815837" y="3925774"/>
            <a:ext cx="1979612" cy="36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3" name="picture 2">
            <a:extLst>
              <a:ext uri="{FF2B5EF4-FFF2-40B4-BE49-F238E27FC236}">
                <a16:creationId xmlns:a16="http://schemas.microsoft.com/office/drawing/2014/main" id="{55B5AD6C-F5DC-9656-D99B-A67A0B7E50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14619" y="1989138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38" name="name 2">
            <a:extLst>
              <a:ext uri="{FF2B5EF4-FFF2-40B4-BE49-F238E27FC236}">
                <a16:creationId xmlns:a16="http://schemas.microsoft.com/office/drawing/2014/main" id="{39CDDCC2-784D-8816-76AD-F99F5902CBDD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2815837" y="1512000"/>
            <a:ext cx="1979612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lang="en-US" sz="1200" b="0" kern="1200" cap="all" spc="10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/>
          </a:p>
        </p:txBody>
      </p:sp>
      <p:sp>
        <p:nvSpPr>
          <p:cNvPr id="49" name="subhead 1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989138"/>
            <a:ext cx="1980000" cy="4176712"/>
          </a:xfrm>
          <a:prstGeom prst="roundRect">
            <a:avLst>
              <a:gd name="adj" fmla="val 5284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907A54C3-A2FF-A59E-41B3-23D2F7C1E59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40000" y="4869138"/>
            <a:ext cx="1980000" cy="1296712"/>
          </a:xfrm>
        </p:spPr>
        <p:txBody>
          <a:bodyPr lIns="144000" rIns="72000"/>
          <a:lstStyle>
            <a:lvl1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1pPr>
            <a:lvl2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2pPr>
            <a:lvl3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3pPr>
            <a:lvl4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4pPr>
            <a:lvl5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000"/>
            </a:lvl5pPr>
            <a:lvl6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6pPr>
            <a:lvl7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7pPr>
            <a:lvl8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8pPr>
            <a:lvl9pPr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defRPr sz="1200"/>
            </a:lvl9pPr>
          </a:lstStyle>
          <a:p>
            <a:pPr lvl="0"/>
            <a:endParaRPr lang="en-US"/>
          </a:p>
        </p:txBody>
      </p:sp>
      <p:sp>
        <p:nvSpPr>
          <p:cNvPr id="20" name="role 1">
            <a:extLst>
              <a:ext uri="{FF2B5EF4-FFF2-40B4-BE49-F238E27FC236}">
                <a16:creationId xmlns:a16="http://schemas.microsoft.com/office/drawing/2014/main" id="{F8761D6D-9D3B-68A4-4F61-E67D3E18C6A6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540000" y="4365972"/>
            <a:ext cx="1979612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1" name="name 1">
            <a:extLst>
              <a:ext uri="{FF2B5EF4-FFF2-40B4-BE49-F238E27FC236}">
                <a16:creationId xmlns:a16="http://schemas.microsoft.com/office/drawing/2014/main" id="{8A8BFD5B-C976-835F-A757-EE0BFB168A29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540000" y="3925774"/>
            <a:ext cx="1979612" cy="360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1" name="picture 1">
            <a:extLst>
              <a:ext uri="{FF2B5EF4-FFF2-40B4-BE49-F238E27FC236}">
                <a16:creationId xmlns:a16="http://schemas.microsoft.com/office/drawing/2014/main" id="{48BC97E5-F4FC-CFC7-7C93-504C59D7A2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0000" y="1989138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39" name="name 1">
            <a:extLst>
              <a:ext uri="{FF2B5EF4-FFF2-40B4-BE49-F238E27FC236}">
                <a16:creationId xmlns:a16="http://schemas.microsoft.com/office/drawing/2014/main" id="{CFA4B4EE-8215-2C34-3065-56E7CAD34F06}"/>
              </a:ext>
            </a:extLst>
          </p:cNvPr>
          <p:cNvSpPr>
            <a:spLocks noGrp="1"/>
          </p:cNvSpPr>
          <p:nvPr>
            <p:ph type="body" idx="51"/>
          </p:nvPr>
        </p:nvSpPr>
        <p:spPr>
          <a:xfrm>
            <a:off x="540000" y="1512000"/>
            <a:ext cx="1979612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7879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49 : team : 6 pictures : 6 names and roles :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73" name="extratext">
            <a:extLst>
              <a:ext uri="{FF2B5EF4-FFF2-40B4-BE49-F238E27FC236}">
                <a16:creationId xmlns:a16="http://schemas.microsoft.com/office/drawing/2014/main" id="{62522F2D-903C-44B2-6CCD-582F279AA4D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510356" y="1499146"/>
            <a:ext cx="3132000" cy="4680000"/>
          </a:xfrm>
        </p:spPr>
        <p:txBody>
          <a:bodyPr lIns="0" rIns="0"/>
          <a:lstStyle>
            <a:lvl1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1pPr>
            <a:lvl2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2pPr>
            <a:lvl3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  <a:lvl6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6pPr>
            <a:lvl7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7pPr>
            <a:lvl8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9" name="subhead 6">
            <a:extLst>
              <a:ext uri="{FF2B5EF4-FFF2-40B4-BE49-F238E27FC236}">
                <a16:creationId xmlns:a16="http://schemas.microsoft.com/office/drawing/2014/main" id="{09D10702-D88E-0A31-36AA-2CD089FE3A8D}"/>
              </a:ext>
            </a:extLst>
          </p:cNvPr>
          <p:cNvSpPr>
            <a:spLocks noGrp="1"/>
          </p:cNvSpPr>
          <p:nvPr>
            <p:ph type="body" idx="55"/>
          </p:nvPr>
        </p:nvSpPr>
        <p:spPr>
          <a:xfrm>
            <a:off x="4527278" y="4728964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0" name="role 6">
            <a:extLst>
              <a:ext uri="{FF2B5EF4-FFF2-40B4-BE49-F238E27FC236}">
                <a16:creationId xmlns:a16="http://schemas.microsoft.com/office/drawing/2014/main" id="{03B9989C-4CDE-65FF-723A-7CE10C700712}"/>
              </a:ext>
            </a:extLst>
          </p:cNvPr>
          <p:cNvSpPr>
            <a:spLocks noGrp="1"/>
          </p:cNvSpPr>
          <p:nvPr>
            <p:ph type="body" idx="56" hasCustomPrompt="1"/>
          </p:nvPr>
        </p:nvSpPr>
        <p:spPr>
          <a:xfrm>
            <a:off x="6115328" y="5373687"/>
            <a:ext cx="1979612" cy="792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61" name="name 6">
            <a:extLst>
              <a:ext uri="{FF2B5EF4-FFF2-40B4-BE49-F238E27FC236}">
                <a16:creationId xmlns:a16="http://schemas.microsoft.com/office/drawing/2014/main" id="{8ACE3A54-71C1-3703-C964-A624E372D44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115328" y="4743797"/>
            <a:ext cx="1979612" cy="521689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picture 6">
            <a:extLst>
              <a:ext uri="{FF2B5EF4-FFF2-40B4-BE49-F238E27FC236}">
                <a16:creationId xmlns:a16="http://schemas.microsoft.com/office/drawing/2014/main" id="{978213B3-E69A-D24E-5D6A-D82C2F1DD28D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525178" y="4729758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63" name="subhead 5">
            <a:extLst>
              <a:ext uri="{FF2B5EF4-FFF2-40B4-BE49-F238E27FC236}">
                <a16:creationId xmlns:a16="http://schemas.microsoft.com/office/drawing/2014/main" id="{5E9FF420-AE4E-B6D5-7A75-0EAED10C9583}"/>
              </a:ext>
            </a:extLst>
          </p:cNvPr>
          <p:cNvSpPr>
            <a:spLocks noGrp="1"/>
          </p:cNvSpPr>
          <p:nvPr>
            <p:ph type="body" idx="59"/>
          </p:nvPr>
        </p:nvSpPr>
        <p:spPr>
          <a:xfrm>
            <a:off x="4527278" y="3100676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4" name="role 5">
            <a:extLst>
              <a:ext uri="{FF2B5EF4-FFF2-40B4-BE49-F238E27FC236}">
                <a16:creationId xmlns:a16="http://schemas.microsoft.com/office/drawing/2014/main" id="{8F7C39DC-C8E1-D238-124E-F021D16845FB}"/>
              </a:ext>
            </a:extLst>
          </p:cNvPr>
          <p:cNvSpPr>
            <a:spLocks noGrp="1"/>
          </p:cNvSpPr>
          <p:nvPr>
            <p:ph type="body" idx="60" hasCustomPrompt="1"/>
          </p:nvPr>
        </p:nvSpPr>
        <p:spPr>
          <a:xfrm>
            <a:off x="6115328" y="3748574"/>
            <a:ext cx="1979612" cy="792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65" name="name 5">
            <a:extLst>
              <a:ext uri="{FF2B5EF4-FFF2-40B4-BE49-F238E27FC236}">
                <a16:creationId xmlns:a16="http://schemas.microsoft.com/office/drawing/2014/main" id="{93AF7DC2-179D-17D8-825F-4CD149B78523}"/>
              </a:ext>
            </a:extLst>
          </p:cNvPr>
          <p:cNvSpPr>
            <a:spLocks noGrp="1"/>
          </p:cNvSpPr>
          <p:nvPr>
            <p:ph type="body" idx="61"/>
          </p:nvPr>
        </p:nvSpPr>
        <p:spPr>
          <a:xfrm>
            <a:off x="6115328" y="3111064"/>
            <a:ext cx="1979612" cy="521689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picture 5">
            <a:extLst>
              <a:ext uri="{FF2B5EF4-FFF2-40B4-BE49-F238E27FC236}">
                <a16:creationId xmlns:a16="http://schemas.microsoft.com/office/drawing/2014/main" id="{E8AF6756-10EA-EB48-BA08-728E45D9EBF2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4525178" y="3100289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67" name="subhead 4">
            <a:extLst>
              <a:ext uri="{FF2B5EF4-FFF2-40B4-BE49-F238E27FC236}">
                <a16:creationId xmlns:a16="http://schemas.microsoft.com/office/drawing/2014/main" id="{D5E34A60-AEFD-CB5F-7F16-E61E1EB95B46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4527278" y="1484313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8" name="role 4">
            <a:extLst>
              <a:ext uri="{FF2B5EF4-FFF2-40B4-BE49-F238E27FC236}">
                <a16:creationId xmlns:a16="http://schemas.microsoft.com/office/drawing/2014/main" id="{E9030E3B-9B95-4FBF-2233-89490F1AF5B0}"/>
              </a:ext>
            </a:extLst>
          </p:cNvPr>
          <p:cNvSpPr>
            <a:spLocks noGrp="1"/>
          </p:cNvSpPr>
          <p:nvPr>
            <p:ph type="body" idx="64" hasCustomPrompt="1"/>
          </p:nvPr>
        </p:nvSpPr>
        <p:spPr>
          <a:xfrm>
            <a:off x="6115328" y="2129036"/>
            <a:ext cx="1979612" cy="792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69" name="name 4">
            <a:extLst>
              <a:ext uri="{FF2B5EF4-FFF2-40B4-BE49-F238E27FC236}">
                <a16:creationId xmlns:a16="http://schemas.microsoft.com/office/drawing/2014/main" id="{44161A00-43BE-C269-836D-806038B0D335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6115328" y="1499145"/>
            <a:ext cx="1979612" cy="521689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4">
            <a:extLst>
              <a:ext uri="{FF2B5EF4-FFF2-40B4-BE49-F238E27FC236}">
                <a16:creationId xmlns:a16="http://schemas.microsoft.com/office/drawing/2014/main" id="{15F978E7-316F-2B35-EAB8-3EC1599AEF34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525178" y="1485107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46" name="subhead 3">
            <a:extLst>
              <a:ext uri="{FF2B5EF4-FFF2-40B4-BE49-F238E27FC236}">
                <a16:creationId xmlns:a16="http://schemas.microsoft.com/office/drawing/2014/main" id="{7FF688F4-70B6-50A4-AD86-5D144FEF5A58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42100" y="4728964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47" name="role 3">
            <a:extLst>
              <a:ext uri="{FF2B5EF4-FFF2-40B4-BE49-F238E27FC236}">
                <a16:creationId xmlns:a16="http://schemas.microsoft.com/office/drawing/2014/main" id="{C1A1B634-40BD-DC94-9764-999523388A9D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2130150" y="5373687"/>
            <a:ext cx="1979612" cy="792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8" name="name 3">
            <a:extLst>
              <a:ext uri="{FF2B5EF4-FFF2-40B4-BE49-F238E27FC236}">
                <a16:creationId xmlns:a16="http://schemas.microsoft.com/office/drawing/2014/main" id="{6D004EA4-4D5C-4080-0B1E-EBB977117B61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2130150" y="4743797"/>
            <a:ext cx="1979612" cy="521689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picture 3">
            <a:extLst>
              <a:ext uri="{FF2B5EF4-FFF2-40B4-BE49-F238E27FC236}">
                <a16:creationId xmlns:a16="http://schemas.microsoft.com/office/drawing/2014/main" id="{B9270468-25AD-FE20-2E07-7904EE652A91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540000" y="4729758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51" name="subhead 2">
            <a:extLst>
              <a:ext uri="{FF2B5EF4-FFF2-40B4-BE49-F238E27FC236}">
                <a16:creationId xmlns:a16="http://schemas.microsoft.com/office/drawing/2014/main" id="{B299DAE8-5EE0-BE0F-0EB7-2E8B2289B134}"/>
              </a:ext>
            </a:extLst>
          </p:cNvPr>
          <p:cNvSpPr>
            <a:spLocks noGrp="1"/>
          </p:cNvSpPr>
          <p:nvPr>
            <p:ph type="body" idx="47"/>
          </p:nvPr>
        </p:nvSpPr>
        <p:spPr>
          <a:xfrm>
            <a:off x="542100" y="3100676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52" name="role 2">
            <a:extLst>
              <a:ext uri="{FF2B5EF4-FFF2-40B4-BE49-F238E27FC236}">
                <a16:creationId xmlns:a16="http://schemas.microsoft.com/office/drawing/2014/main" id="{B746FD40-314C-3697-899E-05FC1C879DD5}"/>
              </a:ext>
            </a:extLst>
          </p:cNvPr>
          <p:cNvSpPr>
            <a:spLocks noGrp="1"/>
          </p:cNvSpPr>
          <p:nvPr>
            <p:ph type="body" idx="48" hasCustomPrompt="1"/>
          </p:nvPr>
        </p:nvSpPr>
        <p:spPr>
          <a:xfrm>
            <a:off x="2130150" y="3748574"/>
            <a:ext cx="1979612" cy="792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53" name="name 2">
            <a:extLst>
              <a:ext uri="{FF2B5EF4-FFF2-40B4-BE49-F238E27FC236}">
                <a16:creationId xmlns:a16="http://schemas.microsoft.com/office/drawing/2014/main" id="{93DD4974-9E07-4AF9-7BDE-52E99DCCD507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2130150" y="3111064"/>
            <a:ext cx="1979612" cy="521689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picture 2">
            <a:extLst>
              <a:ext uri="{FF2B5EF4-FFF2-40B4-BE49-F238E27FC236}">
                <a16:creationId xmlns:a16="http://schemas.microsoft.com/office/drawing/2014/main" id="{8D77766B-F1D5-2967-9D02-8E610BEE28E5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40000" y="3100289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55" name="subhead 1">
            <a:extLst>
              <a:ext uri="{FF2B5EF4-FFF2-40B4-BE49-F238E27FC236}">
                <a16:creationId xmlns:a16="http://schemas.microsoft.com/office/drawing/2014/main" id="{83DA22D8-9131-568E-6E2F-B7A56687533C}"/>
              </a:ext>
            </a:extLst>
          </p:cNvPr>
          <p:cNvSpPr>
            <a:spLocks noGrp="1"/>
          </p:cNvSpPr>
          <p:nvPr>
            <p:ph type="body" idx="51"/>
          </p:nvPr>
        </p:nvSpPr>
        <p:spPr>
          <a:xfrm>
            <a:off x="542100" y="1484313"/>
            <a:ext cx="3600000" cy="1439862"/>
          </a:xfrm>
          <a:prstGeom prst="roundRect">
            <a:avLst>
              <a:gd name="adj" fmla="val 578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56" name="role 1">
            <a:extLst>
              <a:ext uri="{FF2B5EF4-FFF2-40B4-BE49-F238E27FC236}">
                <a16:creationId xmlns:a16="http://schemas.microsoft.com/office/drawing/2014/main" id="{4BDE1970-44C9-ADD3-EE45-3879EA6103C9}"/>
              </a:ext>
            </a:extLst>
          </p:cNvPr>
          <p:cNvSpPr>
            <a:spLocks noGrp="1"/>
          </p:cNvSpPr>
          <p:nvPr>
            <p:ph type="body" idx="52" hasCustomPrompt="1"/>
          </p:nvPr>
        </p:nvSpPr>
        <p:spPr>
          <a:xfrm>
            <a:off x="2130150" y="2129036"/>
            <a:ext cx="1979612" cy="792000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57" name="name 1">
            <a:extLst>
              <a:ext uri="{FF2B5EF4-FFF2-40B4-BE49-F238E27FC236}">
                <a16:creationId xmlns:a16="http://schemas.microsoft.com/office/drawing/2014/main" id="{9C57D439-9620-24B8-87D8-5D3533B43D0E}"/>
              </a:ext>
            </a:extLst>
          </p:cNvPr>
          <p:cNvSpPr>
            <a:spLocks noGrp="1"/>
          </p:cNvSpPr>
          <p:nvPr>
            <p:ph type="body" idx="53"/>
          </p:nvPr>
        </p:nvSpPr>
        <p:spPr>
          <a:xfrm>
            <a:off x="2130150" y="1499145"/>
            <a:ext cx="1979612" cy="521689"/>
          </a:xfrm>
        </p:spPr>
        <p:txBody>
          <a:bodyPr lIns="144000" rIns="144000"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picture 1">
            <a:extLst>
              <a:ext uri="{FF2B5EF4-FFF2-40B4-BE49-F238E27FC236}">
                <a16:creationId xmlns:a16="http://schemas.microsoft.com/office/drawing/2014/main" id="{9FBEFBBA-35B6-CE98-58D2-8F96D15F6FF4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0000" y="1485107"/>
            <a:ext cx="1584000" cy="1440000"/>
          </a:xfrm>
          <a:custGeom>
            <a:avLst/>
            <a:gdLst>
              <a:gd name="connsiteX0" fmla="*/ 0 w 1584000"/>
              <a:gd name="connsiteY0" fmla="*/ 125712 h 1440000"/>
              <a:gd name="connsiteX1" fmla="*/ 125712 w 1584000"/>
              <a:gd name="connsiteY1" fmla="*/ 0 h 1440000"/>
              <a:gd name="connsiteX2" fmla="*/ 1458288 w 1584000"/>
              <a:gd name="connsiteY2" fmla="*/ 0 h 1440000"/>
              <a:gd name="connsiteX3" fmla="*/ 1584000 w 1584000"/>
              <a:gd name="connsiteY3" fmla="*/ 125712 h 1440000"/>
              <a:gd name="connsiteX4" fmla="*/ 1584000 w 1584000"/>
              <a:gd name="connsiteY4" fmla="*/ 1314288 h 1440000"/>
              <a:gd name="connsiteX5" fmla="*/ 1458288 w 1584000"/>
              <a:gd name="connsiteY5" fmla="*/ 1440000 h 1440000"/>
              <a:gd name="connsiteX6" fmla="*/ 125712 w 1584000"/>
              <a:gd name="connsiteY6" fmla="*/ 1440000 h 1440000"/>
              <a:gd name="connsiteX7" fmla="*/ 0 w 1584000"/>
              <a:gd name="connsiteY7" fmla="*/ 1314288 h 1440000"/>
              <a:gd name="connsiteX8" fmla="*/ 0 w 1584000"/>
              <a:gd name="connsiteY8" fmla="*/ 125712 h 1440000"/>
              <a:gd name="connsiteX0" fmla="*/ 0 w 1612314"/>
              <a:gd name="connsiteY0" fmla="*/ 125712 h 1440000"/>
              <a:gd name="connsiteX1" fmla="*/ 125712 w 1612314"/>
              <a:gd name="connsiteY1" fmla="*/ 0 h 1440000"/>
              <a:gd name="connsiteX2" fmla="*/ 1458288 w 1612314"/>
              <a:gd name="connsiteY2" fmla="*/ 0 h 1440000"/>
              <a:gd name="connsiteX3" fmla="*/ 1584000 w 1612314"/>
              <a:gd name="connsiteY3" fmla="*/ 1314288 h 1440000"/>
              <a:gd name="connsiteX4" fmla="*/ 1458288 w 1612314"/>
              <a:gd name="connsiteY4" fmla="*/ 1440000 h 1440000"/>
              <a:gd name="connsiteX5" fmla="*/ 125712 w 1612314"/>
              <a:gd name="connsiteY5" fmla="*/ 1440000 h 1440000"/>
              <a:gd name="connsiteX6" fmla="*/ 0 w 1612314"/>
              <a:gd name="connsiteY6" fmla="*/ 1314288 h 1440000"/>
              <a:gd name="connsiteX7" fmla="*/ 0 w 1612314"/>
              <a:gd name="connsiteY7" fmla="*/ 125712 h 1440000"/>
              <a:gd name="connsiteX0" fmla="*/ 0 w 1624860"/>
              <a:gd name="connsiteY0" fmla="*/ 125712 h 1440000"/>
              <a:gd name="connsiteX1" fmla="*/ 125712 w 1624860"/>
              <a:gd name="connsiteY1" fmla="*/ 0 h 1440000"/>
              <a:gd name="connsiteX2" fmla="*/ 1458288 w 1624860"/>
              <a:gd name="connsiteY2" fmla="*/ 0 h 1440000"/>
              <a:gd name="connsiteX3" fmla="*/ 1458288 w 1624860"/>
              <a:gd name="connsiteY3" fmla="*/ 1440000 h 1440000"/>
              <a:gd name="connsiteX4" fmla="*/ 125712 w 1624860"/>
              <a:gd name="connsiteY4" fmla="*/ 1440000 h 1440000"/>
              <a:gd name="connsiteX5" fmla="*/ 0 w 1624860"/>
              <a:gd name="connsiteY5" fmla="*/ 1314288 h 1440000"/>
              <a:gd name="connsiteX6" fmla="*/ 0 w 1624860"/>
              <a:gd name="connsiteY6" fmla="*/ 125712 h 1440000"/>
              <a:gd name="connsiteX0" fmla="*/ 0 w 1666043"/>
              <a:gd name="connsiteY0" fmla="*/ 125712 h 1440000"/>
              <a:gd name="connsiteX1" fmla="*/ 125712 w 1666043"/>
              <a:gd name="connsiteY1" fmla="*/ 0 h 1440000"/>
              <a:gd name="connsiteX2" fmla="*/ 1458288 w 1666043"/>
              <a:gd name="connsiteY2" fmla="*/ 0 h 1440000"/>
              <a:gd name="connsiteX3" fmla="*/ 1458288 w 1666043"/>
              <a:gd name="connsiteY3" fmla="*/ 1440000 h 1440000"/>
              <a:gd name="connsiteX4" fmla="*/ 125712 w 1666043"/>
              <a:gd name="connsiteY4" fmla="*/ 1440000 h 1440000"/>
              <a:gd name="connsiteX5" fmla="*/ 0 w 1666043"/>
              <a:gd name="connsiteY5" fmla="*/ 1314288 h 1440000"/>
              <a:gd name="connsiteX6" fmla="*/ 0 w 1666043"/>
              <a:gd name="connsiteY6" fmla="*/ 125712 h 1440000"/>
              <a:gd name="connsiteX0" fmla="*/ 0 w 1714742"/>
              <a:gd name="connsiteY0" fmla="*/ 125712 h 1440000"/>
              <a:gd name="connsiteX1" fmla="*/ 125712 w 1714742"/>
              <a:gd name="connsiteY1" fmla="*/ 0 h 1440000"/>
              <a:gd name="connsiteX2" fmla="*/ 1458288 w 1714742"/>
              <a:gd name="connsiteY2" fmla="*/ 0 h 1440000"/>
              <a:gd name="connsiteX3" fmla="*/ 1458288 w 1714742"/>
              <a:gd name="connsiteY3" fmla="*/ 1440000 h 1440000"/>
              <a:gd name="connsiteX4" fmla="*/ 125712 w 1714742"/>
              <a:gd name="connsiteY4" fmla="*/ 1440000 h 1440000"/>
              <a:gd name="connsiteX5" fmla="*/ 0 w 1714742"/>
              <a:gd name="connsiteY5" fmla="*/ 1314288 h 1440000"/>
              <a:gd name="connsiteX6" fmla="*/ 0 w 1714742"/>
              <a:gd name="connsiteY6" fmla="*/ 125712 h 1440000"/>
              <a:gd name="connsiteX0" fmla="*/ 0 w 1556997"/>
              <a:gd name="connsiteY0" fmla="*/ 125712 h 1440000"/>
              <a:gd name="connsiteX1" fmla="*/ 125712 w 1556997"/>
              <a:gd name="connsiteY1" fmla="*/ 0 h 1440000"/>
              <a:gd name="connsiteX2" fmla="*/ 1458288 w 1556997"/>
              <a:gd name="connsiteY2" fmla="*/ 0 h 1440000"/>
              <a:gd name="connsiteX3" fmla="*/ 1458288 w 1556997"/>
              <a:gd name="connsiteY3" fmla="*/ 1440000 h 1440000"/>
              <a:gd name="connsiteX4" fmla="*/ 125712 w 1556997"/>
              <a:gd name="connsiteY4" fmla="*/ 1440000 h 1440000"/>
              <a:gd name="connsiteX5" fmla="*/ 0 w 1556997"/>
              <a:gd name="connsiteY5" fmla="*/ 1314288 h 1440000"/>
              <a:gd name="connsiteX6" fmla="*/ 0 w 1556997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125712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125712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  <a:gd name="connsiteX0" fmla="*/ 0 w 1458288"/>
              <a:gd name="connsiteY0" fmla="*/ 125712 h 1440000"/>
              <a:gd name="connsiteX1" fmla="*/ 81867 w 1458288"/>
              <a:gd name="connsiteY1" fmla="*/ 0 h 1440000"/>
              <a:gd name="connsiteX2" fmla="*/ 1458288 w 1458288"/>
              <a:gd name="connsiteY2" fmla="*/ 0 h 1440000"/>
              <a:gd name="connsiteX3" fmla="*/ 1458288 w 1458288"/>
              <a:gd name="connsiteY3" fmla="*/ 1440000 h 1440000"/>
              <a:gd name="connsiteX4" fmla="*/ 75290 w 1458288"/>
              <a:gd name="connsiteY4" fmla="*/ 1440000 h 1440000"/>
              <a:gd name="connsiteX5" fmla="*/ 0 w 1458288"/>
              <a:gd name="connsiteY5" fmla="*/ 1314288 h 1440000"/>
              <a:gd name="connsiteX6" fmla="*/ 0 w 1458288"/>
              <a:gd name="connsiteY6" fmla="*/ 12571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288" h="1440000">
                <a:moveTo>
                  <a:pt x="0" y="125712"/>
                </a:moveTo>
                <a:cubicBezTo>
                  <a:pt x="0" y="56283"/>
                  <a:pt x="12438" y="0"/>
                  <a:pt x="81867" y="0"/>
                </a:cubicBezTo>
                <a:lnTo>
                  <a:pt x="1458288" y="0"/>
                </a:lnTo>
                <a:lnTo>
                  <a:pt x="1458288" y="1440000"/>
                </a:lnTo>
                <a:lnTo>
                  <a:pt x="75290" y="1440000"/>
                </a:lnTo>
                <a:cubicBezTo>
                  <a:pt x="5861" y="1440000"/>
                  <a:pt x="0" y="1383717"/>
                  <a:pt x="0" y="1314288"/>
                </a:cubicBezTo>
                <a:lnTo>
                  <a:pt x="0" y="125712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E344807-457D-3CED-9971-F478B70A6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1235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49 : team : 8 pictures : 8 names +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lide number">
            <a:extLst>
              <a:ext uri="{FF2B5EF4-FFF2-40B4-BE49-F238E27FC236}">
                <a16:creationId xmlns:a16="http://schemas.microsoft.com/office/drawing/2014/main" id="{BFE64E29-7CD5-4375-8CC6-67F88FF8C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footer">
            <a:extLst>
              <a:ext uri="{FF2B5EF4-FFF2-40B4-BE49-F238E27FC236}">
                <a16:creationId xmlns:a16="http://schemas.microsoft.com/office/drawing/2014/main" id="{47FF2C98-89C2-049B-2264-7381416C86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46" name="date">
            <a:extLst>
              <a:ext uri="{FF2B5EF4-FFF2-40B4-BE49-F238E27FC236}">
                <a16:creationId xmlns:a16="http://schemas.microsoft.com/office/drawing/2014/main" id="{E5D7A60A-319A-B603-01C5-CB1B6D2575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3" name="shadow 8">
            <a:extLst>
              <a:ext uri="{FF2B5EF4-FFF2-40B4-BE49-F238E27FC236}">
                <a16:creationId xmlns:a16="http://schemas.microsoft.com/office/drawing/2014/main" id="{CE02D8CB-EE4E-1691-934F-B881E6F65587}"/>
              </a:ext>
            </a:extLst>
          </p:cNvPr>
          <p:cNvSpPr>
            <a:spLocks noGrp="1"/>
          </p:cNvSpPr>
          <p:nvPr>
            <p:ph type="body" idx="49" hasCustomPrompt="1"/>
          </p:nvPr>
        </p:nvSpPr>
        <p:spPr>
          <a:xfrm>
            <a:off x="9114072" y="3933449"/>
            <a:ext cx="2520000" cy="2232000"/>
          </a:xfrm>
          <a:prstGeom prst="roundRect">
            <a:avLst>
              <a:gd name="adj" fmla="val 1408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1" name="role 8">
            <a:extLst>
              <a:ext uri="{FF2B5EF4-FFF2-40B4-BE49-F238E27FC236}">
                <a16:creationId xmlns:a16="http://schemas.microsoft.com/office/drawing/2014/main" id="{302AB1C0-479A-FBFB-9955-F8FEBE62F170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9115977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2" name="name 8">
            <a:extLst>
              <a:ext uri="{FF2B5EF4-FFF2-40B4-BE49-F238E27FC236}">
                <a16:creationId xmlns:a16="http://schemas.microsoft.com/office/drawing/2014/main" id="{94859EF9-9A41-580A-9F10-2BACF1F685FE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9115977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53" name="picture 8">
            <a:extLst>
              <a:ext uri="{FF2B5EF4-FFF2-40B4-BE49-F238E27FC236}">
                <a16:creationId xmlns:a16="http://schemas.microsoft.com/office/drawing/2014/main" id="{FE543985-DC92-083A-617A-9FC05C614B47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9114072" y="3930913"/>
            <a:ext cx="2520000" cy="1260000"/>
          </a:xfrm>
          <a:prstGeom prst="round2SameRect">
            <a:avLst>
              <a:gd name="adj1" fmla="val 224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37" name="shadow 7">
            <a:extLst>
              <a:ext uri="{FF2B5EF4-FFF2-40B4-BE49-F238E27FC236}">
                <a16:creationId xmlns:a16="http://schemas.microsoft.com/office/drawing/2014/main" id="{2C969293-E19E-E84A-FED1-CD886368A36F}"/>
              </a:ext>
            </a:extLst>
          </p:cNvPr>
          <p:cNvSpPr>
            <a:spLocks noGrp="1"/>
          </p:cNvSpPr>
          <p:nvPr>
            <p:ph type="body" idx="50" hasCustomPrompt="1"/>
          </p:nvPr>
        </p:nvSpPr>
        <p:spPr>
          <a:xfrm>
            <a:off x="6254609" y="3933449"/>
            <a:ext cx="2520000" cy="2232000"/>
          </a:xfrm>
          <a:prstGeom prst="roundRect">
            <a:avLst>
              <a:gd name="adj" fmla="val 1408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5" name="role 7">
            <a:extLst>
              <a:ext uri="{FF2B5EF4-FFF2-40B4-BE49-F238E27FC236}">
                <a16:creationId xmlns:a16="http://schemas.microsoft.com/office/drawing/2014/main" id="{5F4DB279-E952-57B0-ABF3-55F96BC5C067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6257318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6" name="name 7">
            <a:extLst>
              <a:ext uri="{FF2B5EF4-FFF2-40B4-BE49-F238E27FC236}">
                <a16:creationId xmlns:a16="http://schemas.microsoft.com/office/drawing/2014/main" id="{10CF9B7A-17B4-319D-3918-781E07C7378D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6257318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54" name="picture 7">
            <a:extLst>
              <a:ext uri="{FF2B5EF4-FFF2-40B4-BE49-F238E27FC236}">
                <a16:creationId xmlns:a16="http://schemas.microsoft.com/office/drawing/2014/main" id="{D7B201F6-D373-C243-C95A-AE686BB29E5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6254989" y="3930913"/>
            <a:ext cx="2520000" cy="1260000"/>
          </a:xfrm>
          <a:prstGeom prst="round2SameRect">
            <a:avLst>
              <a:gd name="adj1" fmla="val 224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47" name="shadow 6">
            <a:extLst>
              <a:ext uri="{FF2B5EF4-FFF2-40B4-BE49-F238E27FC236}">
                <a16:creationId xmlns:a16="http://schemas.microsoft.com/office/drawing/2014/main" id="{B89B5AF9-A957-3B6C-581A-8F95971D3938}"/>
              </a:ext>
            </a:extLst>
          </p:cNvPr>
          <p:cNvSpPr>
            <a:spLocks noGrp="1"/>
          </p:cNvSpPr>
          <p:nvPr>
            <p:ph type="body" idx="51" hasCustomPrompt="1"/>
          </p:nvPr>
        </p:nvSpPr>
        <p:spPr>
          <a:xfrm>
            <a:off x="3395147" y="3933449"/>
            <a:ext cx="2520000" cy="2232000"/>
          </a:xfrm>
          <a:prstGeom prst="roundRect">
            <a:avLst>
              <a:gd name="adj" fmla="val 1408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9" name="role 6">
            <a:extLst>
              <a:ext uri="{FF2B5EF4-FFF2-40B4-BE49-F238E27FC236}">
                <a16:creationId xmlns:a16="http://schemas.microsoft.com/office/drawing/2014/main" id="{203BD5BF-8449-0025-8A80-DDE84CE07B14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3398659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40" name="name 6">
            <a:extLst>
              <a:ext uri="{FF2B5EF4-FFF2-40B4-BE49-F238E27FC236}">
                <a16:creationId xmlns:a16="http://schemas.microsoft.com/office/drawing/2014/main" id="{ACECDBA1-8A88-7944-D598-139FE427F701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3398659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55" name="picture 6">
            <a:extLst>
              <a:ext uri="{FF2B5EF4-FFF2-40B4-BE49-F238E27FC236}">
                <a16:creationId xmlns:a16="http://schemas.microsoft.com/office/drawing/2014/main" id="{0E114193-8E73-4897-A653-36FD8C35AE58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3395907" y="3930913"/>
            <a:ext cx="2520000" cy="1260000"/>
          </a:xfrm>
          <a:prstGeom prst="round2SameRect">
            <a:avLst>
              <a:gd name="adj1" fmla="val 224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48" name="shadow 5">
            <a:extLst>
              <a:ext uri="{FF2B5EF4-FFF2-40B4-BE49-F238E27FC236}">
                <a16:creationId xmlns:a16="http://schemas.microsoft.com/office/drawing/2014/main" id="{206FC9E8-4051-5E3E-9501-DF6293AB8474}"/>
              </a:ext>
            </a:extLst>
          </p:cNvPr>
          <p:cNvSpPr>
            <a:spLocks noGrp="1"/>
          </p:cNvSpPr>
          <p:nvPr>
            <p:ph type="body" idx="52" hasCustomPrompt="1"/>
          </p:nvPr>
        </p:nvSpPr>
        <p:spPr>
          <a:xfrm>
            <a:off x="535685" y="3933449"/>
            <a:ext cx="2520000" cy="2232000"/>
          </a:xfrm>
          <a:prstGeom prst="roundRect">
            <a:avLst>
              <a:gd name="adj" fmla="val 1408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43" name="role 5">
            <a:extLst>
              <a:ext uri="{FF2B5EF4-FFF2-40B4-BE49-F238E27FC236}">
                <a16:creationId xmlns:a16="http://schemas.microsoft.com/office/drawing/2014/main" id="{D5C6B1F8-8A43-2891-A841-B8196814AE91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540000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44" name="name 5">
            <a:extLst>
              <a:ext uri="{FF2B5EF4-FFF2-40B4-BE49-F238E27FC236}">
                <a16:creationId xmlns:a16="http://schemas.microsoft.com/office/drawing/2014/main" id="{C43C94EF-9938-02E0-25BA-5684E24AE185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540000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56" name="picture 5">
            <a:extLst>
              <a:ext uri="{FF2B5EF4-FFF2-40B4-BE49-F238E27FC236}">
                <a16:creationId xmlns:a16="http://schemas.microsoft.com/office/drawing/2014/main" id="{6F786FDB-E1E7-1ACD-4A4E-08623F94889B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36825" y="3930913"/>
            <a:ext cx="2520000" cy="1260000"/>
          </a:xfrm>
          <a:prstGeom prst="round2SameRect">
            <a:avLst>
              <a:gd name="adj1" fmla="val 224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5" name="shadow 4">
            <a:extLst>
              <a:ext uri="{FF2B5EF4-FFF2-40B4-BE49-F238E27FC236}">
                <a16:creationId xmlns:a16="http://schemas.microsoft.com/office/drawing/2014/main" id="{C37FBB49-C504-1527-FCF9-7857444DDD05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9114072" y="1475999"/>
            <a:ext cx="2520000" cy="2232000"/>
          </a:xfrm>
          <a:prstGeom prst="roundRect">
            <a:avLst>
              <a:gd name="adj" fmla="val 1408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28" name="role 4">
            <a:extLst>
              <a:ext uri="{FF2B5EF4-FFF2-40B4-BE49-F238E27FC236}">
                <a16:creationId xmlns:a16="http://schemas.microsoft.com/office/drawing/2014/main" id="{1C2FB319-5890-BA63-6178-46B4E15CC6B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9115977" y="32330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0BF8F20A-36F1-9E35-92E4-4231E9BCA137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9115977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52" name="picture 4">
            <a:extLst>
              <a:ext uri="{FF2B5EF4-FFF2-40B4-BE49-F238E27FC236}">
                <a16:creationId xmlns:a16="http://schemas.microsoft.com/office/drawing/2014/main" id="{8FB95CED-E691-EF01-3183-29E849E53CBF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9114072" y="1466475"/>
            <a:ext cx="2520000" cy="1260000"/>
          </a:xfrm>
          <a:prstGeom prst="round2SameRect">
            <a:avLst>
              <a:gd name="adj1" fmla="val 224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8" name="shadow 3">
            <a:extLst>
              <a:ext uri="{FF2B5EF4-FFF2-40B4-BE49-F238E27FC236}">
                <a16:creationId xmlns:a16="http://schemas.microsoft.com/office/drawing/2014/main" id="{67F5FF9F-35C7-E899-B908-8C65E1D9A7CE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6254609" y="1475999"/>
            <a:ext cx="2520000" cy="2232000"/>
          </a:xfrm>
          <a:prstGeom prst="roundRect">
            <a:avLst>
              <a:gd name="adj" fmla="val 1408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26" name="role 3">
            <a:extLst>
              <a:ext uri="{FF2B5EF4-FFF2-40B4-BE49-F238E27FC236}">
                <a16:creationId xmlns:a16="http://schemas.microsoft.com/office/drawing/2014/main" id="{B033DFCB-CBEB-03FF-0E21-D4A348D757BE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257318" y="32330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5" name="name 3">
            <a:extLst>
              <a:ext uri="{FF2B5EF4-FFF2-40B4-BE49-F238E27FC236}">
                <a16:creationId xmlns:a16="http://schemas.microsoft.com/office/drawing/2014/main" id="{5340354E-C2CE-F1A0-1324-B12089FC1EF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57318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51" name="picture 3">
            <a:extLst>
              <a:ext uri="{FF2B5EF4-FFF2-40B4-BE49-F238E27FC236}">
                <a16:creationId xmlns:a16="http://schemas.microsoft.com/office/drawing/2014/main" id="{189C04D2-384C-DB08-7CAC-6159B9814DA2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6254989" y="1466475"/>
            <a:ext cx="2520000" cy="1260000"/>
          </a:xfrm>
          <a:prstGeom prst="round2SameRect">
            <a:avLst>
              <a:gd name="adj1" fmla="val 224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9" name="shadow 2">
            <a:extLst>
              <a:ext uri="{FF2B5EF4-FFF2-40B4-BE49-F238E27FC236}">
                <a16:creationId xmlns:a16="http://schemas.microsoft.com/office/drawing/2014/main" id="{0E1E2AB0-A082-BB6D-6FCB-7D13387F22E5}"/>
              </a:ext>
            </a:extLst>
          </p:cNvPr>
          <p:cNvSpPr>
            <a:spLocks noGrp="1"/>
          </p:cNvSpPr>
          <p:nvPr>
            <p:ph type="body" idx="47" hasCustomPrompt="1"/>
          </p:nvPr>
        </p:nvSpPr>
        <p:spPr>
          <a:xfrm>
            <a:off x="3395147" y="1475999"/>
            <a:ext cx="2520000" cy="2232000"/>
          </a:xfrm>
          <a:prstGeom prst="roundRect">
            <a:avLst>
              <a:gd name="adj" fmla="val 1408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22" name="role 2">
            <a:extLst>
              <a:ext uri="{FF2B5EF4-FFF2-40B4-BE49-F238E27FC236}">
                <a16:creationId xmlns:a16="http://schemas.microsoft.com/office/drawing/2014/main" id="{6A83C635-5C0F-6FD4-9E16-8447B102CB65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3398659" y="32330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1" name="name 2">
            <a:extLst>
              <a:ext uri="{FF2B5EF4-FFF2-40B4-BE49-F238E27FC236}">
                <a16:creationId xmlns:a16="http://schemas.microsoft.com/office/drawing/2014/main" id="{C918C1F2-8374-4EF1-70F3-0489E4D2FDD9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398659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50" name="picture 2">
            <a:extLst>
              <a:ext uri="{FF2B5EF4-FFF2-40B4-BE49-F238E27FC236}">
                <a16:creationId xmlns:a16="http://schemas.microsoft.com/office/drawing/2014/main" id="{7ABAA453-41F6-B98E-4A46-C25B0129C76E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395907" y="1466475"/>
            <a:ext cx="2520000" cy="1260000"/>
          </a:xfrm>
          <a:prstGeom prst="round2SameRect">
            <a:avLst>
              <a:gd name="adj1" fmla="val 224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10" name="shadow 1">
            <a:extLst>
              <a:ext uri="{FF2B5EF4-FFF2-40B4-BE49-F238E27FC236}">
                <a16:creationId xmlns:a16="http://schemas.microsoft.com/office/drawing/2014/main" id="{0BF10A86-70B2-E1FC-7420-E2711F121092}"/>
              </a:ext>
            </a:extLst>
          </p:cNvPr>
          <p:cNvSpPr>
            <a:spLocks noGrp="1"/>
          </p:cNvSpPr>
          <p:nvPr>
            <p:ph type="body" idx="48" hasCustomPrompt="1"/>
          </p:nvPr>
        </p:nvSpPr>
        <p:spPr>
          <a:xfrm>
            <a:off x="535685" y="1475999"/>
            <a:ext cx="2520000" cy="2232000"/>
          </a:xfrm>
          <a:prstGeom prst="roundRect">
            <a:avLst>
              <a:gd name="adj" fmla="val 1408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19" name="role 1">
            <a:extLst>
              <a:ext uri="{FF2B5EF4-FFF2-40B4-BE49-F238E27FC236}">
                <a16:creationId xmlns:a16="http://schemas.microsoft.com/office/drawing/2014/main" id="{90DF335A-A9AE-D9DB-0BAF-E0C176A8BD4F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540000" y="32330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8" name="name 1">
            <a:extLst>
              <a:ext uri="{FF2B5EF4-FFF2-40B4-BE49-F238E27FC236}">
                <a16:creationId xmlns:a16="http://schemas.microsoft.com/office/drawing/2014/main" id="{26D9C5D7-7E8C-31A1-71FF-876D8770D1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6D4F5E74-E4BC-26A1-6B3C-B594169526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6825" y="1466475"/>
            <a:ext cx="2520000" cy="1260000"/>
          </a:xfrm>
          <a:prstGeom prst="round2SameRect">
            <a:avLst>
              <a:gd name="adj1" fmla="val 224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endParaRPr lang="en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3754094-CFF9-5176-ADA0-C7C302BF1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6" name="navigation">
            <a:extLst>
              <a:ext uri="{FF2B5EF4-FFF2-40B4-BE49-F238E27FC236}">
                <a16:creationId xmlns:a16="http://schemas.microsoft.com/office/drawing/2014/main" id="{75F76F83-6FC3-B42E-212E-DBFA812FBD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5877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49 : team : 10 pictures : 10 names and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45" name="subhead 10">
            <a:extLst>
              <a:ext uri="{FF2B5EF4-FFF2-40B4-BE49-F238E27FC236}">
                <a16:creationId xmlns:a16="http://schemas.microsoft.com/office/drawing/2014/main" id="{8957E92F-7A0C-9DA0-B1B4-1D48E0407229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9646450" y="3866790"/>
            <a:ext cx="1980000" cy="234000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0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9" name="name 10">
            <a:extLst>
              <a:ext uri="{FF2B5EF4-FFF2-40B4-BE49-F238E27FC236}">
                <a16:creationId xmlns:a16="http://schemas.microsoft.com/office/drawing/2014/main" id="{27047879-F9F7-2872-9C2E-F1F200F924F8}"/>
              </a:ext>
            </a:extLst>
          </p:cNvPr>
          <p:cNvSpPr>
            <a:spLocks noGrp="1"/>
          </p:cNvSpPr>
          <p:nvPr>
            <p:ph type="body" idx="66"/>
          </p:nvPr>
        </p:nvSpPr>
        <p:spPr>
          <a:xfrm>
            <a:off x="9648388" y="5677081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picture 10">
            <a:extLst>
              <a:ext uri="{FF2B5EF4-FFF2-40B4-BE49-F238E27FC236}">
                <a16:creationId xmlns:a16="http://schemas.microsoft.com/office/drawing/2014/main" id="{EC18869E-E982-5D79-087B-724D004A747E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9648000" y="3866790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48" name="subhead 9">
            <a:extLst>
              <a:ext uri="{FF2B5EF4-FFF2-40B4-BE49-F238E27FC236}">
                <a16:creationId xmlns:a16="http://schemas.microsoft.com/office/drawing/2014/main" id="{65E03170-F9E5-1619-0F10-4D068D8BD7E2}"/>
              </a:ext>
            </a:extLst>
          </p:cNvPr>
          <p:cNvSpPr>
            <a:spLocks noGrp="1"/>
          </p:cNvSpPr>
          <p:nvPr>
            <p:ph type="body" idx="47"/>
          </p:nvPr>
        </p:nvSpPr>
        <p:spPr>
          <a:xfrm>
            <a:off x="7371000" y="3866790"/>
            <a:ext cx="1980000" cy="234000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8" name="name 9">
            <a:extLst>
              <a:ext uri="{FF2B5EF4-FFF2-40B4-BE49-F238E27FC236}">
                <a16:creationId xmlns:a16="http://schemas.microsoft.com/office/drawing/2014/main" id="{90130C27-71B2-C794-5113-2FA38F78A43E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7371291" y="5677081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picture 9">
            <a:extLst>
              <a:ext uri="{FF2B5EF4-FFF2-40B4-BE49-F238E27FC236}">
                <a16:creationId xmlns:a16="http://schemas.microsoft.com/office/drawing/2014/main" id="{F943581A-6A0C-2A69-8023-6EA401B1F863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7371000" y="3866790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44" name="subhead 8">
            <a:extLst>
              <a:ext uri="{FF2B5EF4-FFF2-40B4-BE49-F238E27FC236}">
                <a16:creationId xmlns:a16="http://schemas.microsoft.com/office/drawing/2014/main" id="{10F2B6D7-27A0-BDC4-C4E9-ED5BFFC6DD2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094000" y="3866790"/>
            <a:ext cx="1980000" cy="234000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7" name="name 8">
            <a:extLst>
              <a:ext uri="{FF2B5EF4-FFF2-40B4-BE49-F238E27FC236}">
                <a16:creationId xmlns:a16="http://schemas.microsoft.com/office/drawing/2014/main" id="{A20CF480-6BF1-87A3-3003-EE02D6AFB122}"/>
              </a:ext>
            </a:extLst>
          </p:cNvPr>
          <p:cNvSpPr>
            <a:spLocks noGrp="1"/>
          </p:cNvSpPr>
          <p:nvPr>
            <p:ph type="body" idx="64"/>
          </p:nvPr>
        </p:nvSpPr>
        <p:spPr>
          <a:xfrm>
            <a:off x="5094194" y="5677081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picture 8">
            <a:extLst>
              <a:ext uri="{FF2B5EF4-FFF2-40B4-BE49-F238E27FC236}">
                <a16:creationId xmlns:a16="http://schemas.microsoft.com/office/drawing/2014/main" id="{F6FBD914-B2F5-C584-28FA-647A394B21FA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094000" y="3866790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54" name="subhead 7">
            <a:extLst>
              <a:ext uri="{FF2B5EF4-FFF2-40B4-BE49-F238E27FC236}">
                <a16:creationId xmlns:a16="http://schemas.microsoft.com/office/drawing/2014/main" id="{6EB985DA-AEA0-4EF0-1956-1FBE342133AF}"/>
              </a:ext>
            </a:extLst>
          </p:cNvPr>
          <p:cNvSpPr>
            <a:spLocks noGrp="1"/>
          </p:cNvSpPr>
          <p:nvPr>
            <p:ph type="body" idx="52"/>
          </p:nvPr>
        </p:nvSpPr>
        <p:spPr>
          <a:xfrm>
            <a:off x="2815837" y="3866790"/>
            <a:ext cx="1980000" cy="2340000"/>
          </a:xfrm>
          <a:prstGeom prst="roundRect">
            <a:avLst>
              <a:gd name="adj" fmla="val 699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6" name="name 7">
            <a:extLst>
              <a:ext uri="{FF2B5EF4-FFF2-40B4-BE49-F238E27FC236}">
                <a16:creationId xmlns:a16="http://schemas.microsoft.com/office/drawing/2014/main" id="{877EBBC0-DE1D-67E8-6883-6E9EB7DE2991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2817097" y="5677081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picture 7">
            <a:extLst>
              <a:ext uri="{FF2B5EF4-FFF2-40B4-BE49-F238E27FC236}">
                <a16:creationId xmlns:a16="http://schemas.microsoft.com/office/drawing/2014/main" id="{EE7F0AB1-E05B-05AF-441F-57143F9E8307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2817000" y="3866790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57" name="subhead 6">
            <a:extLst>
              <a:ext uri="{FF2B5EF4-FFF2-40B4-BE49-F238E27FC236}">
                <a16:creationId xmlns:a16="http://schemas.microsoft.com/office/drawing/2014/main" id="{7A6C631D-2249-4968-A022-EE350F875421}"/>
              </a:ext>
            </a:extLst>
          </p:cNvPr>
          <p:cNvSpPr>
            <a:spLocks noGrp="1"/>
          </p:cNvSpPr>
          <p:nvPr>
            <p:ph type="body" idx="55"/>
          </p:nvPr>
        </p:nvSpPr>
        <p:spPr>
          <a:xfrm>
            <a:off x="540000" y="3866790"/>
            <a:ext cx="1980000" cy="2340000"/>
          </a:xfrm>
          <a:prstGeom prst="roundRect">
            <a:avLst>
              <a:gd name="adj" fmla="val 5284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5" name="name 6">
            <a:extLst>
              <a:ext uri="{FF2B5EF4-FFF2-40B4-BE49-F238E27FC236}">
                <a16:creationId xmlns:a16="http://schemas.microsoft.com/office/drawing/2014/main" id="{A5E7A693-8355-9728-17E9-8AEBA527FE40}"/>
              </a:ext>
            </a:extLst>
          </p:cNvPr>
          <p:cNvSpPr>
            <a:spLocks noGrp="1"/>
          </p:cNvSpPr>
          <p:nvPr>
            <p:ph type="body" idx="62"/>
          </p:nvPr>
        </p:nvSpPr>
        <p:spPr>
          <a:xfrm>
            <a:off x="540000" y="5677081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picture 6">
            <a:extLst>
              <a:ext uri="{FF2B5EF4-FFF2-40B4-BE49-F238E27FC236}">
                <a16:creationId xmlns:a16="http://schemas.microsoft.com/office/drawing/2014/main" id="{1E31FE22-7ACE-8653-7688-4621FE8720EF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540000" y="3866790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6" name="subhead 5">
            <a:extLst>
              <a:ext uri="{FF2B5EF4-FFF2-40B4-BE49-F238E27FC236}">
                <a16:creationId xmlns:a16="http://schemas.microsoft.com/office/drawing/2014/main" id="{4E1C1AAF-A0BE-06A6-F614-641D5BEB518A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9646450" y="1483651"/>
            <a:ext cx="1980000" cy="234000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0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4" name="name 5">
            <a:extLst>
              <a:ext uri="{FF2B5EF4-FFF2-40B4-BE49-F238E27FC236}">
                <a16:creationId xmlns:a16="http://schemas.microsoft.com/office/drawing/2014/main" id="{8D880576-E0C2-6015-6EC0-DF01178B1324}"/>
              </a:ext>
            </a:extLst>
          </p:cNvPr>
          <p:cNvSpPr>
            <a:spLocks noGrp="1"/>
          </p:cNvSpPr>
          <p:nvPr>
            <p:ph type="body" idx="61"/>
          </p:nvPr>
        </p:nvSpPr>
        <p:spPr>
          <a:xfrm>
            <a:off x="9648388" y="3294606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5">
            <a:extLst>
              <a:ext uri="{FF2B5EF4-FFF2-40B4-BE49-F238E27FC236}">
                <a16:creationId xmlns:a16="http://schemas.microsoft.com/office/drawing/2014/main" id="{A8AC1CB6-247B-124F-1A7A-0B5624FB892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648000" y="1483651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2" name="subhead 4">
            <a:extLst>
              <a:ext uri="{FF2B5EF4-FFF2-40B4-BE49-F238E27FC236}">
                <a16:creationId xmlns:a16="http://schemas.microsoft.com/office/drawing/2014/main" id="{2E60EAAC-E319-6243-2FAB-917688217B61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7371000" y="1483651"/>
            <a:ext cx="1980000" cy="234000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3" name="name 4">
            <a:extLst>
              <a:ext uri="{FF2B5EF4-FFF2-40B4-BE49-F238E27FC236}">
                <a16:creationId xmlns:a16="http://schemas.microsoft.com/office/drawing/2014/main" id="{DD7FEC98-C027-572D-9B71-102932BE5825}"/>
              </a:ext>
            </a:extLst>
          </p:cNvPr>
          <p:cNvSpPr>
            <a:spLocks noGrp="1"/>
          </p:cNvSpPr>
          <p:nvPr>
            <p:ph type="body" idx="60"/>
          </p:nvPr>
        </p:nvSpPr>
        <p:spPr>
          <a:xfrm>
            <a:off x="7371291" y="3294606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4">
            <a:extLst>
              <a:ext uri="{FF2B5EF4-FFF2-40B4-BE49-F238E27FC236}">
                <a16:creationId xmlns:a16="http://schemas.microsoft.com/office/drawing/2014/main" id="{ED5FC855-3CBD-1480-193E-6226E97D0A5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371000" y="1483651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93" name="subhead 3">
            <a:extLst>
              <a:ext uri="{FF2B5EF4-FFF2-40B4-BE49-F238E27FC236}">
                <a16:creationId xmlns:a16="http://schemas.microsoft.com/office/drawing/2014/main" id="{A621FD8A-0372-D7B0-7589-D502248B585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5094000" y="1483651"/>
            <a:ext cx="1980000" cy="234000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2" name="name 3">
            <a:extLst>
              <a:ext uri="{FF2B5EF4-FFF2-40B4-BE49-F238E27FC236}">
                <a16:creationId xmlns:a16="http://schemas.microsoft.com/office/drawing/2014/main" id="{A9922C48-F985-61DE-ECCB-E80F2226FD0D}"/>
              </a:ext>
            </a:extLst>
          </p:cNvPr>
          <p:cNvSpPr>
            <a:spLocks noGrp="1"/>
          </p:cNvSpPr>
          <p:nvPr>
            <p:ph type="body" idx="59"/>
          </p:nvPr>
        </p:nvSpPr>
        <p:spPr>
          <a:xfrm>
            <a:off x="5094194" y="3294606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3">
            <a:extLst>
              <a:ext uri="{FF2B5EF4-FFF2-40B4-BE49-F238E27FC236}">
                <a16:creationId xmlns:a16="http://schemas.microsoft.com/office/drawing/2014/main" id="{9FF70640-2E25-EBCF-C164-4D8776EDCC0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94000" y="1483651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92" name="subhead 2">
            <a:extLst>
              <a:ext uri="{FF2B5EF4-FFF2-40B4-BE49-F238E27FC236}">
                <a16:creationId xmlns:a16="http://schemas.microsoft.com/office/drawing/2014/main" id="{0C79B4B6-AEFC-E24C-2B7C-4FE3BD9C9C77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2815837" y="1483651"/>
            <a:ext cx="1980000" cy="2340000"/>
          </a:xfrm>
          <a:prstGeom prst="roundRect">
            <a:avLst>
              <a:gd name="adj" fmla="val 699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61" name="name 2">
            <a:extLst>
              <a:ext uri="{FF2B5EF4-FFF2-40B4-BE49-F238E27FC236}">
                <a16:creationId xmlns:a16="http://schemas.microsoft.com/office/drawing/2014/main" id="{245389A0-0095-72A6-79F8-CE5EFAFAC5AA}"/>
              </a:ext>
            </a:extLst>
          </p:cNvPr>
          <p:cNvSpPr>
            <a:spLocks noGrp="1"/>
          </p:cNvSpPr>
          <p:nvPr>
            <p:ph type="body" idx="58"/>
          </p:nvPr>
        </p:nvSpPr>
        <p:spPr>
          <a:xfrm>
            <a:off x="2817097" y="3294606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2">
            <a:extLst>
              <a:ext uri="{FF2B5EF4-FFF2-40B4-BE49-F238E27FC236}">
                <a16:creationId xmlns:a16="http://schemas.microsoft.com/office/drawing/2014/main" id="{55B5AD6C-F5DC-9656-D99B-A67A0B7E50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17000" y="1483651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49" name="subhead 1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83651"/>
            <a:ext cx="1980000" cy="2340000"/>
          </a:xfrm>
          <a:prstGeom prst="roundRect">
            <a:avLst>
              <a:gd name="adj" fmla="val 5284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21" name="name 1">
            <a:extLst>
              <a:ext uri="{FF2B5EF4-FFF2-40B4-BE49-F238E27FC236}">
                <a16:creationId xmlns:a16="http://schemas.microsoft.com/office/drawing/2014/main" id="{8A8BFD5B-C976-835F-A757-EE0BFB168A29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540000" y="3294606"/>
            <a:ext cx="1979612" cy="504013"/>
          </a:xfrm>
        </p:spPr>
        <p:txBody>
          <a:bodyPr lIns="72000" tIns="36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1">
            <a:extLst>
              <a:ext uri="{FF2B5EF4-FFF2-40B4-BE49-F238E27FC236}">
                <a16:creationId xmlns:a16="http://schemas.microsoft.com/office/drawing/2014/main" id="{48BC97E5-F4FC-CFC7-7C93-504C59D7A2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0000" y="1483651"/>
            <a:ext cx="1980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en-US"/>
              <a:t>Click icon to add picture</a:t>
            </a:r>
            <a:endParaRPr lang="en-DE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485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49 : team : 20 pictures : 20 names and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64" name="shadow 5.1">
            <a:extLst>
              <a:ext uri="{FF2B5EF4-FFF2-40B4-BE49-F238E27FC236}">
                <a16:creationId xmlns:a16="http://schemas.microsoft.com/office/drawing/2014/main" id="{36EF2D9D-2C86-FDE0-B1D7-8A5721A0CEC9}"/>
              </a:ext>
            </a:extLst>
          </p:cNvPr>
          <p:cNvSpPr>
            <a:spLocks noGrp="1"/>
          </p:cNvSpPr>
          <p:nvPr>
            <p:ph type="body" idx="121" hasCustomPrompt="1"/>
          </p:nvPr>
        </p:nvSpPr>
        <p:spPr>
          <a:xfrm>
            <a:off x="9468000" y="1991516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49" name="name 5.1">
            <a:extLst>
              <a:ext uri="{FF2B5EF4-FFF2-40B4-BE49-F238E27FC236}">
                <a16:creationId xmlns:a16="http://schemas.microsoft.com/office/drawing/2014/main" id="{E41294CD-81C9-D373-11F8-33728157FB27}"/>
              </a:ext>
            </a:extLst>
          </p:cNvPr>
          <p:cNvSpPr>
            <a:spLocks noGrp="1"/>
          </p:cNvSpPr>
          <p:nvPr>
            <p:ph type="body" idx="93"/>
          </p:nvPr>
        </p:nvSpPr>
        <p:spPr>
          <a:xfrm>
            <a:off x="10440000" y="1989138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0" name="picture 5.1">
            <a:extLst>
              <a:ext uri="{FF2B5EF4-FFF2-40B4-BE49-F238E27FC236}">
                <a16:creationId xmlns:a16="http://schemas.microsoft.com/office/drawing/2014/main" id="{B57E4E78-9DC3-3F77-A9D0-F7E8D9641AED}"/>
              </a:ext>
            </a:extLst>
          </p:cNvPr>
          <p:cNvSpPr>
            <a:spLocks noGrp="1"/>
          </p:cNvSpPr>
          <p:nvPr>
            <p:ph type="pic" sz="quarter" idx="94"/>
          </p:nvPr>
        </p:nvSpPr>
        <p:spPr>
          <a:xfrm>
            <a:off x="9468000" y="1989138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66" name="shadow 5.2">
            <a:extLst>
              <a:ext uri="{FF2B5EF4-FFF2-40B4-BE49-F238E27FC236}">
                <a16:creationId xmlns:a16="http://schemas.microsoft.com/office/drawing/2014/main" id="{6081E31E-D3AC-AE42-7D45-83551BFF37A7}"/>
              </a:ext>
            </a:extLst>
          </p:cNvPr>
          <p:cNvSpPr>
            <a:spLocks noGrp="1"/>
          </p:cNvSpPr>
          <p:nvPr>
            <p:ph type="body" idx="122" hasCustomPrompt="1"/>
          </p:nvPr>
        </p:nvSpPr>
        <p:spPr>
          <a:xfrm>
            <a:off x="9468000" y="3082960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52" name="name 5.2">
            <a:extLst>
              <a:ext uri="{FF2B5EF4-FFF2-40B4-BE49-F238E27FC236}">
                <a16:creationId xmlns:a16="http://schemas.microsoft.com/office/drawing/2014/main" id="{4E134554-E3F4-1271-A235-DBC740B902C7}"/>
              </a:ext>
            </a:extLst>
          </p:cNvPr>
          <p:cNvSpPr>
            <a:spLocks noGrp="1"/>
          </p:cNvSpPr>
          <p:nvPr>
            <p:ph type="body" idx="95"/>
          </p:nvPr>
        </p:nvSpPr>
        <p:spPr>
          <a:xfrm>
            <a:off x="10440000" y="3081375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5" name="picture 5.2">
            <a:extLst>
              <a:ext uri="{FF2B5EF4-FFF2-40B4-BE49-F238E27FC236}">
                <a16:creationId xmlns:a16="http://schemas.microsoft.com/office/drawing/2014/main" id="{C9FB66CC-A91B-47D0-D455-732C234339BA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9468000" y="3081375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67" name="shadow 5.3">
            <a:extLst>
              <a:ext uri="{FF2B5EF4-FFF2-40B4-BE49-F238E27FC236}">
                <a16:creationId xmlns:a16="http://schemas.microsoft.com/office/drawing/2014/main" id="{DFB28E93-581E-6AAA-4C38-9BFF0715F83A}"/>
              </a:ext>
            </a:extLst>
          </p:cNvPr>
          <p:cNvSpPr>
            <a:spLocks noGrp="1"/>
          </p:cNvSpPr>
          <p:nvPr>
            <p:ph type="body" idx="123" hasCustomPrompt="1"/>
          </p:nvPr>
        </p:nvSpPr>
        <p:spPr>
          <a:xfrm>
            <a:off x="9468000" y="4174404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58" name="name 5.3">
            <a:extLst>
              <a:ext uri="{FF2B5EF4-FFF2-40B4-BE49-F238E27FC236}">
                <a16:creationId xmlns:a16="http://schemas.microsoft.com/office/drawing/2014/main" id="{31F74E95-42ED-8F56-A3CC-66DBD3C55D1A}"/>
              </a:ext>
            </a:extLst>
          </p:cNvPr>
          <p:cNvSpPr>
            <a:spLocks noGrp="1"/>
          </p:cNvSpPr>
          <p:nvPr>
            <p:ph type="body" idx="97"/>
          </p:nvPr>
        </p:nvSpPr>
        <p:spPr>
          <a:xfrm>
            <a:off x="10440000" y="4173612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60" name="picture 5.3">
            <a:extLst>
              <a:ext uri="{FF2B5EF4-FFF2-40B4-BE49-F238E27FC236}">
                <a16:creationId xmlns:a16="http://schemas.microsoft.com/office/drawing/2014/main" id="{B8DD2B2A-ABB0-9686-780D-CEEB87FEFABA}"/>
              </a:ext>
            </a:extLst>
          </p:cNvPr>
          <p:cNvSpPr>
            <a:spLocks noGrp="1"/>
          </p:cNvSpPr>
          <p:nvPr>
            <p:ph type="pic" sz="quarter" idx="98"/>
          </p:nvPr>
        </p:nvSpPr>
        <p:spPr>
          <a:xfrm>
            <a:off x="9468000" y="4173612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68" name="shadow 5.4">
            <a:extLst>
              <a:ext uri="{FF2B5EF4-FFF2-40B4-BE49-F238E27FC236}">
                <a16:creationId xmlns:a16="http://schemas.microsoft.com/office/drawing/2014/main" id="{272731C1-D5C1-00F2-BD8F-13F1B73EB7A2}"/>
              </a:ext>
            </a:extLst>
          </p:cNvPr>
          <p:cNvSpPr>
            <a:spLocks noGrp="1"/>
          </p:cNvSpPr>
          <p:nvPr>
            <p:ph type="body" idx="124" hasCustomPrompt="1"/>
          </p:nvPr>
        </p:nvSpPr>
        <p:spPr>
          <a:xfrm>
            <a:off x="9468000" y="5265849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70" name="name 5.4">
            <a:extLst>
              <a:ext uri="{FF2B5EF4-FFF2-40B4-BE49-F238E27FC236}">
                <a16:creationId xmlns:a16="http://schemas.microsoft.com/office/drawing/2014/main" id="{A5903192-BC2C-1FBF-FC59-BD95876CAC42}"/>
              </a:ext>
            </a:extLst>
          </p:cNvPr>
          <p:cNvSpPr>
            <a:spLocks noGrp="1"/>
          </p:cNvSpPr>
          <p:nvPr>
            <p:ph type="body" idx="99"/>
          </p:nvPr>
        </p:nvSpPr>
        <p:spPr>
          <a:xfrm>
            <a:off x="10440000" y="5265850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71" name="picture 5.4">
            <a:extLst>
              <a:ext uri="{FF2B5EF4-FFF2-40B4-BE49-F238E27FC236}">
                <a16:creationId xmlns:a16="http://schemas.microsoft.com/office/drawing/2014/main" id="{56681970-C27F-D582-E95D-839360C79DAD}"/>
              </a:ext>
            </a:extLst>
          </p:cNvPr>
          <p:cNvSpPr>
            <a:spLocks noGrp="1"/>
          </p:cNvSpPr>
          <p:nvPr>
            <p:ph type="pic" sz="quarter" idx="100"/>
          </p:nvPr>
        </p:nvSpPr>
        <p:spPr>
          <a:xfrm>
            <a:off x="9468000" y="5265850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77" name="name 5">
            <a:extLst>
              <a:ext uri="{FF2B5EF4-FFF2-40B4-BE49-F238E27FC236}">
                <a16:creationId xmlns:a16="http://schemas.microsoft.com/office/drawing/2014/main" id="{1A90B36F-AF12-D3EA-33A4-C5CF0C21CD02}"/>
              </a:ext>
            </a:extLst>
          </p:cNvPr>
          <p:cNvSpPr>
            <a:spLocks noGrp="1"/>
          </p:cNvSpPr>
          <p:nvPr>
            <p:ph type="body" idx="105"/>
          </p:nvPr>
        </p:nvSpPr>
        <p:spPr>
          <a:xfrm>
            <a:off x="9468000" y="1512000"/>
            <a:ext cx="2124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63" name="shadow 4.4">
            <a:extLst>
              <a:ext uri="{FF2B5EF4-FFF2-40B4-BE49-F238E27FC236}">
                <a16:creationId xmlns:a16="http://schemas.microsoft.com/office/drawing/2014/main" id="{2A4AB71A-69B1-1E40-4331-F831E87DE9D1}"/>
              </a:ext>
            </a:extLst>
          </p:cNvPr>
          <p:cNvSpPr>
            <a:spLocks noGrp="1"/>
          </p:cNvSpPr>
          <p:nvPr>
            <p:ph type="body" idx="120" hasCustomPrompt="1"/>
          </p:nvPr>
        </p:nvSpPr>
        <p:spPr>
          <a:xfrm>
            <a:off x="7236000" y="5265849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43" name="name 4.4">
            <a:extLst>
              <a:ext uri="{FF2B5EF4-FFF2-40B4-BE49-F238E27FC236}">
                <a16:creationId xmlns:a16="http://schemas.microsoft.com/office/drawing/2014/main" id="{8D117A0A-A9AC-BE3B-927E-AD9984E442CA}"/>
              </a:ext>
            </a:extLst>
          </p:cNvPr>
          <p:cNvSpPr>
            <a:spLocks noGrp="1"/>
          </p:cNvSpPr>
          <p:nvPr>
            <p:ph type="body" idx="91"/>
          </p:nvPr>
        </p:nvSpPr>
        <p:spPr>
          <a:xfrm>
            <a:off x="8208000" y="5265850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46" name="picture 4.4">
            <a:extLst>
              <a:ext uri="{FF2B5EF4-FFF2-40B4-BE49-F238E27FC236}">
                <a16:creationId xmlns:a16="http://schemas.microsoft.com/office/drawing/2014/main" id="{E7585B42-ADA9-D55E-F18A-737E79F2A633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7236000" y="5265850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62" name="shadow 4.3">
            <a:extLst>
              <a:ext uri="{FF2B5EF4-FFF2-40B4-BE49-F238E27FC236}">
                <a16:creationId xmlns:a16="http://schemas.microsoft.com/office/drawing/2014/main" id="{4BC4D9DE-1227-FCE0-1BCF-0117045D86C0}"/>
              </a:ext>
            </a:extLst>
          </p:cNvPr>
          <p:cNvSpPr>
            <a:spLocks noGrp="1"/>
          </p:cNvSpPr>
          <p:nvPr>
            <p:ph type="body" idx="119" hasCustomPrompt="1"/>
          </p:nvPr>
        </p:nvSpPr>
        <p:spPr>
          <a:xfrm>
            <a:off x="7236000" y="4174404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41" name="name 4.3">
            <a:extLst>
              <a:ext uri="{FF2B5EF4-FFF2-40B4-BE49-F238E27FC236}">
                <a16:creationId xmlns:a16="http://schemas.microsoft.com/office/drawing/2014/main" id="{20E4104B-3A58-A084-0BFA-CDBADC0B4D00}"/>
              </a:ext>
            </a:extLst>
          </p:cNvPr>
          <p:cNvSpPr>
            <a:spLocks noGrp="1"/>
          </p:cNvSpPr>
          <p:nvPr>
            <p:ph type="body" idx="89"/>
          </p:nvPr>
        </p:nvSpPr>
        <p:spPr>
          <a:xfrm>
            <a:off x="8208000" y="4173612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42" name="picture 4.3">
            <a:extLst>
              <a:ext uri="{FF2B5EF4-FFF2-40B4-BE49-F238E27FC236}">
                <a16:creationId xmlns:a16="http://schemas.microsoft.com/office/drawing/2014/main" id="{7FD24508-AE74-D420-15D5-9437BE1D2B2E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7236000" y="4173612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61" name="shadow 4.2">
            <a:extLst>
              <a:ext uri="{FF2B5EF4-FFF2-40B4-BE49-F238E27FC236}">
                <a16:creationId xmlns:a16="http://schemas.microsoft.com/office/drawing/2014/main" id="{C6D427AF-1726-3332-EA28-E0EDEAF184CC}"/>
              </a:ext>
            </a:extLst>
          </p:cNvPr>
          <p:cNvSpPr>
            <a:spLocks noGrp="1"/>
          </p:cNvSpPr>
          <p:nvPr>
            <p:ph type="body" idx="118" hasCustomPrompt="1"/>
          </p:nvPr>
        </p:nvSpPr>
        <p:spPr>
          <a:xfrm>
            <a:off x="7236000" y="3082960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9" name="name 4.2">
            <a:extLst>
              <a:ext uri="{FF2B5EF4-FFF2-40B4-BE49-F238E27FC236}">
                <a16:creationId xmlns:a16="http://schemas.microsoft.com/office/drawing/2014/main" id="{8FF9A2AF-F6B0-F168-DDAC-AC439481E31B}"/>
              </a:ext>
            </a:extLst>
          </p:cNvPr>
          <p:cNvSpPr>
            <a:spLocks noGrp="1"/>
          </p:cNvSpPr>
          <p:nvPr>
            <p:ph type="body" idx="87"/>
          </p:nvPr>
        </p:nvSpPr>
        <p:spPr>
          <a:xfrm>
            <a:off x="8208000" y="3081375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40" name="picture 4.2">
            <a:extLst>
              <a:ext uri="{FF2B5EF4-FFF2-40B4-BE49-F238E27FC236}">
                <a16:creationId xmlns:a16="http://schemas.microsoft.com/office/drawing/2014/main" id="{56B30A07-C6EF-9F7A-09D3-0AA11643C4F4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7236000" y="3081375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59" name="shadow 4.1">
            <a:extLst>
              <a:ext uri="{FF2B5EF4-FFF2-40B4-BE49-F238E27FC236}">
                <a16:creationId xmlns:a16="http://schemas.microsoft.com/office/drawing/2014/main" id="{51D838D3-E9AB-4C2A-D686-A87A1050DA35}"/>
              </a:ext>
            </a:extLst>
          </p:cNvPr>
          <p:cNvSpPr>
            <a:spLocks noGrp="1"/>
          </p:cNvSpPr>
          <p:nvPr>
            <p:ph type="body" idx="117" hasCustomPrompt="1"/>
          </p:nvPr>
        </p:nvSpPr>
        <p:spPr>
          <a:xfrm>
            <a:off x="7236000" y="1991516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7" name="name 4.1">
            <a:extLst>
              <a:ext uri="{FF2B5EF4-FFF2-40B4-BE49-F238E27FC236}">
                <a16:creationId xmlns:a16="http://schemas.microsoft.com/office/drawing/2014/main" id="{1998D8DE-7AD8-C7D5-1A1F-C44B9C1DAE00}"/>
              </a:ext>
            </a:extLst>
          </p:cNvPr>
          <p:cNvSpPr>
            <a:spLocks noGrp="1"/>
          </p:cNvSpPr>
          <p:nvPr>
            <p:ph type="body" idx="85"/>
          </p:nvPr>
        </p:nvSpPr>
        <p:spPr>
          <a:xfrm>
            <a:off x="8208000" y="1989138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8" name="picture 4.1">
            <a:extLst>
              <a:ext uri="{FF2B5EF4-FFF2-40B4-BE49-F238E27FC236}">
                <a16:creationId xmlns:a16="http://schemas.microsoft.com/office/drawing/2014/main" id="{0908AD6E-1707-2AF3-B561-3EF15C0355FA}"/>
              </a:ext>
            </a:extLst>
          </p:cNvPr>
          <p:cNvSpPr>
            <a:spLocks noGrp="1"/>
          </p:cNvSpPr>
          <p:nvPr>
            <p:ph type="pic" sz="quarter" idx="86"/>
          </p:nvPr>
        </p:nvSpPr>
        <p:spPr>
          <a:xfrm>
            <a:off x="7236000" y="1989138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76" name="name 4">
            <a:extLst>
              <a:ext uri="{FF2B5EF4-FFF2-40B4-BE49-F238E27FC236}">
                <a16:creationId xmlns:a16="http://schemas.microsoft.com/office/drawing/2014/main" id="{4AED7C7E-1399-7EB1-31EC-6879CC33A37E}"/>
              </a:ext>
            </a:extLst>
          </p:cNvPr>
          <p:cNvSpPr>
            <a:spLocks noGrp="1"/>
          </p:cNvSpPr>
          <p:nvPr>
            <p:ph type="body" idx="104"/>
          </p:nvPr>
        </p:nvSpPr>
        <p:spPr>
          <a:xfrm>
            <a:off x="7236000" y="1512000"/>
            <a:ext cx="2124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7" name="shadow 3.4">
            <a:extLst>
              <a:ext uri="{FF2B5EF4-FFF2-40B4-BE49-F238E27FC236}">
                <a16:creationId xmlns:a16="http://schemas.microsoft.com/office/drawing/2014/main" id="{811720C1-E4D8-5059-9319-034975812614}"/>
              </a:ext>
            </a:extLst>
          </p:cNvPr>
          <p:cNvSpPr>
            <a:spLocks noGrp="1"/>
          </p:cNvSpPr>
          <p:nvPr>
            <p:ph type="body" idx="116" hasCustomPrompt="1"/>
          </p:nvPr>
        </p:nvSpPr>
        <p:spPr>
          <a:xfrm>
            <a:off x="5004000" y="5265849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5" name="name 3.4">
            <a:extLst>
              <a:ext uri="{FF2B5EF4-FFF2-40B4-BE49-F238E27FC236}">
                <a16:creationId xmlns:a16="http://schemas.microsoft.com/office/drawing/2014/main" id="{2CD576BB-D341-D771-2C93-689C77AF8A16}"/>
              </a:ext>
            </a:extLst>
          </p:cNvPr>
          <p:cNvSpPr>
            <a:spLocks noGrp="1"/>
          </p:cNvSpPr>
          <p:nvPr>
            <p:ph type="body" idx="83"/>
          </p:nvPr>
        </p:nvSpPr>
        <p:spPr>
          <a:xfrm>
            <a:off x="5976000" y="5265850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6" name="picture 3.4">
            <a:extLst>
              <a:ext uri="{FF2B5EF4-FFF2-40B4-BE49-F238E27FC236}">
                <a16:creationId xmlns:a16="http://schemas.microsoft.com/office/drawing/2014/main" id="{A997D85A-23B8-CE5C-F44F-EA4281FED663}"/>
              </a:ext>
            </a:extLst>
          </p:cNvPr>
          <p:cNvSpPr>
            <a:spLocks noGrp="1"/>
          </p:cNvSpPr>
          <p:nvPr>
            <p:ph type="pic" sz="quarter" idx="84"/>
          </p:nvPr>
        </p:nvSpPr>
        <p:spPr>
          <a:xfrm>
            <a:off x="5004000" y="5265850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56" name="shadow 3.3">
            <a:extLst>
              <a:ext uri="{FF2B5EF4-FFF2-40B4-BE49-F238E27FC236}">
                <a16:creationId xmlns:a16="http://schemas.microsoft.com/office/drawing/2014/main" id="{B894C412-0065-4067-2D7A-8B7526DD53C5}"/>
              </a:ext>
            </a:extLst>
          </p:cNvPr>
          <p:cNvSpPr>
            <a:spLocks noGrp="1"/>
          </p:cNvSpPr>
          <p:nvPr>
            <p:ph type="body" idx="115" hasCustomPrompt="1"/>
          </p:nvPr>
        </p:nvSpPr>
        <p:spPr>
          <a:xfrm>
            <a:off x="5004000" y="4174404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3" name="name 3.3">
            <a:extLst>
              <a:ext uri="{FF2B5EF4-FFF2-40B4-BE49-F238E27FC236}">
                <a16:creationId xmlns:a16="http://schemas.microsoft.com/office/drawing/2014/main" id="{157702DF-90BE-0FED-5BD0-A5CFAC91B308}"/>
              </a:ext>
            </a:extLst>
          </p:cNvPr>
          <p:cNvSpPr>
            <a:spLocks noGrp="1"/>
          </p:cNvSpPr>
          <p:nvPr>
            <p:ph type="body" idx="81"/>
          </p:nvPr>
        </p:nvSpPr>
        <p:spPr>
          <a:xfrm>
            <a:off x="5976000" y="4173612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4" name="picture 3.3">
            <a:extLst>
              <a:ext uri="{FF2B5EF4-FFF2-40B4-BE49-F238E27FC236}">
                <a16:creationId xmlns:a16="http://schemas.microsoft.com/office/drawing/2014/main" id="{084445D3-24C0-0A7C-54B3-FBF6581EF1FF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>
            <a:off x="5004000" y="4173612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54" name="shadow 3.2">
            <a:extLst>
              <a:ext uri="{FF2B5EF4-FFF2-40B4-BE49-F238E27FC236}">
                <a16:creationId xmlns:a16="http://schemas.microsoft.com/office/drawing/2014/main" id="{FD56D13F-73B3-3F88-7DC1-3D8DE6E37C34}"/>
              </a:ext>
            </a:extLst>
          </p:cNvPr>
          <p:cNvSpPr>
            <a:spLocks noGrp="1"/>
          </p:cNvSpPr>
          <p:nvPr>
            <p:ph type="body" idx="114" hasCustomPrompt="1"/>
          </p:nvPr>
        </p:nvSpPr>
        <p:spPr>
          <a:xfrm>
            <a:off x="5004000" y="3082960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1" name="name 3.2">
            <a:extLst>
              <a:ext uri="{FF2B5EF4-FFF2-40B4-BE49-F238E27FC236}">
                <a16:creationId xmlns:a16="http://schemas.microsoft.com/office/drawing/2014/main" id="{CEC84D17-7384-EC96-C1FB-BCFFAC22B70E}"/>
              </a:ext>
            </a:extLst>
          </p:cNvPr>
          <p:cNvSpPr>
            <a:spLocks noGrp="1"/>
          </p:cNvSpPr>
          <p:nvPr>
            <p:ph type="body" idx="79"/>
          </p:nvPr>
        </p:nvSpPr>
        <p:spPr>
          <a:xfrm>
            <a:off x="5976000" y="3081375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2" name="picture 3.2">
            <a:extLst>
              <a:ext uri="{FF2B5EF4-FFF2-40B4-BE49-F238E27FC236}">
                <a16:creationId xmlns:a16="http://schemas.microsoft.com/office/drawing/2014/main" id="{A204849E-7B66-2550-EE33-F79B39331B3D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5004000" y="3081375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53" name="shadow 3.1">
            <a:extLst>
              <a:ext uri="{FF2B5EF4-FFF2-40B4-BE49-F238E27FC236}">
                <a16:creationId xmlns:a16="http://schemas.microsoft.com/office/drawing/2014/main" id="{30165A19-373E-5D4A-1D1C-5389ABC35F5D}"/>
              </a:ext>
            </a:extLst>
          </p:cNvPr>
          <p:cNvSpPr>
            <a:spLocks noGrp="1"/>
          </p:cNvSpPr>
          <p:nvPr>
            <p:ph type="body" idx="113" hasCustomPrompt="1"/>
          </p:nvPr>
        </p:nvSpPr>
        <p:spPr>
          <a:xfrm>
            <a:off x="5004000" y="1991516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29" name="name 3.1">
            <a:extLst>
              <a:ext uri="{FF2B5EF4-FFF2-40B4-BE49-F238E27FC236}">
                <a16:creationId xmlns:a16="http://schemas.microsoft.com/office/drawing/2014/main" id="{0BB5101B-E8EE-0591-8150-5A093F5306FD}"/>
              </a:ext>
            </a:extLst>
          </p:cNvPr>
          <p:cNvSpPr>
            <a:spLocks noGrp="1"/>
          </p:cNvSpPr>
          <p:nvPr>
            <p:ph type="body" idx="77"/>
          </p:nvPr>
        </p:nvSpPr>
        <p:spPr>
          <a:xfrm>
            <a:off x="5976000" y="1989138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30" name="picture 3.1">
            <a:extLst>
              <a:ext uri="{FF2B5EF4-FFF2-40B4-BE49-F238E27FC236}">
                <a16:creationId xmlns:a16="http://schemas.microsoft.com/office/drawing/2014/main" id="{00E7D553-EDC9-0225-5F32-250786A19C1C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5004000" y="1989138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75" name="name 3">
            <a:extLst>
              <a:ext uri="{FF2B5EF4-FFF2-40B4-BE49-F238E27FC236}">
                <a16:creationId xmlns:a16="http://schemas.microsoft.com/office/drawing/2014/main" id="{51C97EA7-102D-1E54-D235-EA61692DA024}"/>
              </a:ext>
            </a:extLst>
          </p:cNvPr>
          <p:cNvSpPr>
            <a:spLocks noGrp="1"/>
          </p:cNvSpPr>
          <p:nvPr>
            <p:ph type="body" idx="103"/>
          </p:nvPr>
        </p:nvSpPr>
        <p:spPr>
          <a:xfrm>
            <a:off x="5004000" y="1512000"/>
            <a:ext cx="2124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51" name="shadow 2.4">
            <a:extLst>
              <a:ext uri="{FF2B5EF4-FFF2-40B4-BE49-F238E27FC236}">
                <a16:creationId xmlns:a16="http://schemas.microsoft.com/office/drawing/2014/main" id="{1102EBEB-ED76-5FBA-2927-69B07359D8FD}"/>
              </a:ext>
            </a:extLst>
          </p:cNvPr>
          <p:cNvSpPr>
            <a:spLocks noGrp="1"/>
          </p:cNvSpPr>
          <p:nvPr>
            <p:ph type="body" idx="112" hasCustomPrompt="1"/>
          </p:nvPr>
        </p:nvSpPr>
        <p:spPr>
          <a:xfrm>
            <a:off x="2772000" y="5265849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27" name="name 2.4">
            <a:extLst>
              <a:ext uri="{FF2B5EF4-FFF2-40B4-BE49-F238E27FC236}">
                <a16:creationId xmlns:a16="http://schemas.microsoft.com/office/drawing/2014/main" id="{495545F0-66B3-E8F4-3A8A-2AFF6611F334}"/>
              </a:ext>
            </a:extLst>
          </p:cNvPr>
          <p:cNvSpPr>
            <a:spLocks noGrp="1"/>
          </p:cNvSpPr>
          <p:nvPr>
            <p:ph type="body" idx="75"/>
          </p:nvPr>
        </p:nvSpPr>
        <p:spPr>
          <a:xfrm>
            <a:off x="3744000" y="5265850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8" name="picture 2.4">
            <a:extLst>
              <a:ext uri="{FF2B5EF4-FFF2-40B4-BE49-F238E27FC236}">
                <a16:creationId xmlns:a16="http://schemas.microsoft.com/office/drawing/2014/main" id="{567085A6-0F2B-4305-8071-F456333C1F58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2772000" y="5265850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48" name="shadow 2.3">
            <a:extLst>
              <a:ext uri="{FF2B5EF4-FFF2-40B4-BE49-F238E27FC236}">
                <a16:creationId xmlns:a16="http://schemas.microsoft.com/office/drawing/2014/main" id="{EAF1B640-F018-3C3A-1094-7FE7A5AF685C}"/>
              </a:ext>
            </a:extLst>
          </p:cNvPr>
          <p:cNvSpPr>
            <a:spLocks noGrp="1"/>
          </p:cNvSpPr>
          <p:nvPr>
            <p:ph type="body" idx="111" hasCustomPrompt="1"/>
          </p:nvPr>
        </p:nvSpPr>
        <p:spPr>
          <a:xfrm>
            <a:off x="2772000" y="4174404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25" name="name 2.3">
            <a:extLst>
              <a:ext uri="{FF2B5EF4-FFF2-40B4-BE49-F238E27FC236}">
                <a16:creationId xmlns:a16="http://schemas.microsoft.com/office/drawing/2014/main" id="{63A65190-84AE-822A-6BE1-48476276059A}"/>
              </a:ext>
            </a:extLst>
          </p:cNvPr>
          <p:cNvSpPr>
            <a:spLocks noGrp="1"/>
          </p:cNvSpPr>
          <p:nvPr>
            <p:ph type="body" idx="73"/>
          </p:nvPr>
        </p:nvSpPr>
        <p:spPr>
          <a:xfrm>
            <a:off x="3744000" y="4173612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6" name="picture 2.3">
            <a:extLst>
              <a:ext uri="{FF2B5EF4-FFF2-40B4-BE49-F238E27FC236}">
                <a16:creationId xmlns:a16="http://schemas.microsoft.com/office/drawing/2014/main" id="{D9BC618B-BD6B-C520-5ED3-C4331E261F10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2772000" y="4173612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47" name="shadow 2.2">
            <a:extLst>
              <a:ext uri="{FF2B5EF4-FFF2-40B4-BE49-F238E27FC236}">
                <a16:creationId xmlns:a16="http://schemas.microsoft.com/office/drawing/2014/main" id="{0CE6D804-9FAC-2B3D-6B25-72E828BA88B5}"/>
              </a:ext>
            </a:extLst>
          </p:cNvPr>
          <p:cNvSpPr>
            <a:spLocks noGrp="1"/>
          </p:cNvSpPr>
          <p:nvPr>
            <p:ph type="body" idx="110" hasCustomPrompt="1"/>
          </p:nvPr>
        </p:nvSpPr>
        <p:spPr>
          <a:xfrm>
            <a:off x="2772000" y="3082960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23" name="name 2.2">
            <a:extLst>
              <a:ext uri="{FF2B5EF4-FFF2-40B4-BE49-F238E27FC236}">
                <a16:creationId xmlns:a16="http://schemas.microsoft.com/office/drawing/2014/main" id="{6DBF9A3E-69EE-A339-B47D-ECAA88B76CC6}"/>
              </a:ext>
            </a:extLst>
          </p:cNvPr>
          <p:cNvSpPr>
            <a:spLocks noGrp="1"/>
          </p:cNvSpPr>
          <p:nvPr>
            <p:ph type="body" idx="71"/>
          </p:nvPr>
        </p:nvSpPr>
        <p:spPr>
          <a:xfrm>
            <a:off x="3744000" y="3081375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24" name="picture 2.2">
            <a:extLst>
              <a:ext uri="{FF2B5EF4-FFF2-40B4-BE49-F238E27FC236}">
                <a16:creationId xmlns:a16="http://schemas.microsoft.com/office/drawing/2014/main" id="{80378937-B2DE-13F1-0B9E-BA10122C2371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2772000" y="3081375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45" name="shadow 2.1">
            <a:extLst>
              <a:ext uri="{FF2B5EF4-FFF2-40B4-BE49-F238E27FC236}">
                <a16:creationId xmlns:a16="http://schemas.microsoft.com/office/drawing/2014/main" id="{2323DAB4-2A5F-5AA6-7764-81581A38ABD5}"/>
              </a:ext>
            </a:extLst>
          </p:cNvPr>
          <p:cNvSpPr>
            <a:spLocks noGrp="1"/>
          </p:cNvSpPr>
          <p:nvPr>
            <p:ph type="body" idx="109" hasCustomPrompt="1"/>
          </p:nvPr>
        </p:nvSpPr>
        <p:spPr>
          <a:xfrm>
            <a:off x="2772000" y="1991516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20" name="name 2.1">
            <a:extLst>
              <a:ext uri="{FF2B5EF4-FFF2-40B4-BE49-F238E27FC236}">
                <a16:creationId xmlns:a16="http://schemas.microsoft.com/office/drawing/2014/main" id="{59CD1CC2-8578-48A6-7250-6E0FE2D82602}"/>
              </a:ext>
            </a:extLst>
          </p:cNvPr>
          <p:cNvSpPr>
            <a:spLocks noGrp="1"/>
          </p:cNvSpPr>
          <p:nvPr>
            <p:ph type="body" idx="69"/>
          </p:nvPr>
        </p:nvSpPr>
        <p:spPr>
          <a:xfrm>
            <a:off x="3744000" y="1989138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</a:t>
            </a:r>
          </a:p>
        </p:txBody>
      </p:sp>
      <p:sp>
        <p:nvSpPr>
          <p:cNvPr id="22" name="picture 2.1">
            <a:extLst>
              <a:ext uri="{FF2B5EF4-FFF2-40B4-BE49-F238E27FC236}">
                <a16:creationId xmlns:a16="http://schemas.microsoft.com/office/drawing/2014/main" id="{F1ED6006-2311-4569-9CF2-1F793E7DBF51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2772000" y="1989138"/>
            <a:ext cx="900000" cy="9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74" name="name 2">
            <a:extLst>
              <a:ext uri="{FF2B5EF4-FFF2-40B4-BE49-F238E27FC236}">
                <a16:creationId xmlns:a16="http://schemas.microsoft.com/office/drawing/2014/main" id="{03C86CAB-069D-8F02-BB85-8C9C139D53CA}"/>
              </a:ext>
            </a:extLst>
          </p:cNvPr>
          <p:cNvSpPr>
            <a:spLocks noGrp="1"/>
          </p:cNvSpPr>
          <p:nvPr>
            <p:ph type="body" idx="102"/>
          </p:nvPr>
        </p:nvSpPr>
        <p:spPr>
          <a:xfrm>
            <a:off x="2772000" y="1512000"/>
            <a:ext cx="2124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44" name="shadow 1.4">
            <a:extLst>
              <a:ext uri="{FF2B5EF4-FFF2-40B4-BE49-F238E27FC236}">
                <a16:creationId xmlns:a16="http://schemas.microsoft.com/office/drawing/2014/main" id="{7E9DD671-8F10-D106-D67D-CA8AF99842BD}"/>
              </a:ext>
            </a:extLst>
          </p:cNvPr>
          <p:cNvSpPr>
            <a:spLocks noGrp="1"/>
          </p:cNvSpPr>
          <p:nvPr>
            <p:ph type="body" idx="108" hasCustomPrompt="1"/>
          </p:nvPr>
        </p:nvSpPr>
        <p:spPr>
          <a:xfrm>
            <a:off x="540447" y="5265849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17" name="name 1.4">
            <a:extLst>
              <a:ext uri="{FF2B5EF4-FFF2-40B4-BE49-F238E27FC236}">
                <a16:creationId xmlns:a16="http://schemas.microsoft.com/office/drawing/2014/main" id="{9E9E9EC2-BA30-9AB1-AFF1-93F5D6BA0855}"/>
              </a:ext>
            </a:extLst>
          </p:cNvPr>
          <p:cNvSpPr>
            <a:spLocks noGrp="1"/>
          </p:cNvSpPr>
          <p:nvPr>
            <p:ph type="body" idx="67"/>
          </p:nvPr>
        </p:nvSpPr>
        <p:spPr>
          <a:xfrm>
            <a:off x="1512000" y="5265850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8" name="picture 1.4">
            <a:extLst>
              <a:ext uri="{FF2B5EF4-FFF2-40B4-BE49-F238E27FC236}">
                <a16:creationId xmlns:a16="http://schemas.microsoft.com/office/drawing/2014/main" id="{AF357C9E-17E6-0DCB-D7F6-EBD931CC7998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540000" y="5265850"/>
            <a:ext cx="918000" cy="918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21" name="shadow 1.3">
            <a:extLst>
              <a:ext uri="{FF2B5EF4-FFF2-40B4-BE49-F238E27FC236}">
                <a16:creationId xmlns:a16="http://schemas.microsoft.com/office/drawing/2014/main" id="{13C86E26-D84A-3504-0FC4-F8DCF5FFA8C2}"/>
              </a:ext>
            </a:extLst>
          </p:cNvPr>
          <p:cNvSpPr>
            <a:spLocks noGrp="1"/>
          </p:cNvSpPr>
          <p:nvPr>
            <p:ph type="body" idx="107" hasCustomPrompt="1"/>
          </p:nvPr>
        </p:nvSpPr>
        <p:spPr>
          <a:xfrm>
            <a:off x="540447" y="4174404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15" name="name 1.3">
            <a:extLst>
              <a:ext uri="{FF2B5EF4-FFF2-40B4-BE49-F238E27FC236}">
                <a16:creationId xmlns:a16="http://schemas.microsoft.com/office/drawing/2014/main" id="{7F38FBC5-0864-53B0-9391-154CABBEE515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1512000" y="4173612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6" name="picture 1.3">
            <a:extLst>
              <a:ext uri="{FF2B5EF4-FFF2-40B4-BE49-F238E27FC236}">
                <a16:creationId xmlns:a16="http://schemas.microsoft.com/office/drawing/2014/main" id="{B968DAAF-A177-4398-14E6-3C59B8EA245B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540000" y="4173612"/>
            <a:ext cx="918000" cy="918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14" name="shadow 1.2">
            <a:extLst>
              <a:ext uri="{FF2B5EF4-FFF2-40B4-BE49-F238E27FC236}">
                <a16:creationId xmlns:a16="http://schemas.microsoft.com/office/drawing/2014/main" id="{AA2B308B-4B3D-3E4D-61B5-910755F3C624}"/>
              </a:ext>
            </a:extLst>
          </p:cNvPr>
          <p:cNvSpPr>
            <a:spLocks noGrp="1"/>
          </p:cNvSpPr>
          <p:nvPr>
            <p:ph type="body" idx="106" hasCustomPrompt="1"/>
          </p:nvPr>
        </p:nvSpPr>
        <p:spPr>
          <a:xfrm>
            <a:off x="540447" y="3082960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</a:t>
            </a:r>
          </a:p>
        </p:txBody>
      </p:sp>
      <p:sp>
        <p:nvSpPr>
          <p:cNvPr id="3" name="name 1.2">
            <a:extLst>
              <a:ext uri="{FF2B5EF4-FFF2-40B4-BE49-F238E27FC236}">
                <a16:creationId xmlns:a16="http://schemas.microsoft.com/office/drawing/2014/main" id="{88CFACFA-87EF-95D0-8C72-D0985C9A2C9A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1512000" y="3081375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7" name="picture 1.2">
            <a:extLst>
              <a:ext uri="{FF2B5EF4-FFF2-40B4-BE49-F238E27FC236}">
                <a16:creationId xmlns:a16="http://schemas.microsoft.com/office/drawing/2014/main" id="{F170D24D-6D4B-CE20-8C48-B0E876550DE4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540000" y="3081375"/>
            <a:ext cx="918000" cy="918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9" name="shadow 1">
            <a:extLst>
              <a:ext uri="{FF2B5EF4-FFF2-40B4-BE49-F238E27FC236}">
                <a16:creationId xmlns:a16="http://schemas.microsoft.com/office/drawing/2014/main" id="{8D3EDF33-EFB3-30DA-BE7A-0CF9B03715EE}"/>
              </a:ext>
            </a:extLst>
          </p:cNvPr>
          <p:cNvSpPr>
            <a:spLocks noGrp="1"/>
          </p:cNvSpPr>
          <p:nvPr>
            <p:ph type="body" idx="48" hasCustomPrompt="1"/>
          </p:nvPr>
        </p:nvSpPr>
        <p:spPr>
          <a:xfrm>
            <a:off x="540447" y="1991516"/>
            <a:ext cx="2124000" cy="900001"/>
          </a:xfrm>
          <a:prstGeom prst="roundRect">
            <a:avLst>
              <a:gd name="adj" fmla="val 6435"/>
            </a:avLst>
          </a:prstGeom>
          <a:solidFill>
            <a:schemeClr val="bg1"/>
          </a:solidFill>
          <a:ln w="6350"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de-DE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 &lt;</a:t>
            </a:r>
          </a:p>
        </p:txBody>
      </p:sp>
      <p:sp>
        <p:nvSpPr>
          <p:cNvPr id="65" name="name 1">
            <a:extLst>
              <a:ext uri="{FF2B5EF4-FFF2-40B4-BE49-F238E27FC236}">
                <a16:creationId xmlns:a16="http://schemas.microsoft.com/office/drawing/2014/main" id="{A5E7A693-8355-9728-17E9-8AEBA527FE40}"/>
              </a:ext>
            </a:extLst>
          </p:cNvPr>
          <p:cNvSpPr>
            <a:spLocks noGrp="1"/>
          </p:cNvSpPr>
          <p:nvPr>
            <p:ph type="body" idx="62"/>
          </p:nvPr>
        </p:nvSpPr>
        <p:spPr>
          <a:xfrm>
            <a:off x="1512000" y="1989138"/>
            <a:ext cx="1188000" cy="900000"/>
          </a:xfrm>
        </p:spPr>
        <p:txBody>
          <a:bodyPr lIns="72000" tIns="108000" rIns="72000" anchor="t"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5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12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10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1" name="picture 1">
            <a:extLst>
              <a:ext uri="{FF2B5EF4-FFF2-40B4-BE49-F238E27FC236}">
                <a16:creationId xmlns:a16="http://schemas.microsoft.com/office/drawing/2014/main" id="{48BC97E5-F4FC-CFC7-7C93-504C59D7A2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0000" y="1989138"/>
            <a:ext cx="918000" cy="918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73" name="name 1">
            <a:extLst>
              <a:ext uri="{FF2B5EF4-FFF2-40B4-BE49-F238E27FC236}">
                <a16:creationId xmlns:a16="http://schemas.microsoft.com/office/drawing/2014/main" id="{DDF031AC-8E85-367D-65CB-E698D0871A97}"/>
              </a:ext>
            </a:extLst>
          </p:cNvPr>
          <p:cNvSpPr>
            <a:spLocks noGrp="1"/>
          </p:cNvSpPr>
          <p:nvPr>
            <p:ph type="body" idx="101"/>
          </p:nvPr>
        </p:nvSpPr>
        <p:spPr>
          <a:xfrm>
            <a:off x="540000" y="1512000"/>
            <a:ext cx="2124000" cy="360000"/>
          </a:xfrm>
        </p:spPr>
        <p:txBody>
          <a:bodyPr lIns="0" rIns="0" anchor="b" anchorCtr="0"/>
          <a:lstStyle>
            <a:lvl1pPr marL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spc="10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0833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50 : 3 contacts :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">
            <a:extLst>
              <a:ext uri="{FF2B5EF4-FFF2-40B4-BE49-F238E27FC236}">
                <a16:creationId xmlns:a16="http://schemas.microsoft.com/office/drawing/2014/main" id="{32D5FD21-24FD-155A-3ADD-74927C6B098A}"/>
              </a:ext>
            </a:extLst>
          </p:cNvPr>
          <p:cNvSpPr/>
          <p:nvPr/>
        </p:nvSpPr>
        <p:spPr>
          <a:xfrm>
            <a:off x="4581342" y="0"/>
            <a:ext cx="7611926" cy="6859269"/>
          </a:xfrm>
          <a:custGeom>
            <a:avLst/>
            <a:gdLst>
              <a:gd name="connsiteX0" fmla="*/ 2412547 w 7611926"/>
              <a:gd name="connsiteY0" fmla="*/ 2053590 h 6859269"/>
              <a:gd name="connsiteX1" fmla="*/ 268787 w 7611926"/>
              <a:gd name="connsiteY1" fmla="*/ 3267710 h 6859269"/>
              <a:gd name="connsiteX2" fmla="*/ 1217477 w 7611926"/>
              <a:gd name="connsiteY2" fmla="*/ 6369050 h 6859269"/>
              <a:gd name="connsiteX3" fmla="*/ 1354637 w 7611926"/>
              <a:gd name="connsiteY3" fmla="*/ 6436360 h 6859269"/>
              <a:gd name="connsiteX4" fmla="*/ 1909627 w 7611926"/>
              <a:gd name="connsiteY4" fmla="*/ 6859270 h 6859269"/>
              <a:gd name="connsiteX5" fmla="*/ 7611927 w 7611926"/>
              <a:gd name="connsiteY5" fmla="*/ 6859270 h 6859269"/>
              <a:gd name="connsiteX6" fmla="*/ 7611927 w 7611926"/>
              <a:gd name="connsiteY6" fmla="*/ 0 h 6859269"/>
              <a:gd name="connsiteX7" fmla="*/ 4783638 w 7611926"/>
              <a:gd name="connsiteY7" fmla="*/ 0 h 6859269"/>
              <a:gd name="connsiteX8" fmla="*/ 2412547 w 7611926"/>
              <a:gd name="connsiteY8" fmla="*/ 2053590 h 6859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11926" h="6859269">
                <a:moveTo>
                  <a:pt x="2412547" y="2053590"/>
                </a:moveTo>
                <a:cubicBezTo>
                  <a:pt x="1551487" y="2009140"/>
                  <a:pt x="700587" y="2454910"/>
                  <a:pt x="268787" y="3267710"/>
                </a:cubicBezTo>
                <a:cubicBezTo>
                  <a:pt x="-325573" y="4385310"/>
                  <a:pt x="98607" y="5774690"/>
                  <a:pt x="1217477" y="6369050"/>
                </a:cubicBezTo>
                <a:cubicBezTo>
                  <a:pt x="1263197" y="6393180"/>
                  <a:pt x="1308917" y="6416040"/>
                  <a:pt x="1354637" y="6436360"/>
                </a:cubicBezTo>
                <a:cubicBezTo>
                  <a:pt x="1642927" y="6565900"/>
                  <a:pt x="1821997" y="6703060"/>
                  <a:pt x="1909627" y="6859270"/>
                </a:cubicBezTo>
                <a:lnTo>
                  <a:pt x="7611927" y="6859270"/>
                </a:lnTo>
                <a:lnTo>
                  <a:pt x="7611927" y="0"/>
                </a:lnTo>
                <a:lnTo>
                  <a:pt x="4783638" y="0"/>
                </a:lnTo>
                <a:cubicBezTo>
                  <a:pt x="4831897" y="1214120"/>
                  <a:pt x="4177847" y="2118360"/>
                  <a:pt x="2412547" y="2053590"/>
                </a:cubicBez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255EC9-22C8-4873-6389-D880A370A1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6AC4CF78-E9FE-A7F7-A653-874905B45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A82CFE0-C725-9B9E-D77B-2B402604C5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subhead 3">
            <a:extLst>
              <a:ext uri="{FF2B5EF4-FFF2-40B4-BE49-F238E27FC236}">
                <a16:creationId xmlns:a16="http://schemas.microsoft.com/office/drawing/2014/main" id="{16A7ABF3-772E-DA5D-3046-8E8EF3007993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7797447" y="1800000"/>
            <a:ext cx="2592000" cy="4365850"/>
          </a:xfrm>
          <a:prstGeom prst="roundRect">
            <a:avLst>
              <a:gd name="adj" fmla="val 323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C7DC55CB-CFA1-50D0-A2C4-1735484D98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97447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endParaRPr lang="en-US"/>
          </a:p>
        </p:txBody>
      </p:sp>
      <p:sp>
        <p:nvSpPr>
          <p:cNvPr id="6" name="picture 3">
            <a:extLst>
              <a:ext uri="{FF2B5EF4-FFF2-40B4-BE49-F238E27FC236}">
                <a16:creationId xmlns:a16="http://schemas.microsoft.com/office/drawing/2014/main" id="{0BB6B5F7-CA67-AC6D-4997-F5301E77912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797447" y="1800000"/>
            <a:ext cx="2592000" cy="1800000"/>
          </a:xfrm>
          <a:prstGeom prst="round2SameRect">
            <a:avLst>
              <a:gd name="adj1" fmla="val 4627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7" name="subhead 2">
            <a:extLst>
              <a:ext uri="{FF2B5EF4-FFF2-40B4-BE49-F238E27FC236}">
                <a16:creationId xmlns:a16="http://schemas.microsoft.com/office/drawing/2014/main" id="{CB485AC5-DBD7-E662-51DF-DEC9784723AA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4796471" y="1800000"/>
            <a:ext cx="2592000" cy="4365850"/>
          </a:xfrm>
          <a:prstGeom prst="roundRect">
            <a:avLst>
              <a:gd name="adj" fmla="val 3537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9" name="text 2">
            <a:extLst>
              <a:ext uri="{FF2B5EF4-FFF2-40B4-BE49-F238E27FC236}">
                <a16:creationId xmlns:a16="http://schemas.microsoft.com/office/drawing/2014/main" id="{D98F8A56-7066-25D8-2F77-451B1ACD82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6471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endParaRPr lang="en-US"/>
          </a:p>
        </p:txBody>
      </p:sp>
      <p:sp>
        <p:nvSpPr>
          <p:cNvPr id="10" name="picture 2">
            <a:extLst>
              <a:ext uri="{FF2B5EF4-FFF2-40B4-BE49-F238E27FC236}">
                <a16:creationId xmlns:a16="http://schemas.microsoft.com/office/drawing/2014/main" id="{3715199D-377B-FA62-E7B3-702B7884ADB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96471" y="1800000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14" name="subhead 1">
            <a:extLst>
              <a:ext uri="{FF2B5EF4-FFF2-40B4-BE49-F238E27FC236}">
                <a16:creationId xmlns:a16="http://schemas.microsoft.com/office/drawing/2014/main" id="{F894E306-E42F-EE9D-4444-845C802D0A10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1800000" y="1800000"/>
            <a:ext cx="2592000" cy="4365850"/>
          </a:xfrm>
          <a:prstGeom prst="roundRect">
            <a:avLst>
              <a:gd name="adj" fmla="val 3077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B89ABEA-EA60-6815-5DE0-A3EB7DA83EA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800000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endParaRPr lang="en-US"/>
          </a:p>
        </p:txBody>
      </p:sp>
      <p:sp>
        <p:nvSpPr>
          <p:cNvPr id="16" name="picture 1">
            <a:extLst>
              <a:ext uri="{FF2B5EF4-FFF2-40B4-BE49-F238E27FC236}">
                <a16:creationId xmlns:a16="http://schemas.microsoft.com/office/drawing/2014/main" id="{D1D9653F-F591-FAC4-709D-38A621C2562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800000" y="1800000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endParaRPr lang="en-DE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F01231DD-94D3-CA6C-C315-67E844A25D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57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1 : 3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">
            <a:extLst>
              <a:ext uri="{FF2B5EF4-FFF2-40B4-BE49-F238E27FC236}">
                <a16:creationId xmlns:a16="http://schemas.microsoft.com/office/drawing/2014/main" id="{32D5FD21-24FD-155A-3ADD-74927C6B098A}"/>
              </a:ext>
            </a:extLst>
          </p:cNvPr>
          <p:cNvSpPr/>
          <p:nvPr/>
        </p:nvSpPr>
        <p:spPr>
          <a:xfrm>
            <a:off x="4581342" y="0"/>
            <a:ext cx="7611926" cy="6859269"/>
          </a:xfrm>
          <a:custGeom>
            <a:avLst/>
            <a:gdLst>
              <a:gd name="connsiteX0" fmla="*/ 2412547 w 7611926"/>
              <a:gd name="connsiteY0" fmla="*/ 2053590 h 6859269"/>
              <a:gd name="connsiteX1" fmla="*/ 268787 w 7611926"/>
              <a:gd name="connsiteY1" fmla="*/ 3267710 h 6859269"/>
              <a:gd name="connsiteX2" fmla="*/ 1217477 w 7611926"/>
              <a:gd name="connsiteY2" fmla="*/ 6369050 h 6859269"/>
              <a:gd name="connsiteX3" fmla="*/ 1354637 w 7611926"/>
              <a:gd name="connsiteY3" fmla="*/ 6436360 h 6859269"/>
              <a:gd name="connsiteX4" fmla="*/ 1909627 w 7611926"/>
              <a:gd name="connsiteY4" fmla="*/ 6859270 h 6859269"/>
              <a:gd name="connsiteX5" fmla="*/ 7611927 w 7611926"/>
              <a:gd name="connsiteY5" fmla="*/ 6859270 h 6859269"/>
              <a:gd name="connsiteX6" fmla="*/ 7611927 w 7611926"/>
              <a:gd name="connsiteY6" fmla="*/ 0 h 6859269"/>
              <a:gd name="connsiteX7" fmla="*/ 4783638 w 7611926"/>
              <a:gd name="connsiteY7" fmla="*/ 0 h 6859269"/>
              <a:gd name="connsiteX8" fmla="*/ 2412547 w 7611926"/>
              <a:gd name="connsiteY8" fmla="*/ 2053590 h 6859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11926" h="6859269">
                <a:moveTo>
                  <a:pt x="2412547" y="2053590"/>
                </a:moveTo>
                <a:cubicBezTo>
                  <a:pt x="1551487" y="2009140"/>
                  <a:pt x="700587" y="2454910"/>
                  <a:pt x="268787" y="3267710"/>
                </a:cubicBezTo>
                <a:cubicBezTo>
                  <a:pt x="-325573" y="4385310"/>
                  <a:pt x="98607" y="5774690"/>
                  <a:pt x="1217477" y="6369050"/>
                </a:cubicBezTo>
                <a:cubicBezTo>
                  <a:pt x="1263197" y="6393180"/>
                  <a:pt x="1308917" y="6416040"/>
                  <a:pt x="1354637" y="6436360"/>
                </a:cubicBezTo>
                <a:cubicBezTo>
                  <a:pt x="1642927" y="6565900"/>
                  <a:pt x="1821997" y="6703060"/>
                  <a:pt x="1909627" y="6859270"/>
                </a:cubicBezTo>
                <a:lnTo>
                  <a:pt x="7611927" y="6859270"/>
                </a:lnTo>
                <a:lnTo>
                  <a:pt x="7611927" y="0"/>
                </a:lnTo>
                <a:lnTo>
                  <a:pt x="4783638" y="0"/>
                </a:lnTo>
                <a:cubicBezTo>
                  <a:pt x="4831897" y="1214120"/>
                  <a:pt x="4177847" y="2118360"/>
                  <a:pt x="2412547" y="2053590"/>
                </a:cubicBez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255EC9-22C8-4873-6389-D880A370A1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6AC4CF78-E9FE-A7F7-A653-874905B45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A82CFE0-C725-9B9E-D77B-2B402604C5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93" name="content 3">
            <a:extLst>
              <a:ext uri="{FF2B5EF4-FFF2-40B4-BE49-F238E27FC236}">
                <a16:creationId xmlns:a16="http://schemas.microsoft.com/office/drawing/2014/main" id="{A621FD8A-0372-D7B0-7589-D502248B585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796825" y="1800000"/>
            <a:ext cx="2592000" cy="3600000"/>
          </a:xfrm>
          <a:prstGeom prst="roundRect">
            <a:avLst>
              <a:gd name="adj" fmla="val 2528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endParaRPr lang="de-DE"/>
          </a:p>
        </p:txBody>
      </p:sp>
      <p:sp>
        <p:nvSpPr>
          <p:cNvPr id="92" name="content 2">
            <a:extLst>
              <a:ext uri="{FF2B5EF4-FFF2-40B4-BE49-F238E27FC236}">
                <a16:creationId xmlns:a16="http://schemas.microsoft.com/office/drawing/2014/main" id="{0C79B4B6-AEFC-E24C-2B7C-4FE3BD9C9C77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4800073" y="1800000"/>
            <a:ext cx="2592000" cy="3600000"/>
          </a:xfrm>
          <a:prstGeom prst="roundRect">
            <a:avLst>
              <a:gd name="adj" fmla="val 2803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endParaRPr lang="de-DE"/>
          </a:p>
        </p:txBody>
      </p:sp>
      <p:sp>
        <p:nvSpPr>
          <p:cNvPr id="49" name="content 1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0" y="1800000"/>
            <a:ext cx="2592000" cy="3600000"/>
          </a:xfrm>
          <a:prstGeom prst="roundRect">
            <a:avLst>
              <a:gd name="adj" fmla="val 262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endParaRPr lang="de-DE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F01231DD-94D3-CA6C-C315-67E844A25D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558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1 : 4 textboxes left :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BBD0F61-C6BE-1EDD-E4BB-7009D5ED50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321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BBD0F61-C6BE-1EDD-E4BB-7009D5ED5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">
            <a:extLst>
              <a:ext uri="{FF2B5EF4-FFF2-40B4-BE49-F238E27FC236}">
                <a16:creationId xmlns:a16="http://schemas.microsoft.com/office/drawing/2014/main" id="{61C22490-789B-BFF9-B222-ED971D27A7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DBF89A56-A523-E8FD-12B8-C64B68EC9D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413D237B-B50A-AE37-8CA0-41A8F798B5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" name="picture right 11cm">
            <a:extLst>
              <a:ext uri="{FF2B5EF4-FFF2-40B4-BE49-F238E27FC236}">
                <a16:creationId xmlns:a16="http://schemas.microsoft.com/office/drawing/2014/main" id="{A5FFCE91-6216-65F0-E99E-12B1B5E936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12" name="oval">
            <a:extLst>
              <a:ext uri="{FF2B5EF4-FFF2-40B4-BE49-F238E27FC236}">
                <a16:creationId xmlns:a16="http://schemas.microsoft.com/office/drawing/2014/main" id="{9A44537D-B68D-942D-AA58-F0F816A94AE7}"/>
              </a:ext>
            </a:extLst>
          </p:cNvPr>
          <p:cNvSpPr/>
          <p:nvPr/>
        </p:nvSpPr>
        <p:spPr>
          <a:xfrm>
            <a:off x="7038000" y="1125538"/>
            <a:ext cx="900000" cy="900000"/>
          </a:xfrm>
          <a:prstGeom prst="ellipse">
            <a:avLst/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>
            <a:noFill/>
          </a:ln>
          <a:effectLst>
            <a:outerShdw blurRad="63500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>
              <a:solidFill>
                <a:schemeClr val="bg1"/>
              </a:solidFill>
            </a:endParaRPr>
          </a:p>
        </p:txBody>
      </p:sp>
      <p:sp>
        <p:nvSpPr>
          <p:cNvPr id="28" name="icon-placeholder">
            <a:extLst>
              <a:ext uri="{FF2B5EF4-FFF2-40B4-BE49-F238E27FC236}">
                <a16:creationId xmlns:a16="http://schemas.microsoft.com/office/drawing/2014/main" id="{7A046E54-CAF8-82C1-9111-5F55CCBA55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182000" y="1269538"/>
            <a:ext cx="612000" cy="612000"/>
          </a:xfrm>
          <a:prstGeom prst="ellipse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E318E77B-CFEA-5F69-2552-9B3EE92ACF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664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text 3">
            <a:extLst>
              <a:ext uri="{FF2B5EF4-FFF2-40B4-BE49-F238E27FC236}">
                <a16:creationId xmlns:a16="http://schemas.microsoft.com/office/drawing/2014/main" id="{759DB7E1-A1AC-4FE8-5983-602E59EB1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CAE3D3F0-664E-ABBC-3640-50F182DB9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664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292821D-E361-102A-F29E-3F6CA54EC1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00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A7461C7-A592-D8D9-0006-53F1781C6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6862" y="1493156"/>
            <a:ext cx="2880000" cy="3600000"/>
          </a:xfrm>
        </p:spPr>
        <p:txBody>
          <a:bodyPr vert="horz"/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tabLst>
                <a:tab pos="10760075" algn="r"/>
              </a:tabLst>
              <a:defRPr lang="en-US" sz="2400" b="1" i="0" kern="1200" spc="100" baseline="0" noProof="0" dirty="0">
                <a:solidFill>
                  <a:schemeClr val="bg2"/>
                </a:solidFill>
                <a:latin typeface="Segoe UI Semibold" panose="020B0502040204020203" pitchFamily="34" charset="0"/>
                <a:ea typeface="Segoe UI Black" panose="020B0A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2C29F309-EA97-F8D7-B9E5-7F0D7433E6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61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44861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1 : 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">
            <a:extLst>
              <a:ext uri="{FF2B5EF4-FFF2-40B4-BE49-F238E27FC236}">
                <a16:creationId xmlns:a16="http://schemas.microsoft.com/office/drawing/2014/main" id="{0F2B0FAA-1F90-878F-C224-5C996030162A}"/>
              </a:ext>
            </a:extLst>
          </p:cNvPr>
          <p:cNvSpPr/>
          <p:nvPr userDrawn="1"/>
        </p:nvSpPr>
        <p:spPr>
          <a:xfrm>
            <a:off x="4581342" y="0"/>
            <a:ext cx="7611926" cy="6859269"/>
          </a:xfrm>
          <a:custGeom>
            <a:avLst/>
            <a:gdLst>
              <a:gd name="connsiteX0" fmla="*/ 2412547 w 7611926"/>
              <a:gd name="connsiteY0" fmla="*/ 2053590 h 6859269"/>
              <a:gd name="connsiteX1" fmla="*/ 268787 w 7611926"/>
              <a:gd name="connsiteY1" fmla="*/ 3267710 h 6859269"/>
              <a:gd name="connsiteX2" fmla="*/ 1217477 w 7611926"/>
              <a:gd name="connsiteY2" fmla="*/ 6369050 h 6859269"/>
              <a:gd name="connsiteX3" fmla="*/ 1354637 w 7611926"/>
              <a:gd name="connsiteY3" fmla="*/ 6436360 h 6859269"/>
              <a:gd name="connsiteX4" fmla="*/ 1909627 w 7611926"/>
              <a:gd name="connsiteY4" fmla="*/ 6859270 h 6859269"/>
              <a:gd name="connsiteX5" fmla="*/ 7611927 w 7611926"/>
              <a:gd name="connsiteY5" fmla="*/ 6859270 h 6859269"/>
              <a:gd name="connsiteX6" fmla="*/ 7611927 w 7611926"/>
              <a:gd name="connsiteY6" fmla="*/ 0 h 6859269"/>
              <a:gd name="connsiteX7" fmla="*/ 4783638 w 7611926"/>
              <a:gd name="connsiteY7" fmla="*/ 0 h 6859269"/>
              <a:gd name="connsiteX8" fmla="*/ 2412547 w 7611926"/>
              <a:gd name="connsiteY8" fmla="*/ 2053590 h 6859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11926" h="6859269">
                <a:moveTo>
                  <a:pt x="2412547" y="2053590"/>
                </a:moveTo>
                <a:cubicBezTo>
                  <a:pt x="1551487" y="2009140"/>
                  <a:pt x="700587" y="2454910"/>
                  <a:pt x="268787" y="3267710"/>
                </a:cubicBezTo>
                <a:cubicBezTo>
                  <a:pt x="-325573" y="4385310"/>
                  <a:pt x="98607" y="5774690"/>
                  <a:pt x="1217477" y="6369050"/>
                </a:cubicBezTo>
                <a:cubicBezTo>
                  <a:pt x="1263197" y="6393180"/>
                  <a:pt x="1308917" y="6416040"/>
                  <a:pt x="1354637" y="6436360"/>
                </a:cubicBezTo>
                <a:cubicBezTo>
                  <a:pt x="1642927" y="6565900"/>
                  <a:pt x="1821997" y="6703060"/>
                  <a:pt x="1909627" y="6859270"/>
                </a:cubicBezTo>
                <a:lnTo>
                  <a:pt x="7611927" y="6859270"/>
                </a:lnTo>
                <a:lnTo>
                  <a:pt x="7611927" y="0"/>
                </a:lnTo>
                <a:lnTo>
                  <a:pt x="4783638" y="0"/>
                </a:lnTo>
                <a:cubicBezTo>
                  <a:pt x="4831897" y="1214120"/>
                  <a:pt x="4177847" y="2118360"/>
                  <a:pt x="2412547" y="2053590"/>
                </a:cubicBez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C04783-6A3A-7B84-7DFE-6D7F132B8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DF73FA19-E532-6866-AFF8-B3DB8E3F8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84F89B70-19D6-ED74-B150-8BF636A09B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" name="content 4">
            <a:extLst>
              <a:ext uri="{FF2B5EF4-FFF2-40B4-BE49-F238E27FC236}">
                <a16:creationId xmlns:a16="http://schemas.microsoft.com/office/drawing/2014/main" id="{37D92A0D-BC40-1DE6-AAC7-B24DC5DBD76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837142" y="1800000"/>
            <a:ext cx="2160000" cy="4102194"/>
          </a:xfrm>
          <a:prstGeom prst="roundRect">
            <a:avLst>
              <a:gd name="adj" fmla="val 2528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16000" tIns="396000" rIns="216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3">
            <a:extLst>
              <a:ext uri="{FF2B5EF4-FFF2-40B4-BE49-F238E27FC236}">
                <a16:creationId xmlns:a16="http://schemas.microsoft.com/office/drawing/2014/main" id="{31561AB9-AA76-A272-34C9-BD04088525F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287997" y="1800000"/>
            <a:ext cx="2160000" cy="4102194"/>
          </a:xfrm>
          <a:prstGeom prst="roundRect">
            <a:avLst>
              <a:gd name="adj" fmla="val 2803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16000" tIns="396000" rIns="216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2">
            <a:extLst>
              <a:ext uri="{FF2B5EF4-FFF2-40B4-BE49-F238E27FC236}">
                <a16:creationId xmlns:a16="http://schemas.microsoft.com/office/drawing/2014/main" id="{D51B554E-4422-0741-9FCD-C8C36F5FDF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38851" y="1800000"/>
            <a:ext cx="2160000" cy="4102194"/>
          </a:xfrm>
          <a:prstGeom prst="roundRect">
            <a:avLst>
              <a:gd name="adj" fmla="val 262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16000" tIns="396000" rIns="216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1">
            <a:extLst>
              <a:ext uri="{FF2B5EF4-FFF2-40B4-BE49-F238E27FC236}">
                <a16:creationId xmlns:a16="http://schemas.microsoft.com/office/drawing/2014/main" id="{35413B2B-04BF-8FB5-7DE3-BDA7E84DA6A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189705" y="1800000"/>
            <a:ext cx="2160000" cy="4102194"/>
          </a:xfrm>
          <a:prstGeom prst="roundRect">
            <a:avLst>
              <a:gd name="adj" fmla="val 262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16000" tIns="396000" rIns="216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3" name="navigation">
            <a:extLst>
              <a:ext uri="{FF2B5EF4-FFF2-40B4-BE49-F238E27FC236}">
                <a16:creationId xmlns:a16="http://schemas.microsoft.com/office/drawing/2014/main" id="{FC2E142D-7612-701D-37F0-CDEF803D6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164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9518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2 : endpage :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">
            <a:extLst>
              <a:ext uri="{FF2B5EF4-FFF2-40B4-BE49-F238E27FC236}">
                <a16:creationId xmlns:a16="http://schemas.microsoft.com/office/drawing/2014/main" id="{1A6CF203-18B4-1496-271C-29A7721D6A2C}"/>
              </a:ext>
            </a:extLst>
          </p:cNvPr>
          <p:cNvSpPr/>
          <p:nvPr/>
        </p:nvSpPr>
        <p:spPr>
          <a:xfrm>
            <a:off x="3798950" y="0"/>
            <a:ext cx="8393049" cy="6858000"/>
          </a:xfrm>
          <a:custGeom>
            <a:avLst/>
            <a:gdLst>
              <a:gd name="connsiteX0" fmla="*/ 8393049 w 8393049"/>
              <a:gd name="connsiteY0" fmla="*/ 0 h 6858000"/>
              <a:gd name="connsiteX1" fmla="*/ 31369 w 8393049"/>
              <a:gd name="connsiteY1" fmla="*/ 0 h 6858000"/>
              <a:gd name="connsiteX2" fmla="*/ 88519 w 8393049"/>
              <a:gd name="connsiteY2" fmla="*/ 1135380 h 6858000"/>
              <a:gd name="connsiteX3" fmla="*/ 3645790 w 8393049"/>
              <a:gd name="connsiteY3" fmla="*/ 3272790 h 6858000"/>
              <a:gd name="connsiteX4" fmla="*/ 3702940 w 8393049"/>
              <a:gd name="connsiteY4" fmla="*/ 3257550 h 6858000"/>
              <a:gd name="connsiteX5" fmla="*/ 3702940 w 8393049"/>
              <a:gd name="connsiteY5" fmla="*/ 3257550 h 6858000"/>
              <a:gd name="connsiteX6" fmla="*/ 5418709 w 8393049"/>
              <a:gd name="connsiteY6" fmla="*/ 4372610 h 6858000"/>
              <a:gd name="connsiteX7" fmla="*/ 5418709 w 8393049"/>
              <a:gd name="connsiteY7" fmla="*/ 4372610 h 6858000"/>
              <a:gd name="connsiteX8" fmla="*/ 7896480 w 8393049"/>
              <a:gd name="connsiteY8" fmla="*/ 6858000 h 6858000"/>
              <a:gd name="connsiteX9" fmla="*/ 8393049 w 8393049"/>
              <a:gd name="connsiteY9" fmla="*/ 6858000 h 6858000"/>
              <a:gd name="connsiteX10" fmla="*/ 8393049 w 8393049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93049" h="6858000">
                <a:moveTo>
                  <a:pt x="8393049" y="0"/>
                </a:moveTo>
                <a:lnTo>
                  <a:pt x="31369" y="0"/>
                </a:lnTo>
                <a:cubicBezTo>
                  <a:pt x="-23241" y="368300"/>
                  <a:pt x="-8001" y="751840"/>
                  <a:pt x="88519" y="1135380"/>
                </a:cubicBezTo>
                <a:cubicBezTo>
                  <a:pt x="480949" y="2707640"/>
                  <a:pt x="2073529" y="3665220"/>
                  <a:pt x="3645790" y="3272790"/>
                </a:cubicBezTo>
                <a:cubicBezTo>
                  <a:pt x="3664840" y="3267710"/>
                  <a:pt x="3683890" y="3262630"/>
                  <a:pt x="3702940" y="3257550"/>
                </a:cubicBezTo>
                <a:lnTo>
                  <a:pt x="3702940" y="3257550"/>
                </a:lnTo>
                <a:cubicBezTo>
                  <a:pt x="4536059" y="3031490"/>
                  <a:pt x="5032630" y="3253740"/>
                  <a:pt x="5418709" y="4372610"/>
                </a:cubicBezTo>
                <a:lnTo>
                  <a:pt x="5418709" y="4372610"/>
                </a:lnTo>
                <a:cubicBezTo>
                  <a:pt x="5830190" y="5568950"/>
                  <a:pt x="6764909" y="6463030"/>
                  <a:pt x="7896480" y="6858000"/>
                </a:cubicBezTo>
                <a:lnTo>
                  <a:pt x="8393049" y="6858000"/>
                </a:lnTo>
                <a:lnTo>
                  <a:pt x="8393049" y="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3C52852-2C21-5071-9792-38CB9A92B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">
            <a:extLst>
              <a:ext uri="{FF2B5EF4-FFF2-40B4-BE49-F238E27FC236}">
                <a16:creationId xmlns:a16="http://schemas.microsoft.com/office/drawing/2014/main" id="{8C03519E-0BC7-B695-C2CA-A1A0D4EC3A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F5A97147-F148-0CF2-2404-107B345FD5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" name="content 3">
            <a:extLst>
              <a:ext uri="{FF2B5EF4-FFF2-40B4-BE49-F238E27FC236}">
                <a16:creationId xmlns:a16="http://schemas.microsoft.com/office/drawing/2014/main" id="{18752286-8B19-A943-85AE-D8EA1849943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91943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de-DE"/>
          </a:p>
        </p:txBody>
      </p:sp>
      <p:sp>
        <p:nvSpPr>
          <p:cNvPr id="7" name="content 2">
            <a:extLst>
              <a:ext uri="{FF2B5EF4-FFF2-40B4-BE49-F238E27FC236}">
                <a16:creationId xmlns:a16="http://schemas.microsoft.com/office/drawing/2014/main" id="{EF9134AD-568F-4F44-0401-0B190068466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729715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de-DE"/>
          </a:p>
        </p:txBody>
      </p:sp>
      <p:sp>
        <p:nvSpPr>
          <p:cNvPr id="9" name="content 1">
            <a:extLst>
              <a:ext uri="{FF2B5EF4-FFF2-40B4-BE49-F238E27FC236}">
                <a16:creationId xmlns:a16="http://schemas.microsoft.com/office/drawing/2014/main" id="{9BE9AB25-3402-897C-7102-5B25952D6A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de-DE"/>
          </a:p>
        </p:txBody>
      </p:sp>
      <p:sp>
        <p:nvSpPr>
          <p:cNvPr id="57" name="title">
            <a:extLst>
              <a:ext uri="{FF2B5EF4-FFF2-40B4-BE49-F238E27FC236}">
                <a16:creationId xmlns:a16="http://schemas.microsoft.com/office/drawing/2014/main" id="{2B2872E1-DDB4-35E2-92B5-17EB99D5218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40000" y="612000"/>
            <a:ext cx="9264442" cy="2520000"/>
          </a:xfrm>
        </p:spPr>
        <p:txBody>
          <a:bodyPr anchor="b"/>
          <a:lstStyle>
            <a:lvl1pPr marL="0" indent="0">
              <a:lnSpc>
                <a:spcPts val="6200"/>
              </a:lnSpc>
              <a:buNone/>
              <a:defRPr sz="60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7644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53 : chart :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EA4E6AC3-01D5-9C31-52D4-0BB693B8D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9459A81C-BC10-1FFD-D1F6-FB6EC1B07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2495416B-3F05-B437-A185-4B84C57A4D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9" name="source">
            <a:extLst>
              <a:ext uri="{FF2B5EF4-FFF2-40B4-BE49-F238E27FC236}">
                <a16:creationId xmlns:a16="http://schemas.microsoft.com/office/drawing/2014/main" id="{380974C9-7D7B-8C1A-9F87-EA6BDB8230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11088000" cy="360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2" name="chart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40000" y="1980000"/>
            <a:ext cx="11088000" cy="3780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ubhead">
            <a:extLst>
              <a:ext uri="{FF2B5EF4-FFF2-40B4-BE49-F238E27FC236}">
                <a16:creationId xmlns:a16="http://schemas.microsoft.com/office/drawing/2014/main" id="{7D5BF9EC-E9BE-BF48-E481-75AD0C1CD72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11088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15" name="navigation">
            <a:extLst>
              <a:ext uri="{FF2B5EF4-FFF2-40B4-BE49-F238E27FC236}">
                <a16:creationId xmlns:a16="http://schemas.microsoft.com/office/drawing/2014/main" id="{B89C8B69-FE7C-0370-BE07-83CA8297B2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87387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54 : chart : source : text right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EA4E6AC3-01D5-9C31-52D4-0BB693B8D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9459A81C-BC10-1FFD-D1F6-FB6EC1B07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2495416B-3F05-B437-A185-4B84C57A4D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9" name="source">
            <a:extLst>
              <a:ext uri="{FF2B5EF4-FFF2-40B4-BE49-F238E27FC236}">
                <a16:creationId xmlns:a16="http://schemas.microsoft.com/office/drawing/2014/main" id="{D90B879A-93CD-B442-149F-7B0388FD51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7920000" cy="360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subhead right">
            <a:extLst>
              <a:ext uri="{FF2B5EF4-FFF2-40B4-BE49-F238E27FC236}">
                <a16:creationId xmlns:a16="http://schemas.microsoft.com/office/drawing/2014/main" id="{84CE48BC-4FA2-332D-3105-E3074773CB0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761138" y="1476374"/>
            <a:ext cx="2880000" cy="4680000"/>
          </a:xfrm>
          <a:prstGeom prst="roundRect">
            <a:avLst>
              <a:gd name="adj" fmla="val 160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endParaRPr lang="nl-NL" noProof="0"/>
          </a:p>
        </p:txBody>
      </p:sp>
      <p:sp>
        <p:nvSpPr>
          <p:cNvPr id="2" name="chart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7920000" cy="3780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ubhead">
            <a:extLst>
              <a:ext uri="{FF2B5EF4-FFF2-40B4-BE49-F238E27FC236}">
                <a16:creationId xmlns:a16="http://schemas.microsoft.com/office/drawing/2014/main" id="{5A5BAEAC-8E7A-8141-E458-2176ADC3AC6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79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15" name="navigation">
            <a:extLst>
              <a:ext uri="{FF2B5EF4-FFF2-40B4-BE49-F238E27FC236}">
                <a16:creationId xmlns:a16="http://schemas.microsoft.com/office/drawing/2014/main" id="{EC2A70C0-2E7F-245C-49B6-08A1353177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614719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55 : 2 contents : 2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BC8BA2C0-FF86-7160-B605-4AFD8142A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68B1DC0-E2F4-964B-BEBC-F781A34B4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0BFB18-B358-A527-A325-CBA53A65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4" name="source 2">
            <a:extLst>
              <a:ext uri="{FF2B5EF4-FFF2-40B4-BE49-F238E27FC236}">
                <a16:creationId xmlns:a16="http://schemas.microsoft.com/office/drawing/2014/main" id="{6218AEF4-928C-FA23-F100-1F1CFF88F156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6419111" y="5832000"/>
            <a:ext cx="5219750" cy="360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980000"/>
            <a:ext cx="5219751" cy="37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6" name="subhead 2">
            <a:extLst>
              <a:ext uri="{FF2B5EF4-FFF2-40B4-BE49-F238E27FC236}">
                <a16:creationId xmlns:a16="http://schemas.microsoft.com/office/drawing/2014/main" id="{6B8C3375-A80B-8796-0867-330B7711A119}"/>
              </a:ext>
            </a:extLst>
          </p:cNvPr>
          <p:cNvSpPr>
            <a:spLocks noGrp="1"/>
          </p:cNvSpPr>
          <p:nvPr>
            <p:ph sz="quarter" idx="44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9" name="source 1">
            <a:extLst>
              <a:ext uri="{FF2B5EF4-FFF2-40B4-BE49-F238E27FC236}">
                <a16:creationId xmlns:a16="http://schemas.microsoft.com/office/drawing/2014/main" id="{24DD49C3-D958-C385-9D8F-840036F3D6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5219750" cy="360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980000"/>
            <a:ext cx="5219750" cy="37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en-US"/>
          </a:p>
        </p:txBody>
      </p:sp>
      <p:sp>
        <p:nvSpPr>
          <p:cNvPr id="8" name="subhead 1">
            <a:extLst>
              <a:ext uri="{FF2B5EF4-FFF2-40B4-BE49-F238E27FC236}">
                <a16:creationId xmlns:a16="http://schemas.microsoft.com/office/drawing/2014/main" id="{6F1344B3-4025-1B1E-863A-CBC337D97961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18" name="navigation">
            <a:extLst>
              <a:ext uri="{FF2B5EF4-FFF2-40B4-BE49-F238E27FC236}">
                <a16:creationId xmlns:a16="http://schemas.microsoft.com/office/drawing/2014/main" id="{01CF80BC-1755-4FA7-D69B-3E34BC02FE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72152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56 : 2 charts : text below :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EA4E6AC3-01D5-9C31-52D4-0BB693B8D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mtClean="0"/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9459A81C-BC10-1FFD-D1F6-FB6EC1B07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2495416B-3F05-B437-A185-4B84C57A4D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9" name="text 2">
            <a:extLst>
              <a:ext uri="{FF2B5EF4-FFF2-40B4-BE49-F238E27FC236}">
                <a16:creationId xmlns:a16="http://schemas.microsoft.com/office/drawing/2014/main" id="{BFE489C3-AC5B-233B-CB06-68EA68FC554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21138" y="4689474"/>
            <a:ext cx="5220000" cy="1476375"/>
          </a:xfrm>
        </p:spPr>
        <p:txBody>
          <a:bodyPr tIns="72000" rIns="1080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lang="en-US" sz="1200" b="0" kern="1200" spc="40" baseline="0" noProof="0" dirty="0">
                <a:solidFill>
                  <a:schemeClr val="accent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endParaRPr lang="en-US"/>
          </a:p>
        </p:txBody>
      </p:sp>
      <p:sp>
        <p:nvSpPr>
          <p:cNvPr id="19" name="source 2">
            <a:extLst>
              <a:ext uri="{FF2B5EF4-FFF2-40B4-BE49-F238E27FC236}">
                <a16:creationId xmlns:a16="http://schemas.microsoft.com/office/drawing/2014/main" id="{813089E7-5D4D-1E86-F19A-DC41DB5AF29F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6422400" y="4140000"/>
            <a:ext cx="5219750" cy="360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8" name="chart 2">
            <a:extLst>
              <a:ext uri="{FF2B5EF4-FFF2-40B4-BE49-F238E27FC236}">
                <a16:creationId xmlns:a16="http://schemas.microsoft.com/office/drawing/2014/main" id="{5D00C4C4-21BC-E403-5F96-529ED4036FC3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6421138" y="1980000"/>
            <a:ext cx="5220000" cy="21600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ubhead 2">
            <a:extLst>
              <a:ext uri="{FF2B5EF4-FFF2-40B4-BE49-F238E27FC236}">
                <a16:creationId xmlns:a16="http://schemas.microsoft.com/office/drawing/2014/main" id="{85D3ED2D-4755-DD06-09E1-CE34CC1DA03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4A00C997-8DE1-F0F4-0296-F785F76AD2A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39750" y="4689474"/>
            <a:ext cx="5220000" cy="1476375"/>
          </a:xfrm>
        </p:spPr>
        <p:txBody>
          <a:bodyPr tIns="72000" rIns="1080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lang="en-US" sz="1200" b="0" kern="1200" spc="40" baseline="0" noProof="0" dirty="0">
                <a:solidFill>
                  <a:schemeClr val="accent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endParaRPr lang="en-US"/>
          </a:p>
        </p:txBody>
      </p:sp>
      <p:sp>
        <p:nvSpPr>
          <p:cNvPr id="20" name="source 1">
            <a:extLst>
              <a:ext uri="{FF2B5EF4-FFF2-40B4-BE49-F238E27FC236}">
                <a16:creationId xmlns:a16="http://schemas.microsoft.com/office/drawing/2014/main" id="{240FDEE6-F24F-97E6-15E0-2607CAC4D1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4140000"/>
            <a:ext cx="5219750" cy="360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2" name="chart 1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5220000" cy="2160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subhead 1">
            <a:extLst>
              <a:ext uri="{FF2B5EF4-FFF2-40B4-BE49-F238E27FC236}">
                <a16:creationId xmlns:a16="http://schemas.microsoft.com/office/drawing/2014/main" id="{702E14B4-211B-5CF7-2EAB-5D8A05F1FD3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1" name="navigation">
            <a:extLst>
              <a:ext uri="{FF2B5EF4-FFF2-40B4-BE49-F238E27FC236}">
                <a16:creationId xmlns:a16="http://schemas.microsoft.com/office/drawing/2014/main" id="{63D24D60-35C8-BF24-F2FD-66B841684A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786078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57 : 3 charts : 3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EA4E6AC3-01D5-9C31-52D4-0BB693B8D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mtClean="0"/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9459A81C-BC10-1FFD-D1F6-FB6EC1B07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2495416B-3F05-B437-A185-4B84C57A4D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8" name="source 3">
            <a:extLst>
              <a:ext uri="{FF2B5EF4-FFF2-40B4-BE49-F238E27FC236}">
                <a16:creationId xmlns:a16="http://schemas.microsoft.com/office/drawing/2014/main" id="{A9B86154-9F01-E6BD-1946-3E625BE2DAB6}"/>
              </a:ext>
            </a:extLst>
          </p:cNvPr>
          <p:cNvSpPr>
            <a:spLocks noGrp="1"/>
          </p:cNvSpPr>
          <p:nvPr>
            <p:ph type="body" idx="52" hasCustomPrompt="1"/>
          </p:nvPr>
        </p:nvSpPr>
        <p:spPr>
          <a:xfrm>
            <a:off x="8207250" y="5832000"/>
            <a:ext cx="3420000" cy="360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3" name="chart 3">
            <a:extLst>
              <a:ext uri="{FF2B5EF4-FFF2-40B4-BE49-F238E27FC236}">
                <a16:creationId xmlns:a16="http://schemas.microsoft.com/office/drawing/2014/main" id="{E6E1982C-F4E0-463E-837B-F95FDE60CD91}"/>
              </a:ext>
            </a:extLst>
          </p:cNvPr>
          <p:cNvSpPr>
            <a:spLocks noGrp="1"/>
          </p:cNvSpPr>
          <p:nvPr>
            <p:ph type="chart" sz="quarter" idx="45"/>
          </p:nvPr>
        </p:nvSpPr>
        <p:spPr>
          <a:xfrm>
            <a:off x="8207250" y="1980000"/>
            <a:ext cx="3420000" cy="37800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ubhead 3">
            <a:extLst>
              <a:ext uri="{FF2B5EF4-FFF2-40B4-BE49-F238E27FC236}">
                <a16:creationId xmlns:a16="http://schemas.microsoft.com/office/drawing/2014/main" id="{5FD95769-7D9A-22A3-E703-721E42B6905A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8207500" y="1440000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6" name="source 2">
            <a:extLst>
              <a:ext uri="{FF2B5EF4-FFF2-40B4-BE49-F238E27FC236}">
                <a16:creationId xmlns:a16="http://schemas.microsoft.com/office/drawing/2014/main" id="{B02BB6D9-F0E4-A19C-EEC8-C7935E088A51}"/>
              </a:ext>
            </a:extLst>
          </p:cNvPr>
          <p:cNvSpPr>
            <a:spLocks noGrp="1"/>
          </p:cNvSpPr>
          <p:nvPr>
            <p:ph type="body" idx="51" hasCustomPrompt="1"/>
          </p:nvPr>
        </p:nvSpPr>
        <p:spPr>
          <a:xfrm>
            <a:off x="4373625" y="5832000"/>
            <a:ext cx="3420000" cy="360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2" name="chart 2">
            <a:extLst>
              <a:ext uri="{FF2B5EF4-FFF2-40B4-BE49-F238E27FC236}">
                <a16:creationId xmlns:a16="http://schemas.microsoft.com/office/drawing/2014/main" id="{E2856504-6871-5A34-BC9D-4FDE561DEFEE}"/>
              </a:ext>
            </a:extLst>
          </p:cNvPr>
          <p:cNvSpPr>
            <a:spLocks noGrp="1"/>
          </p:cNvSpPr>
          <p:nvPr>
            <p:ph type="chart" sz="quarter" idx="44"/>
          </p:nvPr>
        </p:nvSpPr>
        <p:spPr>
          <a:xfrm>
            <a:off x="4373625" y="1980000"/>
            <a:ext cx="3420000" cy="3780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ubhead 2">
            <a:extLst>
              <a:ext uri="{FF2B5EF4-FFF2-40B4-BE49-F238E27FC236}">
                <a16:creationId xmlns:a16="http://schemas.microsoft.com/office/drawing/2014/main" id="{44185BE8-DF02-ADC4-2C3F-598824C24D1F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4373875" y="1475999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5" name="source 1">
            <a:extLst>
              <a:ext uri="{FF2B5EF4-FFF2-40B4-BE49-F238E27FC236}">
                <a16:creationId xmlns:a16="http://schemas.microsoft.com/office/drawing/2014/main" id="{D1FB2FF4-7228-F8D7-82F5-76A79CC0726B}"/>
              </a:ext>
            </a:extLst>
          </p:cNvPr>
          <p:cNvSpPr>
            <a:spLocks noGrp="1"/>
          </p:cNvSpPr>
          <p:nvPr>
            <p:ph type="body" idx="50" hasCustomPrompt="1"/>
          </p:nvPr>
        </p:nvSpPr>
        <p:spPr>
          <a:xfrm>
            <a:off x="540000" y="5832000"/>
            <a:ext cx="3420000" cy="360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2" name="chart 1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3420000" cy="3780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ubhead 1">
            <a:extLst>
              <a:ext uri="{FF2B5EF4-FFF2-40B4-BE49-F238E27FC236}">
                <a16:creationId xmlns:a16="http://schemas.microsoft.com/office/drawing/2014/main" id="{7FD3290A-7031-7770-9646-817B4C73918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0" name="navigation">
            <a:extLst>
              <a:ext uri="{FF2B5EF4-FFF2-40B4-BE49-F238E27FC236}">
                <a16:creationId xmlns:a16="http://schemas.microsoft.com/office/drawing/2014/main" id="{D358B47D-DE28-8C86-57AC-9AE9791D52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673789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58 : 4 charts : 4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EA4E6AC3-01D5-9C31-52D4-0BB693B8D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mtClean="0"/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9459A81C-BC10-1FFD-D1F6-FB6EC1B07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2495416B-3F05-B437-A185-4B84C57A4D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1" name="source 4">
            <a:extLst>
              <a:ext uri="{FF2B5EF4-FFF2-40B4-BE49-F238E27FC236}">
                <a16:creationId xmlns:a16="http://schemas.microsoft.com/office/drawing/2014/main" id="{8074E840-B84A-2781-C141-E8D84BB91E4B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421138" y="5832000"/>
            <a:ext cx="5219750" cy="360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6" name="chart 4">
            <a:extLst>
              <a:ext uri="{FF2B5EF4-FFF2-40B4-BE49-F238E27FC236}">
                <a16:creationId xmlns:a16="http://schemas.microsoft.com/office/drawing/2014/main" id="{48A1718F-E6A1-2D1D-F320-0C14AC215E7A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6421138" y="4472764"/>
            <a:ext cx="5220000" cy="12960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subhead 4">
            <a:extLst>
              <a:ext uri="{FF2B5EF4-FFF2-40B4-BE49-F238E27FC236}">
                <a16:creationId xmlns:a16="http://schemas.microsoft.com/office/drawing/2014/main" id="{E45627C3-1ABD-0953-C61A-51AA4E2122C1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6419111" y="3960000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36" name="source 3">
            <a:extLst>
              <a:ext uri="{FF2B5EF4-FFF2-40B4-BE49-F238E27FC236}">
                <a16:creationId xmlns:a16="http://schemas.microsoft.com/office/drawing/2014/main" id="{6FD5BD2B-F446-5098-A6B3-1B0DF2978EE1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40000" y="5832000"/>
            <a:ext cx="5219750" cy="360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8" name="chart 3">
            <a:extLst>
              <a:ext uri="{FF2B5EF4-FFF2-40B4-BE49-F238E27FC236}">
                <a16:creationId xmlns:a16="http://schemas.microsoft.com/office/drawing/2014/main" id="{41B73787-9571-1692-E61E-A393F7C9A595}"/>
              </a:ext>
            </a:extLst>
          </p:cNvPr>
          <p:cNvSpPr>
            <a:spLocks noGrp="1"/>
          </p:cNvSpPr>
          <p:nvPr>
            <p:ph type="chart" sz="quarter" idx="47"/>
          </p:nvPr>
        </p:nvSpPr>
        <p:spPr>
          <a:xfrm>
            <a:off x="539750" y="4472764"/>
            <a:ext cx="5220000" cy="12960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subhead 3">
            <a:extLst>
              <a:ext uri="{FF2B5EF4-FFF2-40B4-BE49-F238E27FC236}">
                <a16:creationId xmlns:a16="http://schemas.microsoft.com/office/drawing/2014/main" id="{F80DDD01-36FB-F470-E150-873B903A3323}"/>
              </a:ext>
            </a:extLst>
          </p:cNvPr>
          <p:cNvSpPr>
            <a:spLocks noGrp="1"/>
          </p:cNvSpPr>
          <p:nvPr>
            <p:ph sz="quarter" idx="49"/>
          </p:nvPr>
        </p:nvSpPr>
        <p:spPr>
          <a:xfrm>
            <a:off x="540000" y="3960000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4" name="source 2">
            <a:extLst>
              <a:ext uri="{FF2B5EF4-FFF2-40B4-BE49-F238E27FC236}">
                <a16:creationId xmlns:a16="http://schemas.microsoft.com/office/drawing/2014/main" id="{68E37CDA-3260-4E68-05BF-C9019DA6301A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6421138" y="3348000"/>
            <a:ext cx="5219750" cy="360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8" name="chart 2">
            <a:extLst>
              <a:ext uri="{FF2B5EF4-FFF2-40B4-BE49-F238E27FC236}">
                <a16:creationId xmlns:a16="http://schemas.microsoft.com/office/drawing/2014/main" id="{5D00C4C4-21BC-E403-5F96-529ED4036FC3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6421138" y="1980000"/>
            <a:ext cx="5220000" cy="1296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ubhead 2">
            <a:extLst>
              <a:ext uri="{FF2B5EF4-FFF2-40B4-BE49-F238E27FC236}">
                <a16:creationId xmlns:a16="http://schemas.microsoft.com/office/drawing/2014/main" id="{858F21A3-1754-7E4B-BF80-EAFA3BAD0A9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5" name="source 1">
            <a:extLst>
              <a:ext uri="{FF2B5EF4-FFF2-40B4-BE49-F238E27FC236}">
                <a16:creationId xmlns:a16="http://schemas.microsoft.com/office/drawing/2014/main" id="{5B60FFDD-783E-4EE9-72B9-056E60C15987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540000" y="3348000"/>
            <a:ext cx="5219750" cy="360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2" name="chart 1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5220000" cy="12960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ubhead 1">
            <a:extLst>
              <a:ext uri="{FF2B5EF4-FFF2-40B4-BE49-F238E27FC236}">
                <a16:creationId xmlns:a16="http://schemas.microsoft.com/office/drawing/2014/main" id="{6648AFFC-B560-7A8C-6FD2-C5BD8D57A44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3" name="navigation">
            <a:extLst>
              <a:ext uri="{FF2B5EF4-FFF2-40B4-BE49-F238E27FC236}">
                <a16:creationId xmlns:a16="http://schemas.microsoft.com/office/drawing/2014/main" id="{1BF292E6-EEBC-66B0-FC89-42A86C0780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744002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59 : 6 charts : 6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EA4E6AC3-01D5-9C31-52D4-0BB693B8D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mtClean="0"/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9459A81C-BC10-1FFD-D1F6-FB6EC1B07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2495416B-3F05-B437-A185-4B84C57A4D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15" name="source 6">
            <a:extLst>
              <a:ext uri="{FF2B5EF4-FFF2-40B4-BE49-F238E27FC236}">
                <a16:creationId xmlns:a16="http://schemas.microsoft.com/office/drawing/2014/main" id="{8F56A5D2-C500-8DDB-E8AB-1B5D46C0FF5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8208250" y="5831998"/>
            <a:ext cx="3419750" cy="360001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4">
                    <a:lumMod val="75000"/>
                  </a:schemeClr>
                </a:solidFill>
              </a:defRPr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26" name="chart 6">
            <a:extLst>
              <a:ext uri="{FF2B5EF4-FFF2-40B4-BE49-F238E27FC236}">
                <a16:creationId xmlns:a16="http://schemas.microsoft.com/office/drawing/2014/main" id="{930E671C-3071-2E3F-F5BF-0C33FDE4DF9D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08000" y="4463624"/>
            <a:ext cx="3420000" cy="1296375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subhead 6">
            <a:extLst>
              <a:ext uri="{FF2B5EF4-FFF2-40B4-BE49-F238E27FC236}">
                <a16:creationId xmlns:a16="http://schemas.microsoft.com/office/drawing/2014/main" id="{FAAA6209-68D0-2C83-168B-DC79F5519490}"/>
              </a:ext>
            </a:extLst>
          </p:cNvPr>
          <p:cNvSpPr>
            <a:spLocks noGrp="1"/>
          </p:cNvSpPr>
          <p:nvPr>
            <p:ph sz="quarter" idx="55"/>
          </p:nvPr>
        </p:nvSpPr>
        <p:spPr>
          <a:xfrm>
            <a:off x="8208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4" name="source 5">
            <a:extLst>
              <a:ext uri="{FF2B5EF4-FFF2-40B4-BE49-F238E27FC236}">
                <a16:creationId xmlns:a16="http://schemas.microsoft.com/office/drawing/2014/main" id="{EABA3D9B-B762-2DDE-46B3-8190AAE57AA5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4374250" y="5831998"/>
            <a:ext cx="3419750" cy="360001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4">
                    <a:lumMod val="75000"/>
                  </a:schemeClr>
                </a:solidFill>
              </a:defRPr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6" name="chart 5">
            <a:extLst>
              <a:ext uri="{FF2B5EF4-FFF2-40B4-BE49-F238E27FC236}">
                <a16:creationId xmlns:a16="http://schemas.microsoft.com/office/drawing/2014/main" id="{48A1718F-E6A1-2D1D-F320-0C14AC215E7A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4374000" y="4463624"/>
            <a:ext cx="3420000" cy="129637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subhead 5">
            <a:extLst>
              <a:ext uri="{FF2B5EF4-FFF2-40B4-BE49-F238E27FC236}">
                <a16:creationId xmlns:a16="http://schemas.microsoft.com/office/drawing/2014/main" id="{AB1DB39B-3426-249A-289B-836057BADA96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74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3" name="source 4">
            <a:extLst>
              <a:ext uri="{FF2B5EF4-FFF2-40B4-BE49-F238E27FC236}">
                <a16:creationId xmlns:a16="http://schemas.microsoft.com/office/drawing/2014/main" id="{851F35E1-02AD-CE6B-FC90-B3F9827B301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40000" y="5831998"/>
            <a:ext cx="3419750" cy="360001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4">
                    <a:lumMod val="75000"/>
                  </a:schemeClr>
                </a:solidFill>
              </a:defRPr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8" name="chart 4">
            <a:extLst>
              <a:ext uri="{FF2B5EF4-FFF2-40B4-BE49-F238E27FC236}">
                <a16:creationId xmlns:a16="http://schemas.microsoft.com/office/drawing/2014/main" id="{41B73787-9571-1692-E61E-A393F7C9A595}"/>
              </a:ext>
            </a:extLst>
          </p:cNvPr>
          <p:cNvSpPr>
            <a:spLocks noGrp="1"/>
          </p:cNvSpPr>
          <p:nvPr>
            <p:ph type="chart" sz="quarter" idx="47"/>
          </p:nvPr>
        </p:nvSpPr>
        <p:spPr>
          <a:xfrm>
            <a:off x="539750" y="4463624"/>
            <a:ext cx="3420000" cy="1296375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subhead 4">
            <a:extLst>
              <a:ext uri="{FF2B5EF4-FFF2-40B4-BE49-F238E27FC236}">
                <a16:creationId xmlns:a16="http://schemas.microsoft.com/office/drawing/2014/main" id="{19C3382C-9D23-42CC-0BBA-D002F90C4789}"/>
              </a:ext>
            </a:extLst>
          </p:cNvPr>
          <p:cNvSpPr>
            <a:spLocks noGrp="1"/>
          </p:cNvSpPr>
          <p:nvPr>
            <p:ph sz="quarter" idx="49"/>
          </p:nvPr>
        </p:nvSpPr>
        <p:spPr>
          <a:xfrm>
            <a:off x="540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34" name="source 3">
            <a:extLst>
              <a:ext uri="{FF2B5EF4-FFF2-40B4-BE49-F238E27FC236}">
                <a16:creationId xmlns:a16="http://schemas.microsoft.com/office/drawing/2014/main" id="{A14D683B-2D9F-737B-80CD-47DAEC94DD8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8208250" y="3348000"/>
            <a:ext cx="3419750" cy="360001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4">
                    <a:lumMod val="75000"/>
                  </a:schemeClr>
                </a:solidFill>
              </a:defRPr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29" name="chart 3">
            <a:extLst>
              <a:ext uri="{FF2B5EF4-FFF2-40B4-BE49-F238E27FC236}">
                <a16:creationId xmlns:a16="http://schemas.microsoft.com/office/drawing/2014/main" id="{E3C33266-60C9-BD98-9A60-D6AEE752F17B}"/>
              </a:ext>
            </a:extLst>
          </p:cNvPr>
          <p:cNvSpPr>
            <a:spLocks noGrp="1"/>
          </p:cNvSpPr>
          <p:nvPr>
            <p:ph type="chart" sz="quarter" idx="57"/>
          </p:nvPr>
        </p:nvSpPr>
        <p:spPr>
          <a:xfrm>
            <a:off x="8208000" y="1979998"/>
            <a:ext cx="3420000" cy="1296375"/>
          </a:xfrm>
        </p:spPr>
        <p:txBody>
          <a:bodyPr/>
          <a:lstStyle/>
          <a:p>
            <a:endParaRPr lang="en-US"/>
          </a:p>
        </p:txBody>
      </p:sp>
      <p:sp>
        <p:nvSpPr>
          <p:cNvPr id="30" name="subhead 3">
            <a:extLst>
              <a:ext uri="{FF2B5EF4-FFF2-40B4-BE49-F238E27FC236}">
                <a16:creationId xmlns:a16="http://schemas.microsoft.com/office/drawing/2014/main" id="{C0ACC6EA-93BE-FC9F-55CA-1A9F790D24A2}"/>
              </a:ext>
            </a:extLst>
          </p:cNvPr>
          <p:cNvSpPr>
            <a:spLocks noGrp="1"/>
          </p:cNvSpPr>
          <p:nvPr>
            <p:ph sz="quarter" idx="58"/>
          </p:nvPr>
        </p:nvSpPr>
        <p:spPr>
          <a:xfrm>
            <a:off x="8208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35" name="source 2">
            <a:extLst>
              <a:ext uri="{FF2B5EF4-FFF2-40B4-BE49-F238E27FC236}">
                <a16:creationId xmlns:a16="http://schemas.microsoft.com/office/drawing/2014/main" id="{5D3BB801-B53A-AC9D-1898-D1ABDDBC0A0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4374250" y="3348000"/>
            <a:ext cx="3419750" cy="360001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4">
                    <a:lumMod val="75000"/>
                  </a:schemeClr>
                </a:solidFill>
              </a:defRPr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8" name="chart 2">
            <a:extLst>
              <a:ext uri="{FF2B5EF4-FFF2-40B4-BE49-F238E27FC236}">
                <a16:creationId xmlns:a16="http://schemas.microsoft.com/office/drawing/2014/main" id="{5D00C4C4-21BC-E403-5F96-529ED4036FC3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4374000" y="1979998"/>
            <a:ext cx="3420000" cy="129637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ubhead 2">
            <a:extLst>
              <a:ext uri="{FF2B5EF4-FFF2-40B4-BE49-F238E27FC236}">
                <a16:creationId xmlns:a16="http://schemas.microsoft.com/office/drawing/2014/main" id="{8A491A7D-7124-BF7D-B1AB-2BE064DED71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4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36" name="source 1">
            <a:extLst>
              <a:ext uri="{FF2B5EF4-FFF2-40B4-BE49-F238E27FC236}">
                <a16:creationId xmlns:a16="http://schemas.microsoft.com/office/drawing/2014/main" id="{46217169-63DD-96C6-3236-5CF6FA0C2A18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40000" y="3348000"/>
            <a:ext cx="3419750" cy="360001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4">
                    <a:lumMod val="75000"/>
                  </a:schemeClr>
                </a:solidFill>
              </a:defRPr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2" name="chart 1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79998"/>
            <a:ext cx="3420000" cy="129637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ubhead 1">
            <a:extLst>
              <a:ext uri="{FF2B5EF4-FFF2-40B4-BE49-F238E27FC236}">
                <a16:creationId xmlns:a16="http://schemas.microsoft.com/office/drawing/2014/main" id="{0259FA64-9654-3A55-2CD0-0FACFD7183A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endParaRPr lang="de-DE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20" name="navigation">
            <a:extLst>
              <a:ext uri="{FF2B5EF4-FFF2-40B4-BE49-F238E27FC236}">
                <a16:creationId xmlns:a16="http://schemas.microsoft.com/office/drawing/2014/main" id="{96F0501F-A49E-9A2B-A281-AA6DD79202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801632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 060 : 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EA4E6AC3-01D5-9C31-52D4-0BB693B8D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mtClean="0"/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9459A81C-BC10-1FFD-D1F6-FB6EC1B07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2495416B-3F05-B437-A185-4B84C57A4D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" name="source">
            <a:extLst>
              <a:ext uri="{FF2B5EF4-FFF2-40B4-BE49-F238E27FC236}">
                <a16:creationId xmlns:a16="http://schemas.microsoft.com/office/drawing/2014/main" id="{7C3DC195-6C25-138A-6018-E46ABBE741E0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40000" y="5831998"/>
            <a:ext cx="11124000" cy="360001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4">
                    <a:lumMod val="75000"/>
                  </a:schemeClr>
                </a:solidFill>
              </a:defRPr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9" name="table">
            <a:extLst>
              <a:ext uri="{FF2B5EF4-FFF2-40B4-BE49-F238E27FC236}">
                <a16:creationId xmlns:a16="http://schemas.microsoft.com/office/drawing/2014/main" id="{CDBF0C3F-C6C8-73BF-3E3E-7D4A763FCCE6}"/>
              </a:ext>
            </a:extLst>
          </p:cNvPr>
          <p:cNvSpPr>
            <a:spLocks noGrp="1"/>
          </p:cNvSpPr>
          <p:nvPr>
            <p:ph type="tbl" sz="quarter" idx="40"/>
          </p:nvPr>
        </p:nvSpPr>
        <p:spPr>
          <a:xfrm>
            <a:off x="540000" y="5562601"/>
            <a:ext cx="11109209" cy="247120"/>
          </a:xfrm>
        </p:spPr>
        <p:txBody>
          <a:bodyPr lIns="0" tIns="0" rIns="0" bIns="0" anchor="b" anchorCtr="0"/>
          <a:lstStyle>
            <a:lvl1pPr>
              <a:defRPr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2" name="text 8">
            <a:extLst>
              <a:ext uri="{FF2B5EF4-FFF2-40B4-BE49-F238E27FC236}">
                <a16:creationId xmlns:a16="http://schemas.microsoft.com/office/drawing/2014/main" id="{92D36E5B-C594-07D8-1556-F61BAD6438F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00942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21" name="text 7">
            <a:extLst>
              <a:ext uri="{FF2B5EF4-FFF2-40B4-BE49-F238E27FC236}">
                <a16:creationId xmlns:a16="http://schemas.microsoft.com/office/drawing/2014/main" id="{D9CE5412-1544-1ACC-B26C-DC64CB412F4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75857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20" name="text 6">
            <a:extLst>
              <a:ext uri="{FF2B5EF4-FFF2-40B4-BE49-F238E27FC236}">
                <a16:creationId xmlns:a16="http://schemas.microsoft.com/office/drawing/2014/main" id="{D7E98674-0010-6A4A-2092-C2342C1C972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50773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9" name="text 5">
            <a:extLst>
              <a:ext uri="{FF2B5EF4-FFF2-40B4-BE49-F238E27FC236}">
                <a16:creationId xmlns:a16="http://schemas.microsoft.com/office/drawing/2014/main" id="{2226BC48-C006-A3AF-A36B-63C2D3CA6BB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25688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8" name="text 4">
            <a:extLst>
              <a:ext uri="{FF2B5EF4-FFF2-40B4-BE49-F238E27FC236}">
                <a16:creationId xmlns:a16="http://schemas.microsoft.com/office/drawing/2014/main" id="{99462D85-7E35-EDFA-C68E-E4A351201D5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00604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5CF659D6-1CA1-113A-C4A5-BC2D1BCCDA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5519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5" name="text 2">
            <a:extLst>
              <a:ext uri="{FF2B5EF4-FFF2-40B4-BE49-F238E27FC236}">
                <a16:creationId xmlns:a16="http://schemas.microsoft.com/office/drawing/2014/main" id="{98FB9F3D-51E3-DA7A-72C1-9D9EC3D8B1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0435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3" name="text 1">
            <a:extLst>
              <a:ext uri="{FF2B5EF4-FFF2-40B4-BE49-F238E27FC236}">
                <a16:creationId xmlns:a16="http://schemas.microsoft.com/office/drawing/2014/main" id="{E103DC66-EA7E-9147-FF36-842134C5C10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25350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cxnSp>
        <p:nvCxnSpPr>
          <p:cNvPr id="8" name="line">
            <a:extLst>
              <a:ext uri="{FF2B5EF4-FFF2-40B4-BE49-F238E27FC236}">
                <a16:creationId xmlns:a16="http://schemas.microsoft.com/office/drawing/2014/main" id="{90ADF8F4-69E2-18D8-2A65-38E33E06BD05}"/>
              </a:ext>
            </a:extLst>
          </p:cNvPr>
          <p:cNvCxnSpPr/>
          <p:nvPr/>
        </p:nvCxnSpPr>
        <p:spPr>
          <a:xfrm>
            <a:off x="550863" y="3472812"/>
            <a:ext cx="11109209" cy="0"/>
          </a:xfrm>
          <a:prstGeom prst="line">
            <a:avLst/>
          </a:pr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8">
            <a:extLst>
              <a:ext uri="{FF2B5EF4-FFF2-40B4-BE49-F238E27FC236}">
                <a16:creationId xmlns:a16="http://schemas.microsoft.com/office/drawing/2014/main" id="{03C59CD8-6B8F-4E44-062C-C6CB0D46E79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000942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55" name="text 7">
            <a:extLst>
              <a:ext uri="{FF2B5EF4-FFF2-40B4-BE49-F238E27FC236}">
                <a16:creationId xmlns:a16="http://schemas.microsoft.com/office/drawing/2014/main" id="{1CAE7171-408D-2DAC-8E3E-1F3F57CF23DE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75857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54" name="text 6">
            <a:extLst>
              <a:ext uri="{FF2B5EF4-FFF2-40B4-BE49-F238E27FC236}">
                <a16:creationId xmlns:a16="http://schemas.microsoft.com/office/drawing/2014/main" id="{C6532634-485C-EBC5-74B9-6AD575B42BA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50773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53" name="text 5">
            <a:extLst>
              <a:ext uri="{FF2B5EF4-FFF2-40B4-BE49-F238E27FC236}">
                <a16:creationId xmlns:a16="http://schemas.microsoft.com/office/drawing/2014/main" id="{11051CCF-88A7-6245-A7ED-5E92BCF254C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5688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52" name="text 4">
            <a:extLst>
              <a:ext uri="{FF2B5EF4-FFF2-40B4-BE49-F238E27FC236}">
                <a16:creationId xmlns:a16="http://schemas.microsoft.com/office/drawing/2014/main" id="{35874900-7F40-5E32-DA1A-B532F6E6B57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00604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51" name="text 3">
            <a:extLst>
              <a:ext uri="{FF2B5EF4-FFF2-40B4-BE49-F238E27FC236}">
                <a16:creationId xmlns:a16="http://schemas.microsoft.com/office/drawing/2014/main" id="{AC0D6FC5-8114-4F86-7A13-896396BC3B4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75519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50" name="text 2">
            <a:extLst>
              <a:ext uri="{FF2B5EF4-FFF2-40B4-BE49-F238E27FC236}">
                <a16:creationId xmlns:a16="http://schemas.microsoft.com/office/drawing/2014/main" id="{51B9D552-7689-4FAE-5FF0-1E53A33BFB83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50435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49" name="text 1">
            <a:extLst>
              <a:ext uri="{FF2B5EF4-FFF2-40B4-BE49-F238E27FC236}">
                <a16:creationId xmlns:a16="http://schemas.microsoft.com/office/drawing/2014/main" id="{9791F7F5-F90B-F440-B357-05CFDFC6E70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25350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endParaRPr lang="en-US"/>
          </a:p>
        </p:txBody>
      </p:sp>
      <p:sp>
        <p:nvSpPr>
          <p:cNvPr id="14" name="navigation">
            <a:extLst>
              <a:ext uri="{FF2B5EF4-FFF2-40B4-BE49-F238E27FC236}">
                <a16:creationId xmlns:a16="http://schemas.microsoft.com/office/drawing/2014/main" id="{832A4627-82A2-D49F-2A94-FF992344FD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3477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2 : reference cases :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BBD0F61-C6BE-1EDD-E4BB-7009D5ED50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1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BBD0F61-C6BE-1EDD-E4BB-7009D5ED5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lide number">
            <a:extLst>
              <a:ext uri="{FF2B5EF4-FFF2-40B4-BE49-F238E27FC236}">
                <a16:creationId xmlns:a16="http://schemas.microsoft.com/office/drawing/2014/main" id="{510E1623-0FB3-4CAA-AA07-9A7D9031E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footer">
            <a:extLst>
              <a:ext uri="{FF2B5EF4-FFF2-40B4-BE49-F238E27FC236}">
                <a16:creationId xmlns:a16="http://schemas.microsoft.com/office/drawing/2014/main" id="{49604D60-FCC4-CCFA-5276-DE554E07F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7" name="date">
            <a:extLst>
              <a:ext uri="{FF2B5EF4-FFF2-40B4-BE49-F238E27FC236}">
                <a16:creationId xmlns:a16="http://schemas.microsoft.com/office/drawing/2014/main" id="{BBD4F2A4-4116-0C13-BADB-B5DA26C3F0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5" name="picture left 11cm">
            <a:extLst>
              <a:ext uri="{FF2B5EF4-FFF2-40B4-BE49-F238E27FC236}">
                <a16:creationId xmlns:a16="http://schemas.microsoft.com/office/drawing/2014/main" id="{74ED0BBF-0E8C-44D4-921F-066BA5C9B1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960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26" name="valantic logo placeholder">
            <a:extLst>
              <a:ext uri="{FF2B5EF4-FFF2-40B4-BE49-F238E27FC236}">
                <a16:creationId xmlns:a16="http://schemas.microsoft.com/office/drawing/2014/main" id="{47872EE8-C68D-BC59-A721-F66202B67D9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shadow 3">
            <a:extLst>
              <a:ext uri="{FF2B5EF4-FFF2-40B4-BE49-F238E27FC236}">
                <a16:creationId xmlns:a16="http://schemas.microsoft.com/office/drawing/2014/main" id="{8EBFEA4E-22B0-23AC-878B-EC066E1F702D}"/>
              </a:ext>
            </a:extLst>
          </p:cNvPr>
          <p:cNvSpPr/>
          <p:nvPr/>
        </p:nvSpPr>
        <p:spPr>
          <a:xfrm>
            <a:off x="8233134" y="5663804"/>
            <a:ext cx="3420000" cy="504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r"/>
            <a:endParaRPr lang="en-US" sz="1200" b="0">
              <a:solidFill>
                <a:schemeClr val="tx1"/>
              </a:solidFill>
              <a:latin typeface="Segoe UI Semibold" panose="020B0702040204020203" pitchFamily="34" charset="0"/>
              <a:ea typeface="Open Sans" charset="0"/>
              <a:cs typeface="Segoe UI Semibold" panose="020B0702040204020203" pitchFamily="34" charset="0"/>
            </a:endParaRPr>
          </a:p>
        </p:txBody>
      </p:sp>
      <p:sp>
        <p:nvSpPr>
          <p:cNvPr id="19" name="shadow 2">
            <a:extLst>
              <a:ext uri="{FF2B5EF4-FFF2-40B4-BE49-F238E27FC236}">
                <a16:creationId xmlns:a16="http://schemas.microsoft.com/office/drawing/2014/main" id="{A16AB38D-9AA6-EE4D-B113-D3EA2E8EF7E1}"/>
              </a:ext>
            </a:extLst>
          </p:cNvPr>
          <p:cNvSpPr/>
          <p:nvPr/>
        </p:nvSpPr>
        <p:spPr>
          <a:xfrm>
            <a:off x="8233134" y="4928515"/>
            <a:ext cx="3420000" cy="504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r"/>
            <a:endParaRPr lang="en-US" sz="1200" b="0">
              <a:solidFill>
                <a:schemeClr val="tx1"/>
              </a:solidFill>
              <a:latin typeface="Segoe UI Semibold" panose="020B0702040204020203" pitchFamily="34" charset="0"/>
              <a:ea typeface="Open Sans" charset="0"/>
              <a:cs typeface="Segoe UI Semibold" panose="020B0702040204020203" pitchFamily="34" charset="0"/>
            </a:endParaRPr>
          </a:p>
        </p:txBody>
      </p:sp>
      <p:sp>
        <p:nvSpPr>
          <p:cNvPr id="11" name="shadow 1">
            <a:extLst>
              <a:ext uri="{FF2B5EF4-FFF2-40B4-BE49-F238E27FC236}">
                <a16:creationId xmlns:a16="http://schemas.microsoft.com/office/drawing/2014/main" id="{6FCDA2C9-BD22-9CC6-8A5D-8A9BBCB0B024}"/>
              </a:ext>
            </a:extLst>
          </p:cNvPr>
          <p:cNvSpPr/>
          <p:nvPr/>
        </p:nvSpPr>
        <p:spPr>
          <a:xfrm>
            <a:off x="8233134" y="4193225"/>
            <a:ext cx="3420000" cy="504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r"/>
            <a:endParaRPr lang="en-US" sz="1200" b="0">
              <a:solidFill>
                <a:schemeClr val="tx1"/>
              </a:solidFill>
              <a:latin typeface="Segoe UI Semibold" panose="020B0702040204020203" pitchFamily="34" charset="0"/>
              <a:ea typeface="Open Sans" charset="0"/>
              <a:cs typeface="Segoe UI Semibold" panose="020B0702040204020203" pitchFamily="34" charset="0"/>
            </a:endParaRPr>
          </a:p>
        </p:txBody>
      </p:sp>
      <p:sp>
        <p:nvSpPr>
          <p:cNvPr id="41" name="text 3">
            <a:extLst>
              <a:ext uri="{FF2B5EF4-FFF2-40B4-BE49-F238E27FC236}">
                <a16:creationId xmlns:a16="http://schemas.microsoft.com/office/drawing/2014/main" id="{5805B240-CB9A-3652-5158-56A6403F552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477136" y="4185850"/>
            <a:ext cx="3420000" cy="1980000"/>
          </a:xfrm>
          <a:prstGeom prst="roundRect">
            <a:avLst>
              <a:gd name="adj" fmla="val 3067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subhead 3">
            <a:extLst>
              <a:ext uri="{FF2B5EF4-FFF2-40B4-BE49-F238E27FC236}">
                <a16:creationId xmlns:a16="http://schemas.microsoft.com/office/drawing/2014/main" id="{1A3805B4-1757-B667-9F63-389E966CCAE7}"/>
              </a:ext>
            </a:extLst>
          </p:cNvPr>
          <p:cNvSpPr>
            <a:spLocks noGrp="1"/>
          </p:cNvSpPr>
          <p:nvPr>
            <p:ph type="body" idx="64"/>
          </p:nvPr>
        </p:nvSpPr>
        <p:spPr>
          <a:xfrm>
            <a:off x="5470730" y="4266000"/>
            <a:ext cx="2340000" cy="540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en-US" cap="none" spc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+mj-lt"/>
              </a:defRPr>
            </a:lvl1pPr>
          </a:lstStyle>
          <a:p>
            <a:pPr lvl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de-DE"/>
              <a:t>Mastertextformat bearbeiten</a:t>
            </a:r>
          </a:p>
        </p:txBody>
      </p:sp>
      <p:sp>
        <p:nvSpPr>
          <p:cNvPr id="42" name="icon-placeholder 3">
            <a:extLst>
              <a:ext uri="{FF2B5EF4-FFF2-40B4-BE49-F238E27FC236}">
                <a16:creationId xmlns:a16="http://schemas.microsoft.com/office/drawing/2014/main" id="{52B3D3E3-8B97-6623-661F-B0B44C26001A}"/>
              </a:ext>
            </a:extLst>
          </p:cNvPr>
          <p:cNvSpPr>
            <a:spLocks noGrp="1"/>
          </p:cNvSpPr>
          <p:nvPr>
            <p:ph sz="quarter" idx="51"/>
          </p:nvPr>
        </p:nvSpPr>
        <p:spPr>
          <a:xfrm>
            <a:off x="4784937" y="426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tx2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tripe 3">
            <a:extLst>
              <a:ext uri="{FF2B5EF4-FFF2-40B4-BE49-F238E27FC236}">
                <a16:creationId xmlns:a16="http://schemas.microsoft.com/office/drawing/2014/main" id="{72E4CA30-C83F-4C16-1585-25F6F975A98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 rot="16200000">
            <a:off x="3537451" y="5129226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8" name="text 2">
            <a:extLst>
              <a:ext uri="{FF2B5EF4-FFF2-40B4-BE49-F238E27FC236}">
                <a16:creationId xmlns:a16="http://schemas.microsoft.com/office/drawing/2014/main" id="{B074B0AF-2315-4A47-C407-6E7D6B0DB83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233134" y="1926596"/>
            <a:ext cx="3420000" cy="1980000"/>
          </a:xfrm>
          <a:prstGeom prst="roundRect">
            <a:avLst>
              <a:gd name="adj" fmla="val 3067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subhead 2">
            <a:extLst>
              <a:ext uri="{FF2B5EF4-FFF2-40B4-BE49-F238E27FC236}">
                <a16:creationId xmlns:a16="http://schemas.microsoft.com/office/drawing/2014/main" id="{A6AF40C2-F261-5709-1FAA-D4028A134E58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9179337" y="2016000"/>
            <a:ext cx="2340000" cy="540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en-US" cap="none" spc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+mj-lt"/>
              </a:defRPr>
            </a:lvl1pPr>
          </a:lstStyle>
          <a:p>
            <a:pPr lvl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de-DE"/>
              <a:t>Mastertextformat bearbeiten</a:t>
            </a:r>
          </a:p>
        </p:txBody>
      </p:sp>
      <p:sp>
        <p:nvSpPr>
          <p:cNvPr id="39" name="Icon-placeholder 2">
            <a:extLst>
              <a:ext uri="{FF2B5EF4-FFF2-40B4-BE49-F238E27FC236}">
                <a16:creationId xmlns:a16="http://schemas.microsoft.com/office/drawing/2014/main" id="{B20C0320-FF4E-1583-D91F-C15663F93106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8540937" y="201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tx2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0" name="stripe 2">
            <a:extLst>
              <a:ext uri="{FF2B5EF4-FFF2-40B4-BE49-F238E27FC236}">
                <a16:creationId xmlns:a16="http://schemas.microsoft.com/office/drawing/2014/main" id="{B9629636-BB88-9050-8712-CF8FDD1E1E3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 rot="16200000">
            <a:off x="7290000" y="2862595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A6334294-CCC0-79F2-C813-421FC0FA75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77136" y="1926596"/>
            <a:ext cx="3420000" cy="1980000"/>
          </a:xfrm>
          <a:prstGeom prst="roundRect">
            <a:avLst>
              <a:gd name="adj" fmla="val 3067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subhead 1">
            <a:extLst>
              <a:ext uri="{FF2B5EF4-FFF2-40B4-BE49-F238E27FC236}">
                <a16:creationId xmlns:a16="http://schemas.microsoft.com/office/drawing/2014/main" id="{0811692C-FDE3-D9DF-6FA3-FE3E82FDFC2E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5470730" y="2016000"/>
            <a:ext cx="2340000" cy="540000"/>
          </a:xfrm>
        </p:spPr>
        <p:txBody>
          <a:bodyPr anchor="ctr" anchorCtr="0"/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400" b="0" cap="none" spc="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icon-placeholder 1">
            <a:extLst>
              <a:ext uri="{FF2B5EF4-FFF2-40B4-BE49-F238E27FC236}">
                <a16:creationId xmlns:a16="http://schemas.microsoft.com/office/drawing/2014/main" id="{F1D1C10A-BB11-D409-0AD3-F582888BF7A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84937" y="201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tx2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stripe 1">
            <a:extLst>
              <a:ext uri="{FF2B5EF4-FFF2-40B4-BE49-F238E27FC236}">
                <a16:creationId xmlns:a16="http://schemas.microsoft.com/office/drawing/2014/main" id="{804BCFDC-A99A-3221-8B3E-D2BC171DEEA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 rot="16200000">
            <a:off x="3537451" y="2862595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0" name="title">
            <a:extLst>
              <a:ext uri="{FF2B5EF4-FFF2-40B4-BE49-F238E27FC236}">
                <a16:creationId xmlns:a16="http://schemas.microsoft.com/office/drawing/2014/main" id="{056A1DE5-F8D7-8F63-CBB0-8753E289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7137" y="622301"/>
            <a:ext cx="7164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navigation">
            <a:extLst>
              <a:ext uri="{FF2B5EF4-FFF2-40B4-BE49-F238E27FC236}">
                <a16:creationId xmlns:a16="http://schemas.microsoft.com/office/drawing/2014/main" id="{0562870E-7EF0-488A-6AF4-5A6D7121CE4F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4478400" y="396000"/>
            <a:ext cx="7164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2" name="industry">
            <a:extLst>
              <a:ext uri="{FF2B5EF4-FFF2-40B4-BE49-F238E27FC236}">
                <a16:creationId xmlns:a16="http://schemas.microsoft.com/office/drawing/2014/main" id="{9AAD24EA-AB8B-9098-74BE-FFD5BFA584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507551"/>
            <a:ext cx="2880000" cy="36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="0" cap="all" spc="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logo placeholder white">
            <a:extLst>
              <a:ext uri="{FF2B5EF4-FFF2-40B4-BE49-F238E27FC236}">
                <a16:creationId xmlns:a16="http://schemas.microsoft.com/office/drawing/2014/main" id="{8BBA3821-ACB9-E9D2-C9FB-931ADAD798C0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549237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 </a:t>
            </a:r>
          </a:p>
        </p:txBody>
      </p:sp>
      <p:sp>
        <p:nvSpPr>
          <p:cNvPr id="13" name="customer logo">
            <a:extLst>
              <a:ext uri="{FF2B5EF4-FFF2-40B4-BE49-F238E27FC236}">
                <a16:creationId xmlns:a16="http://schemas.microsoft.com/office/drawing/2014/main" id="{0A13CD6F-ADB1-7D9B-48B3-9AE26D5187A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765237" y="603936"/>
            <a:ext cx="1728000" cy="576000"/>
          </a:xfrm>
          <a:prstGeom prst="roundRect">
            <a:avLst>
              <a:gd name="adj" fmla="val 7414"/>
            </a:avLst>
          </a:prstGeom>
          <a:noFill/>
        </p:spPr>
        <p:txBody>
          <a:bodyPr anchor="ctr" anchorCtr="1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 CUSTOMER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456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orient="horz" pos="1207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ease do not use : only guidiance placehol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7D3CCF1-660E-7AB1-06AD-93225FDD1D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484312"/>
            <a:ext cx="11088000" cy="4662751"/>
          </a:xfrm>
        </p:spPr>
        <p:txBody>
          <a:bodyPr vert="horz"/>
          <a:lstStyle>
            <a:lvl1pPr>
              <a:lnSpc>
                <a:spcPct val="100000"/>
              </a:lnSpc>
              <a:defRPr lang="de-DE" sz="11000" b="0" kern="1200" spc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2835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irc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>
            <a:extLst>
              <a:ext uri="{FF2B5EF4-FFF2-40B4-BE49-F238E27FC236}">
                <a16:creationId xmlns:a16="http://schemas.microsoft.com/office/drawing/2014/main" id="{EE7651BB-F50A-4569-91EE-3B02E1D53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948C201-D718-4E37-9C41-17017CEDC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4373" y="1105243"/>
            <a:ext cx="5175867" cy="5175867"/>
          </a:xfrm>
          <a:prstGeom prst="ellipse">
            <a:avLst/>
          </a:prstGeom>
        </p:spPr>
      </p:pic>
      <p:sp>
        <p:nvSpPr>
          <p:cNvPr id="37" name="Titel 17">
            <a:extLst>
              <a:ext uri="{FF2B5EF4-FFF2-40B4-BE49-F238E27FC236}">
                <a16:creationId xmlns:a16="http://schemas.microsoft.com/office/drawing/2014/main" id="{7FA99FC1-1179-466A-98F4-82E38AFFA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6054" y="2681252"/>
            <a:ext cx="4539653" cy="1495497"/>
          </a:xfrm>
        </p:spPr>
        <p:txBody>
          <a:bodyPr anchor="b"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tabLst/>
              <a:defRPr lang="de-DE" sz="3467" b="1" kern="1200" cap="none" spc="0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Presentation 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8" name="Textplatzhalter 19">
            <a:extLst>
              <a:ext uri="{FF2B5EF4-FFF2-40B4-BE49-F238E27FC236}">
                <a16:creationId xmlns:a16="http://schemas.microsoft.com/office/drawing/2014/main" id="{622692FE-C10C-4F67-B4EE-6B44AA88CD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0882" y="4368769"/>
            <a:ext cx="4596751" cy="1495496"/>
          </a:xfrm>
        </p:spPr>
        <p:txBody>
          <a:bodyPr/>
          <a:lstStyle>
            <a:lvl1pPr algn="l">
              <a:lnSpc>
                <a:spcPct val="100000"/>
              </a:lnSpc>
              <a:defRPr lang="de-DE" sz="1733" b="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Tx/>
              <a:buNone/>
            </a:pPr>
            <a:r>
              <a:rPr lang="de-DE" err="1"/>
              <a:t>Subitle</a:t>
            </a:r>
            <a:r>
              <a:rPr lang="de-DE"/>
              <a:t>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 and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longer</a:t>
            </a:r>
            <a:r>
              <a:rPr lang="de-DE"/>
              <a:t> and </a:t>
            </a:r>
            <a:r>
              <a:rPr lang="de-DE" err="1"/>
              <a:t>longer</a:t>
            </a:r>
            <a:r>
              <a:rPr lang="de-DE"/>
              <a:t>. 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452FA5DD-D14C-46D2-BE99-DE93AA546D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6591" r="20647" b="8400"/>
          <a:stretch/>
        </p:blipFill>
        <p:spPr>
          <a:xfrm rot="10800000">
            <a:off x="86053" y="886824"/>
            <a:ext cx="5876827" cy="5739077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A5DC1A45-EC31-4714-969E-5D8B60D954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80310" y="281392"/>
            <a:ext cx="3072341" cy="1210864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156A3C5-2700-4698-A689-BC96967C8E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70882" y="6165851"/>
            <a:ext cx="4596751" cy="239480"/>
          </a:xfrm>
        </p:spPr>
        <p:txBody>
          <a:bodyPr/>
          <a:lstStyle>
            <a:lvl1pPr>
              <a:defRPr lang="de-DE" sz="1200" b="0" kern="1200" spc="0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Insert some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896665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>
            <a:extLst>
              <a:ext uri="{FF2B5EF4-FFF2-40B4-BE49-F238E27FC236}">
                <a16:creationId xmlns:a16="http://schemas.microsoft.com/office/drawing/2014/main" id="{EE7651BB-F50A-4569-91EE-3B02E1D53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Titel 17">
            <a:extLst>
              <a:ext uri="{FF2B5EF4-FFF2-40B4-BE49-F238E27FC236}">
                <a16:creationId xmlns:a16="http://schemas.microsoft.com/office/drawing/2014/main" id="{7FA99FC1-1179-466A-98F4-82E38AFFA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6054" y="2681252"/>
            <a:ext cx="4539653" cy="1495497"/>
          </a:xfrm>
        </p:spPr>
        <p:txBody>
          <a:bodyPr anchor="b"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tabLst/>
              <a:defRPr lang="de-DE" sz="3467" b="1" kern="1200" cap="none" spc="0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Presentation 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8" name="Textplatzhalter 19">
            <a:extLst>
              <a:ext uri="{FF2B5EF4-FFF2-40B4-BE49-F238E27FC236}">
                <a16:creationId xmlns:a16="http://schemas.microsoft.com/office/drawing/2014/main" id="{622692FE-C10C-4F67-B4EE-6B44AA88CD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0882" y="4368769"/>
            <a:ext cx="4596751" cy="1495496"/>
          </a:xfrm>
        </p:spPr>
        <p:txBody>
          <a:bodyPr/>
          <a:lstStyle>
            <a:lvl1pPr algn="l">
              <a:lnSpc>
                <a:spcPct val="100000"/>
              </a:lnSpc>
              <a:defRPr lang="de-DE" sz="1733" b="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Tx/>
              <a:buNone/>
            </a:pPr>
            <a:r>
              <a:rPr lang="de-DE" err="1"/>
              <a:t>Subitle</a:t>
            </a:r>
            <a:r>
              <a:rPr lang="de-DE"/>
              <a:t>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 and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longer</a:t>
            </a:r>
            <a:r>
              <a:rPr lang="de-DE"/>
              <a:t> and </a:t>
            </a:r>
            <a:r>
              <a:rPr lang="de-DE" err="1"/>
              <a:t>longer</a:t>
            </a:r>
            <a:r>
              <a:rPr lang="de-DE"/>
              <a:t>. </a:t>
            </a: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A5DC1A45-EC31-4714-969E-5D8B60D954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80310" y="281392"/>
            <a:ext cx="3072341" cy="1210864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156A3C5-2700-4698-A689-BC96967C8E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70882" y="6165851"/>
            <a:ext cx="4596751" cy="239480"/>
          </a:xfrm>
        </p:spPr>
        <p:txBody>
          <a:bodyPr/>
          <a:lstStyle>
            <a:lvl1pPr>
              <a:defRPr lang="de-DE" sz="1200" b="0" kern="1200" spc="0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Insert some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38E59B8B-738D-4326-AF94-1259F8A415C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3009" y="1025443"/>
            <a:ext cx="5137365" cy="513736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072227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DFC33B3-CEB8-4983-A18B-43A59980C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66999" y="-2666999"/>
            <a:ext cx="6858003" cy="12192004"/>
          </a:xfrm>
          <a:prstGeom prst="rect">
            <a:avLst/>
          </a:prstGeom>
        </p:spPr>
      </p:pic>
      <p:sp>
        <p:nvSpPr>
          <p:cNvPr id="18" name="Titel 17">
            <a:extLst>
              <a:ext uri="{FF2B5EF4-FFF2-40B4-BE49-F238E27FC236}">
                <a16:creationId xmlns:a16="http://schemas.microsoft.com/office/drawing/2014/main" id="{C66499D0-DF1B-4784-98A9-DE3CFF8A72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4" y="2347316"/>
            <a:ext cx="4128459" cy="1495497"/>
          </a:xfrm>
        </p:spPr>
        <p:txBody>
          <a:bodyPr anchor="b"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tabLst/>
              <a:defRPr lang="de-DE" sz="3467" b="1" kern="1200" cap="none" spc="0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Presentation 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1887AD9E-9DA6-4683-8599-855BFD6267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404" y="4034833"/>
            <a:ext cx="4128459" cy="1495496"/>
          </a:xfrm>
        </p:spPr>
        <p:txBody>
          <a:bodyPr/>
          <a:lstStyle>
            <a:lvl1pPr algn="l">
              <a:defRPr lang="de-DE" sz="1733" b="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Tx/>
              <a:buNone/>
            </a:pPr>
            <a:r>
              <a:rPr lang="de-DE" err="1"/>
              <a:t>Subitle</a:t>
            </a:r>
            <a:r>
              <a:rPr lang="de-DE"/>
              <a:t>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 and </a:t>
            </a:r>
            <a:r>
              <a:rPr lang="de-DE" err="1"/>
              <a:t>maybe</a:t>
            </a:r>
            <a:r>
              <a:rPr lang="de-DE"/>
              <a:t> </a:t>
            </a:r>
            <a:r>
              <a:rPr lang="de-DE" err="1"/>
              <a:t>longer</a:t>
            </a:r>
            <a:r>
              <a:rPr lang="de-DE"/>
              <a:t> and </a:t>
            </a:r>
            <a:r>
              <a:rPr lang="de-DE" err="1"/>
              <a:t>longer</a:t>
            </a:r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62FAF6B-C141-4C1D-86EB-55C2856B44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405" y="6272863"/>
            <a:ext cx="8832679" cy="288925"/>
          </a:xfrm>
        </p:spPr>
        <p:txBody>
          <a:bodyPr anchor="ctr">
            <a:normAutofit/>
          </a:bodyPr>
          <a:lstStyle>
            <a:lvl1pPr>
              <a:defRPr lang="de-DE" sz="1200" b="0" kern="1200" spc="0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Conference title, Name </a:t>
            </a:r>
            <a:r>
              <a:rPr lang="de-DE" err="1"/>
              <a:t>of</a:t>
            </a:r>
            <a:r>
              <a:rPr lang="de-DE"/>
              <a:t> Series, Location   |   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resenter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35F42B3-BB8D-41B8-8DB3-9943D02929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7934" y="202433"/>
            <a:ext cx="3072341" cy="121086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1524656-3DA4-4822-88F5-F4D9FACC24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60096" y="-2331640"/>
            <a:ext cx="6858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2545568-2602-4A3D-853E-9C95B60F6ED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88135" y="-934017"/>
            <a:ext cx="5617567" cy="5609861"/>
          </a:xfrm>
          <a:prstGeom prst="rect">
            <a:avLst/>
          </a:prstGeom>
        </p:spPr>
      </p:pic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9AB7928-11C5-45ED-9F41-5B2A113070F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88307" y="1864815"/>
            <a:ext cx="4272260" cy="427226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5804083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verl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1658483-9934-4A6E-8B4F-1D3C5DA0D3E0}"/>
              </a:ext>
            </a:extLst>
          </p:cNvPr>
          <p:cNvSpPr/>
          <p:nvPr userDrawn="1"/>
        </p:nvSpPr>
        <p:spPr>
          <a:xfrm>
            <a:off x="3695735" y="-219405"/>
            <a:ext cx="8640960" cy="720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93E369B2-EAF9-4322-A285-4C9C2AF28D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44" t="1" r="31513" b="62170"/>
          <a:stretch/>
        </p:blipFill>
        <p:spPr>
          <a:xfrm>
            <a:off x="7856858" y="4581129"/>
            <a:ext cx="5011020" cy="278158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96F76DA-F29B-4D6D-B55F-72BD38E0D1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9783593">
            <a:off x="-3776866" y="-3083494"/>
            <a:ext cx="10907359" cy="10907359"/>
          </a:xfrm>
          <a:prstGeom prst="ellipse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76C1868-53EF-46DA-95E3-387855ED1F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725" t="41452" r="10130"/>
          <a:stretch/>
        </p:blipFill>
        <p:spPr>
          <a:xfrm>
            <a:off x="-830017" y="-351782"/>
            <a:ext cx="13358732" cy="3569017"/>
          </a:xfrm>
          <a:prstGeom prst="rect">
            <a:avLst/>
          </a:prstGeom>
        </p:spPr>
      </p:pic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63C7A590-D8DE-4F1E-839B-C1C57923D8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1952" y="6037627"/>
            <a:ext cx="1007665" cy="238968"/>
          </a:xfrm>
        </p:spPr>
        <p:txBody>
          <a:bodyPr anchor="t">
            <a:normAutofit/>
          </a:bodyPr>
          <a:lstStyle>
            <a:lvl1pPr>
              <a:defRPr lang="de-DE" sz="1200" b="0" kern="1200" spc="0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Tx/>
              <a:buNone/>
            </a:pPr>
            <a:r>
              <a:rPr lang="de-DE"/>
              <a:t>12.04.2022</a:t>
            </a: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C66499D0-DF1B-4784-98A9-DE3CFF8A72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1952" y="1470263"/>
            <a:ext cx="4703233" cy="2155573"/>
          </a:xfrm>
        </p:spPr>
        <p:txBody>
          <a:bodyPr anchor="b"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tabLst/>
              <a:defRPr lang="de-DE" sz="3467" b="1" kern="1200" cap="none" spc="0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Presentation 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62FAF6B-C141-4C1D-86EB-55C2856B44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54093" y="6031800"/>
            <a:ext cx="3215911" cy="238968"/>
          </a:xfrm>
        </p:spPr>
        <p:txBody>
          <a:bodyPr anchor="t">
            <a:normAutofit/>
          </a:bodyPr>
          <a:lstStyle>
            <a:lvl1pPr>
              <a:defRPr lang="de-DE" sz="1200" b="0" kern="1200" spc="0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Tx/>
              <a:buNone/>
            </a:pP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lient, 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Presenter</a:t>
            </a:r>
            <a:endParaRPr lang="de-DE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DD4FEDE6-0611-4BC8-B3C7-55E254DBA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t="28080" r="58643" b="22189"/>
          <a:stretch/>
        </p:blipFill>
        <p:spPr>
          <a:xfrm>
            <a:off x="6373080" y="3598551"/>
            <a:ext cx="6494797" cy="2963117"/>
          </a:xfrm>
          <a:prstGeom prst="rect">
            <a:avLst/>
          </a:prstGeo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1887AD9E-9DA6-4683-8599-855BFD6267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1952" y="3761611"/>
            <a:ext cx="4703233" cy="1237467"/>
          </a:xfrm>
        </p:spPr>
        <p:txBody>
          <a:bodyPr/>
          <a:lstStyle>
            <a:lvl1pPr algn="l">
              <a:defRPr lang="de-DE" sz="1733" b="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Tx/>
              <a:buNone/>
            </a:pPr>
            <a:r>
              <a:rPr lang="de-DE" err="1"/>
              <a:t>Subitle</a:t>
            </a:r>
            <a:r>
              <a:rPr lang="de-DE"/>
              <a:t>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 and </a:t>
            </a:r>
            <a:r>
              <a:rPr lang="de-DE" err="1"/>
              <a:t>maybe</a:t>
            </a:r>
            <a:r>
              <a:rPr lang="de-DE"/>
              <a:t> </a:t>
            </a:r>
            <a:r>
              <a:rPr lang="de-DE" err="1"/>
              <a:t>longer</a:t>
            </a:r>
            <a:r>
              <a:rPr lang="de-DE"/>
              <a:t> and </a:t>
            </a:r>
            <a:r>
              <a:rPr lang="de-DE" err="1"/>
              <a:t>longer</a:t>
            </a:r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14BBF1A-E71E-481F-A4AA-ED5603C4C6D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80310" y="281392"/>
            <a:ext cx="3072341" cy="121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07644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5">
            <a:extLst>
              <a:ext uri="{FF2B5EF4-FFF2-40B4-BE49-F238E27FC236}">
                <a16:creationId xmlns:a16="http://schemas.microsoft.com/office/drawing/2014/main" id="{C300FAC0-8F61-41D4-A3CC-02275334AE13}"/>
              </a:ext>
            </a:extLst>
          </p:cNvPr>
          <p:cNvSpPr/>
          <p:nvPr userDrawn="1"/>
        </p:nvSpPr>
        <p:spPr>
          <a:xfrm>
            <a:off x="-632875" y="-987491"/>
            <a:ext cx="13011819" cy="6896611"/>
          </a:xfrm>
          <a:custGeom>
            <a:avLst/>
            <a:gdLst>
              <a:gd name="connsiteX0" fmla="*/ 0 w 9612560"/>
              <a:gd name="connsiteY0" fmla="*/ 0 h 5256584"/>
              <a:gd name="connsiteX1" fmla="*/ 9612560 w 9612560"/>
              <a:gd name="connsiteY1" fmla="*/ 0 h 5256584"/>
              <a:gd name="connsiteX2" fmla="*/ 9612560 w 9612560"/>
              <a:gd name="connsiteY2" fmla="*/ 5256584 h 5256584"/>
              <a:gd name="connsiteX3" fmla="*/ 0 w 9612560"/>
              <a:gd name="connsiteY3" fmla="*/ 5256584 h 5256584"/>
              <a:gd name="connsiteX4" fmla="*/ 0 w 9612560"/>
              <a:gd name="connsiteY4" fmla="*/ 0 h 5256584"/>
              <a:gd name="connsiteX0" fmla="*/ 0 w 9704000"/>
              <a:gd name="connsiteY0" fmla="*/ 0 h 5256584"/>
              <a:gd name="connsiteX1" fmla="*/ 9612560 w 9704000"/>
              <a:gd name="connsiteY1" fmla="*/ 0 h 5256584"/>
              <a:gd name="connsiteX2" fmla="*/ 9704000 w 9704000"/>
              <a:gd name="connsiteY2" fmla="*/ 3251000 h 5256584"/>
              <a:gd name="connsiteX3" fmla="*/ 0 w 9704000"/>
              <a:gd name="connsiteY3" fmla="*/ 5256584 h 5256584"/>
              <a:gd name="connsiteX4" fmla="*/ 0 w 9704000"/>
              <a:gd name="connsiteY4" fmla="*/ 0 h 5256584"/>
              <a:gd name="connsiteX0" fmla="*/ 0 w 9892976"/>
              <a:gd name="connsiteY0" fmla="*/ 24384 h 5280968"/>
              <a:gd name="connsiteX1" fmla="*/ 9892976 w 9892976"/>
              <a:gd name="connsiteY1" fmla="*/ 0 h 5280968"/>
              <a:gd name="connsiteX2" fmla="*/ 9704000 w 9892976"/>
              <a:gd name="connsiteY2" fmla="*/ 3275384 h 5280968"/>
              <a:gd name="connsiteX3" fmla="*/ 0 w 9892976"/>
              <a:gd name="connsiteY3" fmla="*/ 5280968 h 5280968"/>
              <a:gd name="connsiteX4" fmla="*/ 0 w 9892976"/>
              <a:gd name="connsiteY4" fmla="*/ 24384 h 5280968"/>
              <a:gd name="connsiteX0" fmla="*/ 0 w 9752768"/>
              <a:gd name="connsiteY0" fmla="*/ 0 h 5256584"/>
              <a:gd name="connsiteX1" fmla="*/ 9752768 w 9752768"/>
              <a:gd name="connsiteY1" fmla="*/ 18288 h 5256584"/>
              <a:gd name="connsiteX2" fmla="*/ 9704000 w 9752768"/>
              <a:gd name="connsiteY2" fmla="*/ 3251000 h 5256584"/>
              <a:gd name="connsiteX3" fmla="*/ 0 w 9752768"/>
              <a:gd name="connsiteY3" fmla="*/ 5256584 h 5256584"/>
              <a:gd name="connsiteX4" fmla="*/ 0 w 9752768"/>
              <a:gd name="connsiteY4" fmla="*/ 0 h 5256584"/>
              <a:gd name="connsiteX0" fmla="*/ 0 w 9752768"/>
              <a:gd name="connsiteY0" fmla="*/ 0 h 5256584"/>
              <a:gd name="connsiteX1" fmla="*/ 9752768 w 9752768"/>
              <a:gd name="connsiteY1" fmla="*/ 18288 h 5256584"/>
              <a:gd name="connsiteX2" fmla="*/ 9704000 w 9752768"/>
              <a:gd name="connsiteY2" fmla="*/ 3251000 h 5256584"/>
              <a:gd name="connsiteX3" fmla="*/ 0 w 9752768"/>
              <a:gd name="connsiteY3" fmla="*/ 5256584 h 5256584"/>
              <a:gd name="connsiteX4" fmla="*/ 0 w 9752768"/>
              <a:gd name="connsiteY4" fmla="*/ 0 h 5256584"/>
              <a:gd name="connsiteX0" fmla="*/ 0 w 9752768"/>
              <a:gd name="connsiteY0" fmla="*/ 0 h 5267940"/>
              <a:gd name="connsiteX1" fmla="*/ 9752768 w 9752768"/>
              <a:gd name="connsiteY1" fmla="*/ 18288 h 5267940"/>
              <a:gd name="connsiteX2" fmla="*/ 9704000 w 9752768"/>
              <a:gd name="connsiteY2" fmla="*/ 3251000 h 5267940"/>
              <a:gd name="connsiteX3" fmla="*/ 0 w 9752768"/>
              <a:gd name="connsiteY3" fmla="*/ 5256584 h 5267940"/>
              <a:gd name="connsiteX4" fmla="*/ 0 w 9752768"/>
              <a:gd name="connsiteY4" fmla="*/ 0 h 5267940"/>
              <a:gd name="connsiteX0" fmla="*/ 6096 w 9758864"/>
              <a:gd name="connsiteY0" fmla="*/ 0 h 5048383"/>
              <a:gd name="connsiteX1" fmla="*/ 9758864 w 9758864"/>
              <a:gd name="connsiteY1" fmla="*/ 18288 h 5048383"/>
              <a:gd name="connsiteX2" fmla="*/ 9710096 w 9758864"/>
              <a:gd name="connsiteY2" fmla="*/ 3251000 h 5048383"/>
              <a:gd name="connsiteX3" fmla="*/ 0 w 9758864"/>
              <a:gd name="connsiteY3" fmla="*/ 5031032 h 5048383"/>
              <a:gd name="connsiteX4" fmla="*/ 6096 w 9758864"/>
              <a:gd name="connsiteY4" fmla="*/ 0 h 5048383"/>
              <a:gd name="connsiteX0" fmla="*/ 6096 w 9758864"/>
              <a:gd name="connsiteY0" fmla="*/ 0 h 5172458"/>
              <a:gd name="connsiteX1" fmla="*/ 9758864 w 9758864"/>
              <a:gd name="connsiteY1" fmla="*/ 18288 h 5172458"/>
              <a:gd name="connsiteX2" fmla="*/ 9710096 w 9758864"/>
              <a:gd name="connsiteY2" fmla="*/ 3251000 h 5172458"/>
              <a:gd name="connsiteX3" fmla="*/ 0 w 9758864"/>
              <a:gd name="connsiteY3" fmla="*/ 5031032 h 5172458"/>
              <a:gd name="connsiteX4" fmla="*/ 6096 w 9758864"/>
              <a:gd name="connsiteY4" fmla="*/ 0 h 5172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58864" h="5172458">
                <a:moveTo>
                  <a:pt x="6096" y="0"/>
                </a:moveTo>
                <a:lnTo>
                  <a:pt x="9758864" y="18288"/>
                </a:lnTo>
                <a:lnTo>
                  <a:pt x="9710096" y="3251000"/>
                </a:lnTo>
                <a:cubicBezTo>
                  <a:pt x="6804613" y="4882696"/>
                  <a:pt x="3673579" y="5471976"/>
                  <a:pt x="0" y="5031032"/>
                </a:cubicBezTo>
                <a:lnTo>
                  <a:pt x="609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C66499D0-DF1B-4784-98A9-DE3CFF8A72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7733" y="276051"/>
            <a:ext cx="4608511" cy="2528563"/>
          </a:xfrm>
        </p:spPr>
        <p:txBody>
          <a:bodyPr anchor="b"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tabLst/>
              <a:defRPr lang="de-DE" sz="3467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Presentation Title </a:t>
            </a:r>
            <a:br>
              <a:rPr lang="de-DE"/>
            </a:b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1887AD9E-9DA6-4683-8599-855BFD6267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7732" y="2902175"/>
            <a:ext cx="4224469" cy="1293920"/>
          </a:xfrm>
        </p:spPr>
        <p:txBody>
          <a:bodyPr/>
          <a:lstStyle>
            <a:lvl1pPr>
              <a:defRPr sz="1733" cap="none" baseline="0">
                <a:latin typeface="+mj-lt"/>
              </a:defRPr>
            </a:lvl1pPr>
          </a:lstStyle>
          <a:p>
            <a:pPr lvl="0"/>
            <a:r>
              <a:rPr lang="de-DE" err="1"/>
              <a:t>Subitle</a:t>
            </a:r>
            <a:r>
              <a:rPr lang="de-DE"/>
              <a:t>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 and </a:t>
            </a:r>
            <a:r>
              <a:rPr lang="de-DE" err="1"/>
              <a:t>maybe</a:t>
            </a:r>
            <a:r>
              <a:rPr lang="de-DE"/>
              <a:t> </a:t>
            </a:r>
            <a:r>
              <a:rPr lang="de-DE" err="1"/>
              <a:t>longer</a:t>
            </a:r>
            <a:r>
              <a:rPr lang="de-DE"/>
              <a:t> and </a:t>
            </a:r>
            <a:r>
              <a:rPr lang="de-DE" err="1"/>
              <a:t>longer</a:t>
            </a:r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38D0DE1-14E1-4CD7-8029-CCBD9145A2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814796">
            <a:off x="6258563" y="1130045"/>
            <a:ext cx="5315239" cy="643656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FFCDC0A0-392F-4458-8166-69D6CEF4F6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44139" y="2372883"/>
            <a:ext cx="5286871" cy="528687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FD9AE20-1ADB-4598-BB60-170F9DD7EBF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80310" y="281392"/>
            <a:ext cx="3072341" cy="121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68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ircle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>
            <a:extLst>
              <a:ext uri="{FF2B5EF4-FFF2-40B4-BE49-F238E27FC236}">
                <a16:creationId xmlns:a16="http://schemas.microsoft.com/office/drawing/2014/main" id="{EE7651BB-F50A-4569-91EE-3B02E1D53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Titel 17">
            <a:extLst>
              <a:ext uri="{FF2B5EF4-FFF2-40B4-BE49-F238E27FC236}">
                <a16:creationId xmlns:a16="http://schemas.microsoft.com/office/drawing/2014/main" id="{7FA99FC1-1179-466A-98F4-82E38AFFA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1950" y="1701801"/>
            <a:ext cx="7681383" cy="1495497"/>
          </a:xfrm>
        </p:spPr>
        <p:txBody>
          <a:bodyPr anchor="b"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tabLst/>
              <a:defRPr lang="de-DE" sz="3467" b="1" kern="1200" cap="none" spc="0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Presentation 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8" name="Textplatzhalter 19">
            <a:extLst>
              <a:ext uri="{FF2B5EF4-FFF2-40B4-BE49-F238E27FC236}">
                <a16:creationId xmlns:a16="http://schemas.microsoft.com/office/drawing/2014/main" id="{622692FE-C10C-4F67-B4EE-6B44AA88CD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6779" y="3389319"/>
            <a:ext cx="7681383" cy="1495496"/>
          </a:xfrm>
        </p:spPr>
        <p:txBody>
          <a:bodyPr/>
          <a:lstStyle>
            <a:lvl1pPr algn="l">
              <a:lnSpc>
                <a:spcPct val="100000"/>
              </a:lnSpc>
              <a:defRPr lang="de-DE" sz="1867" b="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10000"/>
              <a:buFontTx/>
              <a:buNone/>
            </a:pPr>
            <a:r>
              <a:rPr lang="de-DE" err="1"/>
              <a:t>Subitle</a:t>
            </a:r>
            <a:r>
              <a:rPr lang="de-DE"/>
              <a:t>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 and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longer</a:t>
            </a:r>
            <a:r>
              <a:rPr lang="de-DE"/>
              <a:t> and </a:t>
            </a:r>
            <a:r>
              <a:rPr lang="de-DE" err="1"/>
              <a:t>longer</a:t>
            </a:r>
            <a:r>
              <a:rPr lang="de-DE"/>
              <a:t>.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156A3C5-2700-4698-A689-BC96967C8E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26779" y="6262920"/>
            <a:ext cx="4596751" cy="239480"/>
          </a:xfrm>
        </p:spPr>
        <p:txBody>
          <a:bodyPr/>
          <a:lstStyle>
            <a:lvl1pPr>
              <a:defRPr lang="de-DE" sz="1200" b="0" kern="1200" spc="0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Insert some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959895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 1 Column,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357718"/>
            <a:ext cx="10951491" cy="861348"/>
          </a:xfrm>
        </p:spPr>
        <p:txBody>
          <a:bodyPr anchor="ctr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9" y="1700810"/>
            <a:ext cx="11425765" cy="480159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4FEB13-2326-429D-960A-F394477B824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0EEB05-2B82-4674-9282-2C5E29757BD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6215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 1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10951491" cy="382984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7" y="357717"/>
            <a:ext cx="10951635" cy="382984"/>
          </a:xfrm>
        </p:spPr>
        <p:txBody>
          <a:bodyPr anchor="b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9" y="1700810"/>
            <a:ext cx="11425765" cy="480159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CAF9A2-2F19-4895-9136-5F1183D7C6B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DF2019-6FFB-4724-8C87-1706B1A2CD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1349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Text 1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8240E202-0B51-4582-BB00-3621F902903C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accent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10951491" cy="382984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7" y="357717"/>
            <a:ext cx="10951635" cy="382984"/>
          </a:xfrm>
        </p:spPr>
        <p:txBody>
          <a:bodyPr anchor="b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9" y="1700810"/>
            <a:ext cx="11425765" cy="480159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CAF9A2-2F19-4895-9136-5F1183D7C6B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DF2019-6FFB-4724-8C87-1706B1A2CD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F30730E-8695-45A0-A5EF-0D60C3CD60F3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/>
              <a:t>© </a:t>
            </a:r>
            <a:r>
              <a:rPr lang="de-DE" sz="800" err="1"/>
              <a:t>phiyond</a:t>
            </a:r>
            <a:r>
              <a:rPr lang="de-DE" sz="800"/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2387389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3 : content left : picture right : citia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BBD0F61-C6BE-1EDD-E4BB-7009D5ED50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04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BBD0F61-C6BE-1EDD-E4BB-7009D5ED5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">
            <a:extLst>
              <a:ext uri="{FF2B5EF4-FFF2-40B4-BE49-F238E27FC236}">
                <a16:creationId xmlns:a16="http://schemas.microsoft.com/office/drawing/2014/main" id="{0005317A-714E-6129-0C03-108F88B10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bg1"/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21C5E44E-70EA-7058-57E6-01C1C0DC51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D6B2871C-75F6-A225-CE39-62007A0863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5" name="picture left 11cm">
            <a:extLst>
              <a:ext uri="{FF2B5EF4-FFF2-40B4-BE49-F238E27FC236}">
                <a16:creationId xmlns:a16="http://schemas.microsoft.com/office/drawing/2014/main" id="{07669673-F448-1693-0028-5B9E6376EC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79375" y="0"/>
            <a:ext cx="3312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39" name="bg gradient">
            <a:extLst>
              <a:ext uri="{FF2B5EF4-FFF2-40B4-BE49-F238E27FC236}">
                <a16:creationId xmlns:a16="http://schemas.microsoft.com/office/drawing/2014/main" id="{D64A880E-B408-A8EF-1752-56090A7E900C}"/>
              </a:ext>
            </a:extLst>
          </p:cNvPr>
          <p:cNvSpPr/>
          <p:nvPr/>
        </p:nvSpPr>
        <p:spPr>
          <a:xfrm>
            <a:off x="8881524" y="0"/>
            <a:ext cx="3310475" cy="6858000"/>
          </a:xfrm>
          <a:prstGeom prst="rect">
            <a:avLst/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endParaRPr lang="en-DE" sz="1600" b="1" i="0" noProof="0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8" name="text box">
            <a:extLst>
              <a:ext uri="{FF2B5EF4-FFF2-40B4-BE49-F238E27FC236}">
                <a16:creationId xmlns:a16="http://schemas.microsoft.com/office/drawing/2014/main" id="{6FA9A6C5-711D-0B6D-55AB-5E4C59811D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3445" y="1476000"/>
            <a:ext cx="2520000" cy="4680000"/>
          </a:xfrm>
          <a:prstGeom prst="roundRect">
            <a:avLst>
              <a:gd name="adj" fmla="val 0"/>
            </a:avLst>
          </a:prstGeom>
          <a:noFill/>
          <a:effectLst/>
        </p:spPr>
        <p:txBody>
          <a:bodyPr lIns="540000" tIns="360000" rIns="540000" bIns="3600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quote sign">
            <a:extLst>
              <a:ext uri="{FF2B5EF4-FFF2-40B4-BE49-F238E27FC236}">
                <a16:creationId xmlns:a16="http://schemas.microsoft.com/office/drawing/2014/main" id="{360CD8C4-DDA3-F69A-4DF6-7FC09596E4A0}"/>
              </a:ext>
            </a:extLst>
          </p:cNvPr>
          <p:cNvSpPr/>
          <p:nvPr/>
        </p:nvSpPr>
        <p:spPr>
          <a:xfrm>
            <a:off x="9151827" y="608889"/>
            <a:ext cx="681460" cy="576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industry">
            <a:extLst>
              <a:ext uri="{FF2B5EF4-FFF2-40B4-BE49-F238E27FC236}">
                <a16:creationId xmlns:a16="http://schemas.microsoft.com/office/drawing/2014/main" id="{59A98800-DA0A-0FA8-DBD9-591CCB872EF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5891927" y="1507551"/>
            <a:ext cx="2880000" cy="36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="0" cap="all" spc="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logo placeholder white">
            <a:extLst>
              <a:ext uri="{FF2B5EF4-FFF2-40B4-BE49-F238E27FC236}">
                <a16:creationId xmlns:a16="http://schemas.microsoft.com/office/drawing/2014/main" id="{3DE755F3-9F3D-FA53-9A94-CFFA43974D1C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5890302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 </a:t>
            </a:r>
          </a:p>
        </p:txBody>
      </p:sp>
      <p:sp>
        <p:nvSpPr>
          <p:cNvPr id="13" name="customer logo">
            <a:extLst>
              <a:ext uri="{FF2B5EF4-FFF2-40B4-BE49-F238E27FC236}">
                <a16:creationId xmlns:a16="http://schemas.microsoft.com/office/drawing/2014/main" id="{9FF0D743-933C-8EB2-55C0-BB3DD8567E31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6106302" y="603936"/>
            <a:ext cx="1728000" cy="576000"/>
          </a:xfrm>
          <a:prstGeom prst="roundRect">
            <a:avLst>
              <a:gd name="adj" fmla="val 7414"/>
            </a:avLst>
          </a:prstGeom>
          <a:noFill/>
        </p:spPr>
        <p:txBody>
          <a:bodyPr anchor="ctr" anchorCtr="1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 CUSTOMER LOGO</a:t>
            </a:r>
            <a:endParaRPr lang="en-US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55460CD8-7F20-3092-8A14-190F979D779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1989138"/>
            <a:ext cx="4680000" cy="4166862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24D79DE1-5191-A9D7-9EAB-2EC78ABF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468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6" name="navigation">
            <a:extLst>
              <a:ext uri="{FF2B5EF4-FFF2-40B4-BE49-F238E27FC236}">
                <a16:creationId xmlns:a16="http://schemas.microsoft.com/office/drawing/2014/main" id="{756EB541-0893-E536-3461-F1B4F0BC3B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468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96325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253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Text 1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AF11A7C-54C9-4CC4-BE9B-2012006A706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accent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10951491" cy="382984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7" y="357717"/>
            <a:ext cx="10951635" cy="382984"/>
          </a:xfrm>
        </p:spPr>
        <p:txBody>
          <a:bodyPr anchor="b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9" y="1700810"/>
            <a:ext cx="11425765" cy="480159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CAF9A2-2F19-4895-9136-5F1183D7C6B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 Text (optional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DF2019-6FFB-4724-8C87-1706B1A2CD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4C0BF99-4AB7-440D-A8A2-798CEF801B61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1110092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4"/>
            <a:ext cx="10951491" cy="382981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7" y="357717"/>
            <a:ext cx="10951635" cy="382984"/>
          </a:xfrm>
        </p:spPr>
        <p:txBody>
          <a:bodyPr anchor="b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B7C9EEB-1390-4AE2-A238-16C8EC9329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35186" y="1701799"/>
            <a:ext cx="5281081" cy="48006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EEC9CDA-7B4F-4575-96D3-B951FC72487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5" y="1702790"/>
            <a:ext cx="5473703" cy="4799609"/>
          </a:xfrm>
        </p:spPr>
        <p:txBody>
          <a:bodyPr/>
          <a:lstStyle>
            <a:lvl2pPr marL="359991" indent="-359991">
              <a:buFontTx/>
              <a:buBlip>
                <a:blip r:embed="rId4"/>
              </a:buBlip>
              <a:defRPr/>
            </a:lvl2pPr>
            <a:lvl3pPr marL="539987" indent="-359991">
              <a:buFontTx/>
              <a:buBlip>
                <a:blip r:embed="rId4"/>
              </a:buBlip>
              <a:defRPr/>
            </a:lvl3pPr>
            <a:lvl4pPr marL="791980" indent="-342891">
              <a:buFontTx/>
              <a:buBlip>
                <a:blip r:embed="rId4"/>
              </a:buBlip>
              <a:defRPr/>
            </a:lvl4pPr>
            <a:lvl5pPr marL="1079973" indent="-342891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296169C-11B2-4E6A-9A34-58F2499579F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12DFE4-434A-4B69-A04C-1AA5AB2A148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6684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2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AC70F-8567-4D80-BBAD-03E3A81DD52A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accent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4"/>
            <a:ext cx="10176800" cy="382981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10176933" cy="382984"/>
          </a:xfrm>
        </p:spPr>
        <p:txBody>
          <a:bodyPr anchor="b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B7C9EEB-1390-4AE2-A238-16C8EC9329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35187" y="1701799"/>
            <a:ext cx="4224867" cy="480060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EEC9CDA-7B4F-4575-96D3-B951FC72487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5" y="1702790"/>
            <a:ext cx="5473703" cy="47996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359991" indent="-359991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539987" indent="-359991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791980" indent="-342891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 marL="1079973" indent="-342891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296169C-11B2-4E6A-9A34-58F2499579F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12DFE4-434A-4B69-A04C-1AA5AB2A148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2F2147B-9B77-4B81-B352-10146C225D35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1861246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03F9538-36C6-40CF-B4AF-9D1A180B7915}"/>
              </a:ext>
            </a:extLst>
          </p:cNvPr>
          <p:cNvSpPr/>
          <p:nvPr userDrawn="1"/>
        </p:nvSpPr>
        <p:spPr>
          <a:xfrm>
            <a:off x="1" y="0"/>
            <a:ext cx="3150921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1701800"/>
            <a:ext cx="2495549" cy="2590800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2495549" cy="863600"/>
          </a:xfrm>
        </p:spPr>
        <p:txBody>
          <a:bodyPr anchor="t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59151" y="1701800"/>
            <a:ext cx="2497667" cy="48006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35185" y="1703917"/>
            <a:ext cx="2497667" cy="479848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3333" y="1701801"/>
            <a:ext cx="2495548" cy="48006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90D4800-B4BE-4852-926B-8B0D74FDEF7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CFA74B-BE21-428C-A797-63276F45A3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6ABE21F-AFE1-479A-970E-F022FB45E78F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639021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4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03F9538-36C6-40CF-B4AF-9D1A180B7915}"/>
              </a:ext>
            </a:extLst>
          </p:cNvPr>
          <p:cNvSpPr/>
          <p:nvPr userDrawn="1"/>
        </p:nvSpPr>
        <p:spPr>
          <a:xfrm>
            <a:off x="1" y="0"/>
            <a:ext cx="3150921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accent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1701800"/>
            <a:ext cx="2495549" cy="2590800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2495549" cy="863600"/>
          </a:xfrm>
        </p:spPr>
        <p:txBody>
          <a:bodyPr anchor="t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57039" y="836084"/>
            <a:ext cx="2499779" cy="2303891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35185" y="838036"/>
            <a:ext cx="2497667" cy="2303097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3333" y="836085"/>
            <a:ext cx="2495548" cy="2303892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90D4800-B4BE-4852-926B-8B0D74FDEF7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CFA74B-BE21-428C-A797-63276F45A3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263A716-1B4A-4316-BD93-73778A65C5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59151" y="3716867"/>
            <a:ext cx="2497667" cy="278553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E0ED4BF-A5E8-44E9-84BF-2A9B984450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35184" y="3716867"/>
            <a:ext cx="2497667" cy="278553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6E66B70-5D45-4940-AA6A-2D9E0D9C8AF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13334" y="3716867"/>
            <a:ext cx="2495551" cy="230505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054FE61-92BF-4382-A54C-AB9F7F0D87DE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3922537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  <p15:guide id="2" orient="horz" pos="1484">
          <p15:clr>
            <a:srgbClr val="FBAE40"/>
          </p15:clr>
        </p15:guide>
        <p15:guide id="3" orient="horz" pos="1756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4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03F9538-36C6-40CF-B4AF-9D1A180B7915}"/>
              </a:ext>
            </a:extLst>
          </p:cNvPr>
          <p:cNvSpPr/>
          <p:nvPr userDrawn="1"/>
        </p:nvSpPr>
        <p:spPr>
          <a:xfrm>
            <a:off x="1" y="0"/>
            <a:ext cx="3150921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accent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836085"/>
            <a:ext cx="2495549" cy="3456516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2495549" cy="382984"/>
          </a:xfrm>
        </p:spPr>
        <p:txBody>
          <a:bodyPr anchor="b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57039" y="836084"/>
            <a:ext cx="2499779" cy="15840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35185" y="838036"/>
            <a:ext cx="2497667" cy="15840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3333" y="836084"/>
            <a:ext cx="2495548" cy="15840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90D4800-B4BE-4852-926B-8B0D74FDEF7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354296" y="6558969"/>
            <a:ext cx="4114800" cy="189651"/>
          </a:xfrm>
        </p:spPr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CFA74B-BE21-428C-A797-63276F45A3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263A716-1B4A-4316-BD93-73778A65C5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59151" y="2847671"/>
            <a:ext cx="2497667" cy="1584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E0ED4BF-A5E8-44E9-84BF-2A9B984450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28060" y="2847671"/>
            <a:ext cx="2497667" cy="1584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6E66B70-5D45-4940-AA6A-2D9E0D9C8AF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13334" y="2847671"/>
            <a:ext cx="2495551" cy="1584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1FA5F3F-DC81-4C62-B0AC-CEFDDF456AE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57039" y="4859257"/>
            <a:ext cx="2497667" cy="1584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1E0137F-F732-4775-BBAC-E923919A339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337298" y="4857306"/>
            <a:ext cx="2495553" cy="158582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8143538-42F1-4FBB-8C95-5DC141DF327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13334" y="4857306"/>
            <a:ext cx="2495551" cy="164509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36256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  <p15:guide id="2" orient="horz" pos="1484">
          <p15:clr>
            <a:srgbClr val="FBAE40"/>
          </p15:clr>
        </p15:guide>
        <p15:guide id="3" orient="horz" pos="1756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4 Column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03F9538-36C6-40CF-B4AF-9D1A180B7915}"/>
              </a:ext>
            </a:extLst>
          </p:cNvPr>
          <p:cNvSpPr/>
          <p:nvPr userDrawn="1"/>
        </p:nvSpPr>
        <p:spPr>
          <a:xfrm>
            <a:off x="1" y="0"/>
            <a:ext cx="5856817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accent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836084"/>
            <a:ext cx="5040808" cy="385233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7" y="357718"/>
            <a:ext cx="5040808" cy="478365"/>
          </a:xfrm>
        </p:spPr>
        <p:txBody>
          <a:bodyPr anchor="b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35185" y="838036"/>
            <a:ext cx="2497667" cy="2303097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3333" y="836085"/>
            <a:ext cx="2495548" cy="2303892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90D4800-B4BE-4852-926B-8B0D74FDEF7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CFA74B-BE21-428C-A797-63276F45A3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E0ED4BF-A5E8-44E9-84BF-2A9B984450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35184" y="3716867"/>
            <a:ext cx="5473696" cy="278553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AAFAAC14-6D42-4C1A-9789-D597A69BC29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3118" y="1701800"/>
            <a:ext cx="5039783" cy="4320117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1B09C83-184F-43A9-86F6-3F508BE415D6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654711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  <p15:guide id="2" orient="horz" pos="1484">
          <p15:clr>
            <a:srgbClr val="FBAE40"/>
          </p15:clr>
        </p15:guide>
        <p15:guide id="3" orient="horz" pos="1756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x2 Columns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A250C4B0-BF9D-40CF-85F1-8654078E91BB}"/>
              </a:ext>
            </a:extLst>
          </p:cNvPr>
          <p:cNvSpPr/>
          <p:nvPr userDrawn="1"/>
        </p:nvSpPr>
        <p:spPr>
          <a:xfrm>
            <a:off x="6096000" y="3044957"/>
            <a:ext cx="6096000" cy="381304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6" y="836081"/>
            <a:ext cx="5471585" cy="382984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5473700" cy="382984"/>
          </a:xfrm>
        </p:spPr>
        <p:txBody>
          <a:bodyPr anchor="b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35185" y="3429000"/>
            <a:ext cx="2497667" cy="307128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3333" y="3429000"/>
            <a:ext cx="2495551" cy="307128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2EABAD9-5E28-45DD-998E-E41085F31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83117" y="3429002"/>
            <a:ext cx="2497667" cy="2592917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818771-D5F1-441E-9A7C-6A04A0798CF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AC1EF4D-36F7-431B-96C7-F8B96A27FB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59151" y="3429000"/>
            <a:ext cx="2495549" cy="2592917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EBDDE6B-4DC5-4AB7-9F96-199E13274AE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83115" y="1701800"/>
            <a:ext cx="5473703" cy="143933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D22CE50-4BB7-4A55-990E-1BC1C4A8DFE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096000" y="2"/>
            <a:ext cx="6096000" cy="3044956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10996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2x2 Columns,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A250C4B0-BF9D-40CF-85F1-8654078E91BB}"/>
              </a:ext>
            </a:extLst>
          </p:cNvPr>
          <p:cNvSpPr/>
          <p:nvPr userDrawn="1"/>
        </p:nvSpPr>
        <p:spPr>
          <a:xfrm>
            <a:off x="6096000" y="3044957"/>
            <a:ext cx="6096000" cy="381304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6" y="836081"/>
            <a:ext cx="5471585" cy="382984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5473700" cy="382984"/>
          </a:xfrm>
        </p:spPr>
        <p:txBody>
          <a:bodyPr anchor="b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35185" y="3429000"/>
            <a:ext cx="2497667" cy="3071283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3333" y="3429000"/>
            <a:ext cx="2495551" cy="3071283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2EABAD9-5E28-45DD-998E-E41085F31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83117" y="3429002"/>
            <a:ext cx="2497667" cy="2592917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818771-D5F1-441E-9A7C-6A04A0798CF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AC1EF4D-36F7-431B-96C7-F8B96A27FB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59151" y="3429000"/>
            <a:ext cx="2495549" cy="2592917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EBDDE6B-4DC5-4AB7-9F96-199E13274AE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83115" y="1701800"/>
            <a:ext cx="5473703" cy="143933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D22CE50-4BB7-4A55-990E-1BC1C4A8DFE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096000" y="2"/>
            <a:ext cx="6096000" cy="3044956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025383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8B24B03-DA0F-4F32-9F60-97DA4C551740}"/>
              </a:ext>
            </a:extLst>
          </p:cNvPr>
          <p:cNvSpPr/>
          <p:nvPr userDrawn="1"/>
        </p:nvSpPr>
        <p:spPr>
          <a:xfrm>
            <a:off x="0" y="0"/>
            <a:ext cx="393576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4" y="1221316"/>
            <a:ext cx="2976037" cy="1967657"/>
          </a:xfrm>
        </p:spPr>
        <p:txBody>
          <a:bodyPr anchor="t"/>
          <a:lstStyle>
            <a:lvl1pPr>
              <a:defRPr sz="2000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6" y="3429000"/>
            <a:ext cx="2976035" cy="2592917"/>
          </a:xfrm>
        </p:spPr>
        <p:txBody>
          <a:bodyPr anchor="t"/>
          <a:lstStyle>
            <a:lvl1pPr>
              <a:defRPr sz="1600"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7984" y="1221317"/>
            <a:ext cx="5952067" cy="48006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041481-06CC-4BA2-BA00-9592CFBFF05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41CAD5-FDF9-444B-895C-40A206071BE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B571ECF-7BA4-42DC-A6D1-C7DDD9966478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/>
              <a:t>© </a:t>
            </a:r>
            <a:r>
              <a:rPr lang="de-DE" sz="800" err="1"/>
              <a:t>phiyond</a:t>
            </a:r>
            <a:r>
              <a:rPr lang="de-DE" sz="800"/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1555160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4 : 3 icon-circles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675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">
            <a:extLst>
              <a:ext uri="{FF2B5EF4-FFF2-40B4-BE49-F238E27FC236}">
                <a16:creationId xmlns:a16="http://schemas.microsoft.com/office/drawing/2014/main" id="{D9B987B5-FC87-07A0-EE60-B25D4CECC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0E22014F-C60E-A5F2-3D35-B99352051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B9DDA708-6115-B505-1604-CB18C57492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6" name="content 3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9989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ircle 3">
            <a:extLst>
              <a:ext uri="{FF2B5EF4-FFF2-40B4-BE49-F238E27FC236}">
                <a16:creationId xmlns:a16="http://schemas.microsoft.com/office/drawing/2014/main" id="{03E6616D-6BE5-1F0D-0C0A-EDEE8E74F894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903789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Icon-placeholder 3">
            <a:extLst>
              <a:ext uri="{FF2B5EF4-FFF2-40B4-BE49-F238E27FC236}">
                <a16:creationId xmlns:a16="http://schemas.microsoft.com/office/drawing/2014/main" id="{C60ADAF8-2C7E-52B4-A639-798B1160C64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39789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2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72800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ircle 2">
            <a:extLst>
              <a:ext uri="{FF2B5EF4-FFF2-40B4-BE49-F238E27FC236}">
                <a16:creationId xmlns:a16="http://schemas.microsoft.com/office/drawing/2014/main" id="{734287B7-FF2C-081C-D1AE-E5AAC79579AE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546600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Icon-placeholder 2">
            <a:extLst>
              <a:ext uri="{FF2B5EF4-FFF2-40B4-BE49-F238E27FC236}">
                <a16:creationId xmlns:a16="http://schemas.microsoft.com/office/drawing/2014/main" id="{2E85AA86-5649-E89A-22E5-F7FE994FA4CF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582600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1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5611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circle 1">
            <a:extLst>
              <a:ext uri="{FF2B5EF4-FFF2-40B4-BE49-F238E27FC236}">
                <a16:creationId xmlns:a16="http://schemas.microsoft.com/office/drawing/2014/main" id="{CF9B3468-8D83-E9F3-7B03-E73CD41ECE15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189411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1" name="Icon-placeholder 1">
            <a:extLst>
              <a:ext uri="{FF2B5EF4-FFF2-40B4-BE49-F238E27FC236}">
                <a16:creationId xmlns:a16="http://schemas.microsoft.com/office/drawing/2014/main" id="{58129E42-8DEF-4ABF-4EC7-0503FD82023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25411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7A299E29-D08F-1AB7-8A5E-A0AE864F90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1902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,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8B24B03-DA0F-4F32-9F60-97DA4C551740}"/>
              </a:ext>
            </a:extLst>
          </p:cNvPr>
          <p:cNvSpPr/>
          <p:nvPr userDrawn="1"/>
        </p:nvSpPr>
        <p:spPr>
          <a:xfrm>
            <a:off x="0" y="0"/>
            <a:ext cx="393576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4" y="1221316"/>
            <a:ext cx="2976037" cy="1967657"/>
          </a:xfrm>
        </p:spPr>
        <p:txBody>
          <a:bodyPr anchor="t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6" y="3429000"/>
            <a:ext cx="2976035" cy="2592917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7984" y="1221317"/>
            <a:ext cx="5952067" cy="48006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041481-06CC-4BA2-BA00-9592CFBFF05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41CAD5-FDF9-444B-895C-40A206071BE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DD8248F-C9E9-41B1-8F4C-AED9B4ED0B9B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20335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51933486-A7F4-4668-925D-E19FD29FC88B}"/>
              </a:ext>
            </a:extLst>
          </p:cNvPr>
          <p:cNvSpPr/>
          <p:nvPr userDrawn="1"/>
        </p:nvSpPr>
        <p:spPr>
          <a:xfrm>
            <a:off x="7224166" y="0"/>
            <a:ext cx="4967833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17" y="836085"/>
            <a:ext cx="4224868" cy="2016852"/>
          </a:xfrm>
        </p:spPr>
        <p:txBody>
          <a:bodyPr anchor="t"/>
          <a:lstStyle>
            <a:lvl1pPr>
              <a:defRPr sz="2000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84016" y="3044957"/>
            <a:ext cx="4224869" cy="2976960"/>
          </a:xfrm>
        </p:spPr>
        <p:txBody>
          <a:bodyPr anchor="t"/>
          <a:lstStyle>
            <a:lvl1pPr>
              <a:defRPr sz="1600"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3117" y="1221317"/>
            <a:ext cx="5952067" cy="48006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859B91-F418-4E29-A80A-D7CE8ADA93F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2203578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,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51933486-A7F4-4668-925D-E19FD29FC88B}"/>
              </a:ext>
            </a:extLst>
          </p:cNvPr>
          <p:cNvSpPr/>
          <p:nvPr userDrawn="1"/>
        </p:nvSpPr>
        <p:spPr>
          <a:xfrm>
            <a:off x="7224166" y="0"/>
            <a:ext cx="4967833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17" y="836085"/>
            <a:ext cx="4224868" cy="2016852"/>
          </a:xfrm>
        </p:spPr>
        <p:txBody>
          <a:bodyPr anchor="t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84016" y="3044957"/>
            <a:ext cx="4224869" cy="2976960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3117" y="1221317"/>
            <a:ext cx="5952067" cy="48006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859B91-F418-4E29-A80A-D7CE8ADA93F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1876844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title, 4 columns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7200903" cy="382984"/>
          </a:xfrm>
        </p:spPr>
        <p:txBody>
          <a:bodyPr anchor="t"/>
          <a:lstStyle>
            <a:lvl1pPr>
              <a:defRPr sz="2267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1311272"/>
            <a:ext cx="7200900" cy="965600"/>
          </a:xfrm>
        </p:spPr>
        <p:txBody>
          <a:bodyPr anchor="t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19642" y="2946827"/>
            <a:ext cx="1937175" cy="3553455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5678" y="2948947"/>
            <a:ext cx="1937175" cy="355345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71710" y="2947379"/>
            <a:ext cx="1937175" cy="3555021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A32A50-4D71-461E-A71E-976052AE0EC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94" y="2948948"/>
            <a:ext cx="1937173" cy="355345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7524D9A3-95C0-47EC-8149-E0BD9B11B3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1310" y="2838712"/>
            <a:ext cx="607997" cy="611035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5BFB0AE2-915C-44D1-8013-FD7F0B6A14C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209457" y="2838712"/>
            <a:ext cx="607997" cy="611035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1CEC60FC-396E-4EBB-BBD1-58EA6D11B3E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192011" y="2836413"/>
            <a:ext cx="607997" cy="611035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8935EF95-6503-4C62-9113-01F8E00F3A0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168342" y="2836412"/>
            <a:ext cx="607997" cy="611035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56C59BC-99B7-4352-86D9-A5057F26D35F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3A83BF-99BC-40CC-8450-159789429006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6938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title, 4 columns,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7200903" cy="382984"/>
          </a:xfrm>
        </p:spPr>
        <p:txBody>
          <a:bodyPr anchor="t"/>
          <a:lstStyle>
            <a:lvl1pPr>
              <a:defRPr sz="2267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1311272"/>
            <a:ext cx="7200900" cy="965600"/>
          </a:xfrm>
        </p:spPr>
        <p:txBody>
          <a:bodyPr anchor="t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19642" y="2946827"/>
            <a:ext cx="1937175" cy="3553455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5678" y="2948947"/>
            <a:ext cx="1937175" cy="355345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71710" y="2947379"/>
            <a:ext cx="1937175" cy="3555021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A32A50-4D71-461E-A71E-976052AE0EC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94" y="2948948"/>
            <a:ext cx="1937173" cy="355345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B2163A-0C45-4101-97E6-F7F7359B1B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0501" y="2804931"/>
            <a:ext cx="624913" cy="768085"/>
          </a:xfrm>
        </p:spPr>
        <p:txBody>
          <a:bodyPr/>
          <a:lstStyle>
            <a:lvl1pPr algn="r">
              <a:defRPr sz="37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C924CFC-E247-456B-9D53-86AB404B90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67676" y="2804931"/>
            <a:ext cx="624913" cy="768085"/>
          </a:xfrm>
        </p:spPr>
        <p:txBody>
          <a:bodyPr/>
          <a:lstStyle>
            <a:lvl1pPr algn="r">
              <a:defRPr sz="37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28019126-79D6-4506-AA18-087D628AB9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4850" y="2804931"/>
            <a:ext cx="624913" cy="768085"/>
          </a:xfrm>
        </p:spPr>
        <p:txBody>
          <a:bodyPr/>
          <a:lstStyle>
            <a:lvl1pPr algn="r">
              <a:defRPr sz="37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FFFB24C2-CB95-4AA0-A6C0-C202C1DB1F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14773" y="2804931"/>
            <a:ext cx="624913" cy="768085"/>
          </a:xfrm>
        </p:spPr>
        <p:txBody>
          <a:bodyPr/>
          <a:lstStyle>
            <a:lvl1pPr algn="r">
              <a:defRPr sz="37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8DD9452-1197-437D-8707-97D63FAC7BE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98ECF1E-BDD5-46C4-9753-71A46515DC4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507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 title, 4 columns,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F699644B-8DF5-4320-B7C1-D98026163D7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accent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7200903" cy="382984"/>
          </a:xfrm>
        </p:spPr>
        <p:txBody>
          <a:bodyPr anchor="t"/>
          <a:lstStyle>
            <a:lvl1pPr>
              <a:defRPr sz="2267">
                <a:solidFill>
                  <a:schemeClr val="accent6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1311272"/>
            <a:ext cx="7200900" cy="965600"/>
          </a:xfrm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19642" y="2946827"/>
            <a:ext cx="1937175" cy="3553455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2769F-0C4A-4975-9318-C30091BE0A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5678" y="2948947"/>
            <a:ext cx="1937175" cy="3553453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CACD09-33EF-4187-A2E8-45D2837C5C6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71710" y="2947379"/>
            <a:ext cx="1937175" cy="3555021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A32A50-4D71-461E-A71E-976052AE0EC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94" y="2948948"/>
            <a:ext cx="1937173" cy="3553453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B2163A-0C45-4101-97E6-F7F7359B1B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0501" y="2804931"/>
            <a:ext cx="624913" cy="768085"/>
          </a:xfrm>
        </p:spPr>
        <p:txBody>
          <a:bodyPr/>
          <a:lstStyle>
            <a:lvl1pPr algn="r">
              <a:defRPr sz="3733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C924CFC-E247-456B-9D53-86AB404B90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67676" y="2804931"/>
            <a:ext cx="624913" cy="768085"/>
          </a:xfrm>
        </p:spPr>
        <p:txBody>
          <a:bodyPr/>
          <a:lstStyle>
            <a:lvl1pPr algn="r">
              <a:defRPr sz="3733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28019126-79D6-4506-AA18-087D628AB9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4850" y="2804931"/>
            <a:ext cx="624913" cy="768085"/>
          </a:xfrm>
        </p:spPr>
        <p:txBody>
          <a:bodyPr/>
          <a:lstStyle>
            <a:lvl1pPr algn="r">
              <a:defRPr sz="3733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FFFB24C2-CB95-4AA0-A6C0-C202C1DB1F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14773" y="2804931"/>
            <a:ext cx="624913" cy="768085"/>
          </a:xfrm>
        </p:spPr>
        <p:txBody>
          <a:bodyPr/>
          <a:lstStyle>
            <a:lvl1pPr algn="r">
              <a:defRPr sz="3733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8DD9452-1197-437D-8707-97D63FAC7BE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 Text (optional)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98ECF1E-BDD5-46C4-9753-71A46515DC4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2C2EFA-4503-4D13-9E1F-0E91412AF88A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1077869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5473628" cy="382984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5473700" cy="382984"/>
          </a:xfrm>
        </p:spPr>
        <p:txBody>
          <a:bodyPr anchor="b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9" y="2567520"/>
            <a:ext cx="2495548" cy="3934881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59151" y="2565400"/>
            <a:ext cx="2497667" cy="393488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35184" y="0"/>
            <a:ext cx="5856816" cy="6858000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76487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181" y="836081"/>
            <a:ext cx="5473628" cy="382984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35183" y="357717"/>
            <a:ext cx="5473700" cy="382984"/>
          </a:xfrm>
        </p:spPr>
        <p:txBody>
          <a:bodyPr anchor="b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35186" y="2567520"/>
            <a:ext cx="2495548" cy="3934881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11217" y="2565400"/>
            <a:ext cx="2497667" cy="3934883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" y="0"/>
            <a:ext cx="5856817" cy="6858000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EE5FE02-6278-4DB0-AEDC-07D1D127B5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26D12F-0B4C-4DF8-909A-EFB7C68860A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F9D376-A8E1-48EE-BC64-043D6B76267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A2CDB1B-1CED-4074-B1B7-FB8896B066BF}"/>
              </a:ext>
            </a:extLst>
          </p:cNvPr>
          <p:cNvSpPr txBox="1"/>
          <p:nvPr userDrawn="1"/>
        </p:nvSpPr>
        <p:spPr>
          <a:xfrm>
            <a:off x="143339" y="6501341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/>
              <a:t>© </a:t>
            </a:r>
            <a:r>
              <a:rPr lang="de-DE" sz="800" err="1"/>
              <a:t>phiyond</a:t>
            </a:r>
            <a:r>
              <a:rPr lang="de-DE" sz="800"/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3966809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F04CC02-7BD1-4621-8954-50B72DF1F04C}"/>
              </a:ext>
            </a:extLst>
          </p:cNvPr>
          <p:cNvSpPr/>
          <p:nvPr userDrawn="1"/>
        </p:nvSpPr>
        <p:spPr>
          <a:xfrm>
            <a:off x="5856817" y="0"/>
            <a:ext cx="6335183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181" y="836081"/>
            <a:ext cx="5473628" cy="382984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35183" y="357717"/>
            <a:ext cx="5473700" cy="382984"/>
          </a:xfrm>
        </p:spPr>
        <p:txBody>
          <a:bodyPr anchor="b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35186" y="2567520"/>
            <a:ext cx="2495548" cy="3934881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11217" y="2565400"/>
            <a:ext cx="2497667" cy="3934883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" y="0"/>
            <a:ext cx="5856817" cy="6858000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EE5FE02-6278-4DB0-AEDC-07D1D127B5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26D12F-0B4C-4DF8-909A-EFB7C68860A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F9D376-A8E1-48EE-BC64-043D6B76267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0147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image r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5965559-3D25-44EF-BB67-990FE5B221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836081"/>
            <a:ext cx="5473628" cy="382984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21" y="357717"/>
            <a:ext cx="5473700" cy="382984"/>
          </a:xfrm>
        </p:spPr>
        <p:txBody>
          <a:bodyPr anchor="b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23" y="2567520"/>
            <a:ext cx="2495548" cy="3934881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59155" y="2565400"/>
            <a:ext cx="2497667" cy="3934883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35185" y="0"/>
            <a:ext cx="5856815" cy="6885384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C6D0727-12B4-43D7-BC28-27A7E858A8C5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723502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5 : 4 text box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9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>
            <a:extLst>
              <a:ext uri="{FF2B5EF4-FFF2-40B4-BE49-F238E27FC236}">
                <a16:creationId xmlns:a16="http://schemas.microsoft.com/office/drawing/2014/main" id="{C9BA3CE1-F4C3-2C3D-C372-01096BC0A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9C96A835-E90E-5839-1566-B47381500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61BC8F3A-DE2E-C831-0500-7FA96995AB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A1FE09D6-F50B-58D0-9D25-2A26AF1045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4530" y="1476000"/>
            <a:ext cx="11083470" cy="1440000"/>
          </a:xfrm>
          <a:prstGeom prst="roundRect">
            <a:avLst>
              <a:gd name="adj" fmla="val 5828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288000" rIns="0" bIns="0" rtlCol="0" anchor="t" anchorCtr="1">
            <a:noAutofit/>
          </a:bodyPr>
          <a:lstStyle>
            <a:lvl1pPr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729180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5" name="Icon-placeholder">
            <a:extLst>
              <a:ext uri="{FF2B5EF4-FFF2-40B4-BE49-F238E27FC236}">
                <a16:creationId xmlns:a16="http://schemas.microsoft.com/office/drawing/2014/main" id="{A69C5009-BBB2-3F4E-2F00-D126B2AA56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928610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03454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4" name="Icon-placeholder">
            <a:extLst>
              <a:ext uri="{FF2B5EF4-FFF2-40B4-BE49-F238E27FC236}">
                <a16:creationId xmlns:a16="http://schemas.microsoft.com/office/drawing/2014/main" id="{59748B2D-BB1C-8085-B717-CE69ADE160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07294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77727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Icon-placeholder">
            <a:extLst>
              <a:ext uri="{FF2B5EF4-FFF2-40B4-BE49-F238E27FC236}">
                <a16:creationId xmlns:a16="http://schemas.microsoft.com/office/drawing/2014/main" id="{EAC3B973-5857-335C-D82C-09706AD0D92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885978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US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152000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80000" tIns="1044000" rIns="108000"/>
          <a:lstStyle>
            <a:lvl1pPr>
              <a:defRPr sz="10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solidFill>
                  <a:schemeClr val="tx2"/>
                </a:solidFill>
                <a:latin typeface="+mn-lt"/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Icon-placeholder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364662" y="2628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BC82E269-B945-9E98-D88A-B9E0B906B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3098018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115" y="1701800"/>
            <a:ext cx="2495516" cy="2590800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 ein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3119" y="4389107"/>
            <a:ext cx="2495549" cy="1218301"/>
          </a:xfrm>
        </p:spPr>
        <p:txBody>
          <a:bodyPr anchor="t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Topline einfüg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59152" y="0"/>
            <a:ext cx="8832848" cy="6858000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3485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C7D38B27-9AC7-4E84-AD1E-013657150178}"/>
              </a:ext>
            </a:extLst>
          </p:cNvPr>
          <p:cNvSpPr/>
          <p:nvPr userDrawn="1"/>
        </p:nvSpPr>
        <p:spPr>
          <a:xfrm>
            <a:off x="0" y="0"/>
            <a:ext cx="3359152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115" y="1701800"/>
            <a:ext cx="2495516" cy="2590800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Titel ein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3119" y="4389107"/>
            <a:ext cx="2495549" cy="1218301"/>
          </a:xfrm>
        </p:spPr>
        <p:txBody>
          <a:bodyPr anchor="t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Topline einfüg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59152" y="0"/>
            <a:ext cx="8832848" cy="6858000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72259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BF14EB-6DB0-4FF3-BB17-9B90B3C0CB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3118" y="357717"/>
            <a:ext cx="10176933" cy="5664200"/>
          </a:xfrm>
        </p:spPr>
        <p:txBody>
          <a:bodyPr/>
          <a:lstStyle>
            <a:lvl1pPr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Super 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919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8449623" cy="382984"/>
          </a:xfrm>
        </p:spPr>
        <p:txBody>
          <a:bodyPr anchor="t"/>
          <a:lstStyle>
            <a:lvl1pPr>
              <a:defRPr sz="2267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8449733" cy="382984"/>
          </a:xfrm>
        </p:spPr>
        <p:txBody>
          <a:bodyPr anchor="b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9" y="2134976"/>
            <a:ext cx="2495548" cy="4367425"/>
          </a:xfrm>
        </p:spPr>
        <p:txBody>
          <a:bodyPr/>
          <a:lstStyle>
            <a:lvl1pPr>
              <a:defRPr sz="1600">
                <a:solidFill>
                  <a:schemeClr val="accent4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59150" y="2132856"/>
            <a:ext cx="2497668" cy="4367427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6D48F5C-93D5-4FB5-A0DF-7957D8FD24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13221" y="1"/>
            <a:ext cx="2878780" cy="6857999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FB74060-AE93-4922-9AF2-EF715C312C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35184" y="2135684"/>
            <a:ext cx="2497667" cy="43646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  <a:lvl2pPr>
              <a:lnSpc>
                <a:spcPct val="110000"/>
              </a:lnSpc>
              <a:defRPr sz="1200"/>
            </a:lvl2pPr>
            <a:lvl3pPr>
              <a:lnSpc>
                <a:spcPct val="110000"/>
              </a:lnSpc>
              <a:defRPr sz="1200"/>
            </a:lvl3pPr>
            <a:lvl4pPr>
              <a:lnSpc>
                <a:spcPct val="110000"/>
              </a:lnSpc>
              <a:defRPr sz="1200"/>
            </a:lvl4pPr>
            <a:lvl5pPr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19329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s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57C932A-2666-40D6-8C56-11747B8E44DB}"/>
              </a:ext>
            </a:extLst>
          </p:cNvPr>
          <p:cNvSpPr/>
          <p:nvPr userDrawn="1"/>
        </p:nvSpPr>
        <p:spPr>
          <a:xfrm>
            <a:off x="0" y="0"/>
            <a:ext cx="9313333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836081"/>
            <a:ext cx="8449623" cy="382984"/>
          </a:xfrm>
        </p:spPr>
        <p:txBody>
          <a:bodyPr anchor="t"/>
          <a:lstStyle>
            <a:lvl1pPr>
              <a:defRPr sz="22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3118" y="357717"/>
            <a:ext cx="8449733" cy="382984"/>
          </a:xfrm>
        </p:spPr>
        <p:txBody>
          <a:bodyPr anchor="b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B55195C-DC7D-4FEA-9B00-B610BB0882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119" y="2134976"/>
            <a:ext cx="2495548" cy="43674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680554-4257-440F-B720-A225761792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59150" y="2132856"/>
            <a:ext cx="2497668" cy="4367427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6D48F5C-93D5-4FB5-A0DF-7957D8FD24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13221" y="1"/>
            <a:ext cx="2878780" cy="6857999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FB74060-AE93-4922-9AF2-EF715C312C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35184" y="2135684"/>
            <a:ext cx="2497667" cy="43646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B7DE29B-62C4-4A0C-83CE-96E0B460B5FC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2737156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6A27D8D-D649-4BF8-B1F6-95D96829C8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2064" y="1221318"/>
            <a:ext cx="4512501" cy="2591725"/>
          </a:xfrm>
        </p:spPr>
        <p:txBody>
          <a:bodyPr anchor="b"/>
          <a:lstStyle>
            <a:lvl1pPr>
              <a:defRPr sz="3467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79963" y="3894413"/>
            <a:ext cx="4503333" cy="2127504"/>
          </a:xfrm>
        </p:spPr>
        <p:txBody>
          <a:bodyPr anchor="t"/>
          <a:lstStyle>
            <a:lvl1pPr>
              <a:defRPr sz="1733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" y="0"/>
            <a:ext cx="5856816" cy="6858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BE1C810-BBDD-4AEF-95C5-0A4C0CF891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73010" y="1604798"/>
            <a:ext cx="1631951" cy="1680633"/>
          </a:xfrm>
        </p:spPr>
        <p:txBody>
          <a:bodyPr/>
          <a:lstStyle>
            <a:lvl1pPr>
              <a:defRPr sz="8000" b="1">
                <a:solidFill>
                  <a:schemeClr val="accent6"/>
                </a:solidFill>
              </a:defRPr>
            </a:lvl1pPr>
            <a:lvl2pPr>
              <a:defRPr b="1">
                <a:solidFill>
                  <a:schemeClr val="accent6"/>
                </a:solidFill>
              </a:defRPr>
            </a:lvl2pPr>
            <a:lvl3pPr>
              <a:defRPr b="1">
                <a:solidFill>
                  <a:schemeClr val="accent6"/>
                </a:solidFill>
              </a:defRPr>
            </a:lvl3pPr>
            <a:lvl4pPr>
              <a:defRPr b="1">
                <a:solidFill>
                  <a:schemeClr val="accent6"/>
                </a:solidFill>
              </a:defRPr>
            </a:lvl4pPr>
            <a:lvl5pPr>
              <a:defRPr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3960435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,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6A27D8D-D649-4BF8-B1F6-95D96829C8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2064" y="1221318"/>
            <a:ext cx="4512501" cy="2591725"/>
          </a:xfrm>
        </p:spPr>
        <p:txBody>
          <a:bodyPr anchor="b"/>
          <a:lstStyle>
            <a:lvl1pPr>
              <a:defRPr sz="3467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2A697D-923C-471B-8672-25D91755F3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79963" y="3894413"/>
            <a:ext cx="4503333" cy="2127504"/>
          </a:xfrm>
        </p:spPr>
        <p:txBody>
          <a:bodyPr anchor="t"/>
          <a:lstStyle>
            <a:lvl1pPr>
              <a:defRPr sz="173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710528E-F46E-4FD9-9105-456091156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" y="0"/>
            <a:ext cx="5856816" cy="6858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BE1C810-BBDD-4AEF-95C5-0A4C0CF891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73010" y="1604798"/>
            <a:ext cx="1631951" cy="1680633"/>
          </a:xfrm>
        </p:spPr>
        <p:txBody>
          <a:bodyPr/>
          <a:lstStyle>
            <a:lvl1pPr>
              <a:defRPr sz="8000" b="1">
                <a:solidFill>
                  <a:schemeClr val="accent6"/>
                </a:solidFill>
              </a:defRPr>
            </a:lvl1pPr>
            <a:lvl2pPr>
              <a:defRPr b="1">
                <a:solidFill>
                  <a:schemeClr val="accent6"/>
                </a:solidFill>
              </a:defRPr>
            </a:lvl2pPr>
            <a:lvl3pPr>
              <a:defRPr b="1">
                <a:solidFill>
                  <a:schemeClr val="accent6"/>
                </a:solidFill>
              </a:defRPr>
            </a:lvl3pPr>
            <a:lvl4pPr>
              <a:defRPr b="1">
                <a:solidFill>
                  <a:schemeClr val="accent6"/>
                </a:solidFill>
              </a:defRPr>
            </a:lvl4pPr>
            <a:lvl5pPr>
              <a:defRPr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3931520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Text 1 Column,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357717"/>
            <a:ext cx="10176936" cy="5664200"/>
          </a:xfrm>
        </p:spPr>
        <p:txBody>
          <a:bodyPr anchor="t"/>
          <a:lstStyle>
            <a:lvl1pPr algn="l">
              <a:defRPr sz="7200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4FEB13-2326-429D-960A-F394477B824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0EEB05-2B82-4674-9282-2C5E29757BD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9773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Text 1 Column,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67187DF-0898-4578-8226-718EEE2F2C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DF2A94-BA14-4882-9445-27A4805F2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5" y="357717"/>
            <a:ext cx="10176936" cy="5664200"/>
          </a:xfrm>
        </p:spPr>
        <p:txBody>
          <a:bodyPr anchor="t"/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F6E6FD-52B0-492A-887B-0187DE322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2341" y="6308496"/>
            <a:ext cx="364299" cy="364299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4FEB13-2326-429D-960A-F394477B824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 Text (optional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0EEB05-2B82-4674-9282-2C5E29757BD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BF22C33-6617-480D-B020-AF55BC883523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>
                <a:solidFill>
                  <a:schemeClr val="bg1"/>
                </a:solidFill>
              </a:rPr>
              <a:t>© </a:t>
            </a:r>
            <a:r>
              <a:rPr lang="de-DE" sz="800" err="1">
                <a:solidFill>
                  <a:schemeClr val="bg1"/>
                </a:solidFill>
              </a:rPr>
              <a:t>phiyond</a:t>
            </a:r>
            <a:r>
              <a:rPr lang="de-DE" sz="800">
                <a:solidFill>
                  <a:schemeClr val="bg1"/>
                </a:solidFill>
              </a:rPr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2611453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7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blue, imag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BF318789-F094-4EA0-A216-EEB4954F3A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D12A9EF-CB78-4B8A-8BBD-502C65ACAC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900302" flipH="1">
            <a:off x="6437561" y="589364"/>
            <a:ext cx="5415987" cy="618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782AF6E-DA83-4A1E-A5A5-CE9A9F1A7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9" y="2277534"/>
            <a:ext cx="5760888" cy="16316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89389B4-5233-4511-82FC-644A768AEE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3118" y="4437112"/>
            <a:ext cx="2736849" cy="2065288"/>
          </a:xfrm>
        </p:spPr>
        <p:txBody>
          <a:bodyPr/>
          <a:lstStyle>
            <a:lvl1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  <a:lvl2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2pPr>
            <a:lvl3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44FBE3F-9299-4B0D-9FBB-2C486F7584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308533" y="1692150"/>
            <a:ext cx="3048636" cy="3048636"/>
          </a:xfrm>
          <a:prstGeom prst="ellipse">
            <a:avLst/>
          </a:prstGeom>
          <a:noFill/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F3100CA-E92F-4A00-9C39-16E2F2F25A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89015" y="4965171"/>
            <a:ext cx="3048636" cy="1200151"/>
          </a:xfrm>
        </p:spPr>
        <p:txBody>
          <a:bodyPr/>
          <a:lstStyle>
            <a:lvl1pPr algn="l">
              <a:lnSpc>
                <a:spcPct val="70000"/>
              </a:lnSpc>
              <a:defRPr sz="1400">
                <a:solidFill>
                  <a:schemeClr val="bg1"/>
                </a:solidFill>
              </a:defRPr>
            </a:lvl1pPr>
            <a:lvl2pPr algn="l">
              <a:lnSpc>
                <a:spcPct val="70000"/>
              </a:lnSpc>
              <a:defRPr sz="1400">
                <a:solidFill>
                  <a:schemeClr val="bg1"/>
                </a:solidFill>
              </a:defRPr>
            </a:lvl2pPr>
            <a:lvl3pPr algn="l">
              <a:lnSpc>
                <a:spcPct val="70000"/>
              </a:lnSpc>
              <a:defRPr sz="1400">
                <a:solidFill>
                  <a:schemeClr val="bg1"/>
                </a:solidFill>
              </a:defRPr>
            </a:lvl3pPr>
            <a:lvl4pPr algn="l">
              <a:lnSpc>
                <a:spcPct val="70000"/>
              </a:lnSpc>
              <a:defRPr sz="1400">
                <a:solidFill>
                  <a:schemeClr val="bg1"/>
                </a:solidFill>
              </a:defRPr>
            </a:lvl4pPr>
            <a:lvl5pPr algn="l">
              <a:lnSpc>
                <a:spcPct val="70000"/>
              </a:lnSpc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4C5DA17-7F45-4D07-8F99-23AEE0064A1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1344" y="260648"/>
            <a:ext cx="2557896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2953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6 : 4 text boxes : strip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022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">
            <a:extLst>
              <a:ext uri="{FF2B5EF4-FFF2-40B4-BE49-F238E27FC236}">
                <a16:creationId xmlns:a16="http://schemas.microsoft.com/office/drawing/2014/main" id="{68DA1A13-8D13-4B2B-713D-126B871F2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A4E184A2-8E83-E028-E053-0741914CB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EEB58672-5C8C-98C6-6BF1-81FA11EF3A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72200" y="409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stripe 4">
            <a:extLst>
              <a:ext uri="{FF2B5EF4-FFF2-40B4-BE49-F238E27FC236}">
                <a16:creationId xmlns:a16="http://schemas.microsoft.com/office/drawing/2014/main" id="{B083A90B-BA65-DE34-FD88-6D9B6076812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16200000">
            <a:off x="5220000" y="5034844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14" name="Icon-placeholder 4">
            <a:extLst>
              <a:ext uri="{FF2B5EF4-FFF2-40B4-BE49-F238E27FC236}">
                <a16:creationId xmlns:a16="http://schemas.microsoft.com/office/drawing/2014/main" id="{A9B14E53-0A29-DC6D-5E5B-C26B98579E86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480000" y="421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 3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72200" y="409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Icon-placeholder 3">
            <a:extLst>
              <a:ext uri="{FF2B5EF4-FFF2-40B4-BE49-F238E27FC236}">
                <a16:creationId xmlns:a16="http://schemas.microsoft.com/office/drawing/2014/main" id="{49A6B266-7DA1-A0D2-8985-DEA29D0B305D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1076900" y="421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tripe 3">
            <a:extLst>
              <a:ext uri="{FF2B5EF4-FFF2-40B4-BE49-F238E27FC236}">
                <a16:creationId xmlns:a16="http://schemas.microsoft.com/office/drawing/2014/main" id="{896C88AE-CDA6-2778-4D8F-217FF29DFFB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16200000">
            <a:off x="-161110" y="5034844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7" name="text 2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72200" y="193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stripe 2">
            <a:extLst>
              <a:ext uri="{FF2B5EF4-FFF2-40B4-BE49-F238E27FC236}">
                <a16:creationId xmlns:a16="http://schemas.microsoft.com/office/drawing/2014/main" id="{4BBD5651-6876-8008-DE62-ECF20E454E6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16200000">
            <a:off x="5220000" y="2862666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13" name="Icon-placeholder 2">
            <a:extLst>
              <a:ext uri="{FF2B5EF4-FFF2-40B4-BE49-F238E27FC236}">
                <a16:creationId xmlns:a16="http://schemas.microsoft.com/office/drawing/2014/main" id="{17A2DFA9-CAF3-9122-B3B4-2A81162C706D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80000" y="205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2200" y="193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Icon-placeholder 1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80000" y="205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stripe 1">
            <a:extLst>
              <a:ext uri="{FF2B5EF4-FFF2-40B4-BE49-F238E27FC236}">
                <a16:creationId xmlns:a16="http://schemas.microsoft.com/office/drawing/2014/main" id="{4B1368A1-F8E3-A666-10EC-9578E6615D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6200000">
            <a:off x="-161110" y="2862665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6" name="navigation">
            <a:extLst>
              <a:ext uri="{FF2B5EF4-FFF2-40B4-BE49-F238E27FC236}">
                <a16:creationId xmlns:a16="http://schemas.microsoft.com/office/drawing/2014/main" id="{05A7132E-42F4-2481-78AD-C847933B13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24056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blue, imag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BF318789-F094-4EA0-A216-EEB4954F3A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D12A9EF-CB78-4B8A-8BBD-502C65ACAC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900302" flipH="1">
            <a:off x="6437561" y="589364"/>
            <a:ext cx="5415987" cy="618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782AF6E-DA83-4A1E-A5A5-CE9A9F1A7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9" y="2277534"/>
            <a:ext cx="5760888" cy="16316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89389B4-5233-4511-82FC-644A768AEE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3118" y="4437112"/>
            <a:ext cx="2736849" cy="2065288"/>
          </a:xfrm>
        </p:spPr>
        <p:txBody>
          <a:bodyPr/>
          <a:lstStyle>
            <a:lvl1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  <a:lvl2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2pPr>
            <a:lvl3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4C5DA17-7F45-4D07-8F99-23AEE0064A1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1344" y="260648"/>
            <a:ext cx="2557896" cy="1008112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38AA88F-E988-460F-906C-F084683B53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7985" y="3524251"/>
            <a:ext cx="7200900" cy="2978149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74229580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3392F-E335-633C-4E99-53BD39DF9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B3732B-C35D-2429-F31A-B6AB04ACF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A345D-01F4-417F-A35A-74D762F92D32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18A602-782C-031D-AD45-4BD89BD96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DF85D9-6FFD-CEBE-5845-04D9ECBF3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F15FA-933E-4395-B2B6-815447AB29B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727631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  007 : 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>
            <a:extLst>
              <a:ext uri="{FF2B5EF4-FFF2-40B4-BE49-F238E27FC236}">
                <a16:creationId xmlns:a16="http://schemas.microsoft.com/office/drawing/2014/main" id="{9C2549D5-7902-05C3-BA6E-F3FCE55E3E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9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B0528374-4148-93BC-40AD-371D0F4E7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50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Unternehmenspräsentation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B36025A7-E938-A69D-AFCB-12FF43B05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598DE614-BE92-7773-D42B-7B7F203DDC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156" algn="r"/>
              </a:tabLst>
              <a:defRPr lang="nl-NL" sz="800" cap="all" spc="151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10912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7 : 5 content-circle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85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>
            <a:extLst>
              <a:ext uri="{FF2B5EF4-FFF2-40B4-BE49-F238E27FC236}">
                <a16:creationId xmlns:a16="http://schemas.microsoft.com/office/drawing/2014/main" id="{3D9D7E91-9080-9BA5-E306-8933FE0F0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E45A1343-BD59-81CA-3D94-C6FF528BD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E8E2844F-60D7-0998-FD9D-47B82960A1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658863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0" name="circle 5">
            <a:extLst>
              <a:ext uri="{FF2B5EF4-FFF2-40B4-BE49-F238E27FC236}">
                <a16:creationId xmlns:a16="http://schemas.microsoft.com/office/drawing/2014/main" id="{9B320BE7-2C37-0A5C-A03A-78FDCDE8E160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9605567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3" name="Icon-placeholder 5">
            <a:extLst>
              <a:ext uri="{FF2B5EF4-FFF2-40B4-BE49-F238E27FC236}">
                <a16:creationId xmlns:a16="http://schemas.microsoft.com/office/drawing/2014/main" id="{B808016F-4B16-4650-0C2E-264DB5011B3F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965568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379148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9" name="circle 4">
            <a:extLst>
              <a:ext uri="{FF2B5EF4-FFF2-40B4-BE49-F238E27FC236}">
                <a16:creationId xmlns:a16="http://schemas.microsoft.com/office/drawing/2014/main" id="{B384D12F-6EC3-A163-D4A1-06E336F9D48C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7337453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Icon-placeholder 4">
            <a:extLst>
              <a:ext uri="{FF2B5EF4-FFF2-40B4-BE49-F238E27FC236}">
                <a16:creationId xmlns:a16="http://schemas.microsoft.com/office/drawing/2014/main" id="{785B09EF-B8C5-9434-9255-D57FC85E64E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7697453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99432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8" name="circle 3">
            <a:extLst>
              <a:ext uri="{FF2B5EF4-FFF2-40B4-BE49-F238E27FC236}">
                <a16:creationId xmlns:a16="http://schemas.microsoft.com/office/drawing/2014/main" id="{89F90057-16C4-BBA7-D79B-D697902D98B6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5069339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Icon-placeholder 3">
            <a:extLst>
              <a:ext uri="{FF2B5EF4-FFF2-40B4-BE49-F238E27FC236}">
                <a16:creationId xmlns:a16="http://schemas.microsoft.com/office/drawing/2014/main" id="{FF7919E9-EC30-DE68-47FE-20E3D3DB9A12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5429339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819716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7" name="circle 2">
            <a:extLst>
              <a:ext uri="{FF2B5EF4-FFF2-40B4-BE49-F238E27FC236}">
                <a16:creationId xmlns:a16="http://schemas.microsoft.com/office/drawing/2014/main" id="{188DCCB7-D30D-6A78-25B3-813B9C6565C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2795041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Icon-placeholder 2">
            <a:extLst>
              <a:ext uri="{FF2B5EF4-FFF2-40B4-BE49-F238E27FC236}">
                <a16:creationId xmlns:a16="http://schemas.microsoft.com/office/drawing/2014/main" id="{C9CB027B-6FB1-929F-2755-CF600835D96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161225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5" name="circle 1">
            <a:extLst>
              <a:ext uri="{FF2B5EF4-FFF2-40B4-BE49-F238E27FC236}">
                <a16:creationId xmlns:a16="http://schemas.microsoft.com/office/drawing/2014/main" id="{C3CDCE4D-5523-DB5C-6233-DE77CE958ED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3688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Icon-placeholder 1">
            <a:extLst>
              <a:ext uri="{FF2B5EF4-FFF2-40B4-BE49-F238E27FC236}">
                <a16:creationId xmlns:a16="http://schemas.microsoft.com/office/drawing/2014/main" id="{EA206033-AF1D-4F6B-EBBB-9E451AFAC80E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13688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5625633C-7FB0-A4CD-BAD7-50BBD6F55F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75654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8 : 5 circle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8BAD3777-8CEA-B48C-2AEE-F9C58CF2B9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13AFAD36-E203-AFE3-95B6-80326D424B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D3778A2E-0F42-B2F4-D98B-BAC1B3FD2D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475500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4" name="text circle">
            <a:extLst>
              <a:ext uri="{FF2B5EF4-FFF2-40B4-BE49-F238E27FC236}">
                <a16:creationId xmlns:a16="http://schemas.microsoft.com/office/drawing/2014/main" id="{FD4675FD-4A8E-9235-3FD4-47FD3C37A810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9553138" y="1805799"/>
            <a:ext cx="1800000" cy="1800000"/>
          </a:xfrm>
          <a:prstGeom prst="flowChartConnector">
            <a:avLst/>
          </a:prstGeom>
          <a:solidFill>
            <a:schemeClr val="accent2"/>
          </a:solidFill>
          <a:effectLst/>
        </p:spPr>
        <p:txBody>
          <a:bodyPr vert="horz" lIns="108000" tIns="432000" rIns="0" bIns="0" rtlCol="0" anchor="ctr" anchorCtr="1">
            <a:noAutofit/>
          </a:bodyPr>
          <a:lstStyle>
            <a:lvl1pPr>
              <a:defRPr lang="en-US" sz="4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x</a:t>
            </a:r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241625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3" name="text circle">
            <a:extLst>
              <a:ext uri="{FF2B5EF4-FFF2-40B4-BE49-F238E27FC236}">
                <a16:creationId xmlns:a16="http://schemas.microsoft.com/office/drawing/2014/main" id="{738E42BE-60E4-A207-F932-E4C0D977BF38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7241625" y="2117199"/>
            <a:ext cx="1260000" cy="1260000"/>
          </a:xfrm>
          <a:prstGeom prst="flowChartConnector">
            <a:avLst/>
          </a:prstGeom>
          <a:solidFill>
            <a:srgbClr val="FFFFFF"/>
          </a:solidFill>
          <a:ln w="22225"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432000" rIns="0" bIns="72000" rtlCol="0" anchor="t" anchorCtr="0">
            <a:noAutofit/>
          </a:bodyPr>
          <a:lstStyle>
            <a:lvl1pPr>
              <a:defRPr kumimoji="0" lang="en-US" sz="3200" b="1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R="0" lvl="0" algn="ctr" defTabSz="914330" fontAlgn="auto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x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07750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 circle">
            <a:extLst>
              <a:ext uri="{FF2B5EF4-FFF2-40B4-BE49-F238E27FC236}">
                <a16:creationId xmlns:a16="http://schemas.microsoft.com/office/drawing/2014/main" id="{31A0DEB0-F29F-1B24-2604-AC3A4FE8A667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011371" y="2131962"/>
            <a:ext cx="1260000" cy="1260000"/>
          </a:xfrm>
          <a:prstGeom prst="flowChartConnector">
            <a:avLst/>
          </a:prstGeom>
          <a:solidFill>
            <a:srgbClr val="FFFFFF"/>
          </a:solidFill>
          <a:ln w="22225"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432000" rIns="0" bIns="72000" rtlCol="0" anchor="t" anchorCtr="0">
            <a:noAutofit/>
          </a:bodyPr>
          <a:lstStyle>
            <a:lvl1pPr>
              <a:defRPr kumimoji="0" lang="en-US" sz="3200" b="1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R="0" lvl="0" algn="ctr" defTabSz="914330" fontAlgn="auto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x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773875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 circle">
            <a:extLst>
              <a:ext uri="{FF2B5EF4-FFF2-40B4-BE49-F238E27FC236}">
                <a16:creationId xmlns:a16="http://schemas.microsoft.com/office/drawing/2014/main" id="{E35B51C2-1268-8F36-C4B9-7E08FC0E57B3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2781117" y="2131962"/>
            <a:ext cx="1260000" cy="1260000"/>
          </a:xfrm>
          <a:prstGeom prst="flowChartConnector">
            <a:avLst/>
          </a:prstGeom>
          <a:solidFill>
            <a:srgbClr val="FFFFFF"/>
          </a:solidFill>
          <a:ln w="22225"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432000" rIns="0" bIns="72000" rtlCol="0" anchor="t" anchorCtr="0">
            <a:noAutofit/>
          </a:bodyPr>
          <a:lstStyle>
            <a:lvl1pPr>
              <a:defRPr kumimoji="0" lang="en-US" sz="3200" b="1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R="0" lvl="0" algn="ctr" defTabSz="914330" fontAlgn="auto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x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text circle">
            <a:extLst>
              <a:ext uri="{FF2B5EF4-FFF2-40B4-BE49-F238E27FC236}">
                <a16:creationId xmlns:a16="http://schemas.microsoft.com/office/drawing/2014/main" id="{73670A57-F5B2-BA34-5084-3C22ED17AE6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0863" y="2131962"/>
            <a:ext cx="1260000" cy="1260000"/>
          </a:xfrm>
          <a:prstGeom prst="flowChartConnector">
            <a:avLst/>
          </a:prstGeom>
          <a:solidFill>
            <a:srgbClr val="FFFFFF"/>
          </a:solidFill>
          <a:ln w="22225"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432000" rIns="0" bIns="72000" rtlCol="0" anchor="t" anchorCtr="0">
            <a:noAutofit/>
          </a:bodyPr>
          <a:lstStyle>
            <a:lvl1pPr>
              <a:defRPr kumimoji="0" lang="en-US" sz="3200" b="1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R="0" lvl="0" algn="ctr" defTabSz="914330" fontAlgn="auto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x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navigation">
            <a:extLst>
              <a:ext uri="{FF2B5EF4-FFF2-40B4-BE49-F238E27FC236}">
                <a16:creationId xmlns:a16="http://schemas.microsoft.com/office/drawing/2014/main" id="{EED496C5-9EA2-8D08-B2D5-EF1155F63A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7128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02 :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189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>
            <a:extLst>
              <a:ext uri="{FF2B5EF4-FFF2-40B4-BE49-F238E27FC236}">
                <a16:creationId xmlns:a16="http://schemas.microsoft.com/office/drawing/2014/main" id="{BC8BA2C0-FF86-7160-B605-4AFD8142A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68B1DC0-E2F4-964B-BEBC-F781A34B4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0BFB18-B358-A527-A325-CBA53A65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38863" y="1475999"/>
            <a:ext cx="540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40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57A2D597-3CE6-BDC7-EFD7-433C543868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8335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9 : 5 circles : 5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867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2547E716-1E2F-7B05-A5D1-24DF5138F7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123DC91-7626-7AF2-A09B-DCBEE2B689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4B0EC5C0-E138-9864-2A63-A77E96EF66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AFFFB742-B10B-0D15-44C8-E99A247A66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4000" y="1476000"/>
            <a:ext cx="10080000" cy="144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144000" rIns="0" bIns="0" rtlCol="0" anchor="t" anchorCtr="1">
            <a:noAutofit/>
          </a:bodyPr>
          <a:lstStyle>
            <a:lvl1pPr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20" name="text 5">
            <a:extLst>
              <a:ext uri="{FF2B5EF4-FFF2-40B4-BE49-F238E27FC236}">
                <a16:creationId xmlns:a16="http://schemas.microsoft.com/office/drawing/2014/main" id="{490285F5-769C-25E4-69C8-C5E988F71DD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6526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9" name="text circle 5">
            <a:extLst>
              <a:ext uri="{FF2B5EF4-FFF2-40B4-BE49-F238E27FC236}">
                <a16:creationId xmlns:a16="http://schemas.microsoft.com/office/drawing/2014/main" id="{CA3D1B8F-67FE-C968-DC81-8D84990DEA68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8411943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143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8" name="text circle 4">
            <a:extLst>
              <a:ext uri="{FF2B5EF4-FFF2-40B4-BE49-F238E27FC236}">
                <a16:creationId xmlns:a16="http://schemas.microsoft.com/office/drawing/2014/main" id="{7CEECBFC-F2D4-D868-B591-E190AF18578E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6737182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3640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7" name="text circle 3">
            <a:extLst>
              <a:ext uri="{FF2B5EF4-FFF2-40B4-BE49-F238E27FC236}">
                <a16:creationId xmlns:a16="http://schemas.microsoft.com/office/drawing/2014/main" id="{DDB5B333-AC00-BC75-0498-87B7E32D06AA}"/>
              </a:ext>
            </a:extLst>
          </p:cNvPr>
          <p:cNvSpPr>
            <a:spLocks noGrp="1"/>
          </p:cNvSpPr>
          <p:nvPr>
            <p:ph type="body" idx="48"/>
          </p:nvPr>
        </p:nvSpPr>
        <p:spPr>
          <a:xfrm>
            <a:off x="5200088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377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6" name="text circle 2">
            <a:extLst>
              <a:ext uri="{FF2B5EF4-FFF2-40B4-BE49-F238E27FC236}">
                <a16:creationId xmlns:a16="http://schemas.microsoft.com/office/drawing/2014/main" id="{7CBFAABC-429B-E5B8-8933-E07DCC4B26EA}"/>
              </a:ext>
            </a:extLst>
          </p:cNvPr>
          <p:cNvSpPr>
            <a:spLocks noGrp="1"/>
          </p:cNvSpPr>
          <p:nvPr>
            <p:ph type="body" idx="47"/>
          </p:nvPr>
        </p:nvSpPr>
        <p:spPr>
          <a:xfrm>
            <a:off x="3525327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0994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text circle 1">
            <a:extLst>
              <a:ext uri="{FF2B5EF4-FFF2-40B4-BE49-F238E27FC236}">
                <a16:creationId xmlns:a16="http://schemas.microsoft.com/office/drawing/2014/main" id="{199577DA-8B05-55BA-D6BD-A9F30591F4E5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1919400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1" name="navigation">
            <a:extLst>
              <a:ext uri="{FF2B5EF4-FFF2-40B4-BE49-F238E27FC236}">
                <a16:creationId xmlns:a16="http://schemas.microsoft.com/office/drawing/2014/main" id="{B3E5848C-38B7-C489-C91D-BB9E80947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35416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0 : citiation : 5 Icon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48C3DE89-47DA-5C90-A5BD-987089A0B4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0F951A03-A258-5D0C-346C-9EDFA0422B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2" name="date">
            <a:extLst>
              <a:ext uri="{FF2B5EF4-FFF2-40B4-BE49-F238E27FC236}">
                <a16:creationId xmlns:a16="http://schemas.microsoft.com/office/drawing/2014/main" id="{3BDB30AE-0771-9262-1869-36B5E00FEB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Icon 6">
            <a:extLst>
              <a:ext uri="{FF2B5EF4-FFF2-40B4-BE49-F238E27FC236}">
                <a16:creationId xmlns:a16="http://schemas.microsoft.com/office/drawing/2014/main" id="{49D83825-0292-3B29-C602-F353CE1D6DDF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18863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9" name="Icon 5">
            <a:extLst>
              <a:ext uri="{FF2B5EF4-FFF2-40B4-BE49-F238E27FC236}">
                <a16:creationId xmlns:a16="http://schemas.microsoft.com/office/drawing/2014/main" id="{8733BC2E-04A1-0E30-9605-EAFAC19E888D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379432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Icon 4">
            <a:extLst>
              <a:ext uri="{FF2B5EF4-FFF2-40B4-BE49-F238E27FC236}">
                <a16:creationId xmlns:a16="http://schemas.microsoft.com/office/drawing/2014/main" id="{454BDB5F-930C-C204-3745-6B675B0D1FED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40000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Icon 3">
            <a:extLst>
              <a:ext uri="{FF2B5EF4-FFF2-40B4-BE49-F238E27FC236}">
                <a16:creationId xmlns:a16="http://schemas.microsoft.com/office/drawing/2014/main" id="{778D2EDF-3B43-FFAE-82A8-D3282374085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218863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2" name="Icon 2">
            <a:extLst>
              <a:ext uri="{FF2B5EF4-FFF2-40B4-BE49-F238E27FC236}">
                <a16:creationId xmlns:a16="http://schemas.microsoft.com/office/drawing/2014/main" id="{233BAFF2-9C91-CD91-2A3C-35502D80CD15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379432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text box">
            <a:extLst>
              <a:ext uri="{FF2B5EF4-FFF2-40B4-BE49-F238E27FC236}">
                <a16:creationId xmlns:a16="http://schemas.microsoft.com/office/drawing/2014/main" id="{550C29E5-AD0A-1A38-3A54-79902F148C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3136" y="1484313"/>
            <a:ext cx="3420001" cy="2251782"/>
          </a:xfrm>
          <a:prstGeom prst="roundRect">
            <a:avLst>
              <a:gd name="adj" fmla="val 1968"/>
            </a:avLst>
          </a:prstGeom>
          <a:solidFill>
            <a:schemeClr val="accent2"/>
          </a:solidFill>
          <a:effectLst/>
        </p:spPr>
        <p:txBody>
          <a:bodyPr lIns="360000" tIns="180000" rIns="360000" bIns="1800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55024EE-ED41-23E4-D6DF-B61F42B219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1687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88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1 : 6 Icons : 6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">
            <a:extLst>
              <a:ext uri="{FF2B5EF4-FFF2-40B4-BE49-F238E27FC236}">
                <a16:creationId xmlns:a16="http://schemas.microsoft.com/office/drawing/2014/main" id="{A9ACF289-960C-B8A3-3AC1-922A39C904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DD39A238-34E5-2DB6-20D5-CE2C12F855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C5DA8D53-50E2-9231-9FA6-A534CC5BAD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Icon 6">
            <a:extLst>
              <a:ext uri="{FF2B5EF4-FFF2-40B4-BE49-F238E27FC236}">
                <a16:creationId xmlns:a16="http://schemas.microsoft.com/office/drawing/2014/main" id="{49D83825-0292-3B29-C602-F353CE1D6DDF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18863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9" name="Icon 5">
            <a:extLst>
              <a:ext uri="{FF2B5EF4-FFF2-40B4-BE49-F238E27FC236}">
                <a16:creationId xmlns:a16="http://schemas.microsoft.com/office/drawing/2014/main" id="{8733BC2E-04A1-0E30-9605-EAFAC19E888D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379432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4716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Icon 4">
            <a:extLst>
              <a:ext uri="{FF2B5EF4-FFF2-40B4-BE49-F238E27FC236}">
                <a16:creationId xmlns:a16="http://schemas.microsoft.com/office/drawing/2014/main" id="{454BDB5F-930C-C204-3745-6B675B0D1FED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40000" y="4140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Icon 3">
            <a:extLst>
              <a:ext uri="{FF2B5EF4-FFF2-40B4-BE49-F238E27FC236}">
                <a16:creationId xmlns:a16="http://schemas.microsoft.com/office/drawing/2014/main" id="{778D2EDF-3B43-FFAE-82A8-D3282374085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218863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2" name="Icon 2">
            <a:extLst>
              <a:ext uri="{FF2B5EF4-FFF2-40B4-BE49-F238E27FC236}">
                <a16:creationId xmlns:a16="http://schemas.microsoft.com/office/drawing/2014/main" id="{233BAFF2-9C91-CD91-2A3C-35502D80CD15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379432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2304000"/>
            <a:ext cx="3420000" cy="144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Icon 1">
            <a:extLst>
              <a:ext uri="{FF2B5EF4-FFF2-40B4-BE49-F238E27FC236}">
                <a16:creationId xmlns:a16="http://schemas.microsoft.com/office/drawing/2014/main" id="{33EE2071-A4F9-F16E-515D-B338908F809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40000" y="169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8E79C167-0DDF-C758-833F-88131E67FD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5941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2 : map : 8 content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0976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37672E6B-D56A-9FDA-8DA1-98B1D23FA1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7222DFE1-BC04-B8AC-5461-17073F0DC3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6DD1CB9A-21EB-DD32-CC17-503D2123C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8" name="content 10">
            <a:extLst>
              <a:ext uri="{FF2B5EF4-FFF2-40B4-BE49-F238E27FC236}">
                <a16:creationId xmlns:a16="http://schemas.microsoft.com/office/drawing/2014/main" id="{518B5815-FAF1-382A-90D5-5E2A36D98686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10536343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content 7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08291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ntent 6">
            <a:extLst>
              <a:ext uri="{FF2B5EF4-FFF2-40B4-BE49-F238E27FC236}">
                <a16:creationId xmlns:a16="http://schemas.microsoft.com/office/drawing/2014/main" id="{1F4D443D-5AA5-A727-9590-E25C5752F890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7680242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5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52193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BBC2B3C5-519E-7447-E8AE-4CE6264B8271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824144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3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96095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content 2">
            <a:extLst>
              <a:ext uri="{FF2B5EF4-FFF2-40B4-BE49-F238E27FC236}">
                <a16:creationId xmlns:a16="http://schemas.microsoft.com/office/drawing/2014/main" id="{B8111F2A-6B01-4671-279E-B12FFC0DADB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968046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7" y="4191000"/>
            <a:ext cx="1296000" cy="19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7283CE9D-9870-A915-832E-B264A8B01E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73564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3 : 8 logo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15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A3AFCC88-0942-2B4E-9F33-76D6C3BFA8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FEBA2A75-F427-C296-FEA8-F79E540072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BFF897E0-A2D1-3E0D-EB48-AF3C638E21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2" name="shadow 8">
            <a:extLst>
              <a:ext uri="{FF2B5EF4-FFF2-40B4-BE49-F238E27FC236}">
                <a16:creationId xmlns:a16="http://schemas.microsoft.com/office/drawing/2014/main" id="{6308BA18-E79D-6AF0-DD88-2CB7D71039F8}"/>
              </a:ext>
            </a:extLst>
          </p:cNvPr>
          <p:cNvSpPr txBox="1"/>
          <p:nvPr/>
        </p:nvSpPr>
        <p:spPr bwMode="auto">
          <a:xfrm>
            <a:off x="9108000" y="4720074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8" name="picture placeholder 8">
            <a:extLst>
              <a:ext uri="{FF2B5EF4-FFF2-40B4-BE49-F238E27FC236}">
                <a16:creationId xmlns:a16="http://schemas.microsoft.com/office/drawing/2014/main" id="{B813425A-0B5A-A6C1-9B5C-BA7BF0CBC7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684000" y="517007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1" name="shadow 7">
            <a:extLst>
              <a:ext uri="{FF2B5EF4-FFF2-40B4-BE49-F238E27FC236}">
                <a16:creationId xmlns:a16="http://schemas.microsoft.com/office/drawing/2014/main" id="{E3690FE6-EE57-D29A-8461-8A8634B9A124}"/>
              </a:ext>
            </a:extLst>
          </p:cNvPr>
          <p:cNvSpPr txBox="1"/>
          <p:nvPr/>
        </p:nvSpPr>
        <p:spPr bwMode="auto">
          <a:xfrm>
            <a:off x="6255621" y="4720074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9" name="picture placeholder 7">
            <a:extLst>
              <a:ext uri="{FF2B5EF4-FFF2-40B4-BE49-F238E27FC236}">
                <a16:creationId xmlns:a16="http://schemas.microsoft.com/office/drawing/2014/main" id="{2D846DC3-419F-48F8-0693-CE0C549D2F55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831621" y="517007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0" name="shadow 6">
            <a:extLst>
              <a:ext uri="{FF2B5EF4-FFF2-40B4-BE49-F238E27FC236}">
                <a16:creationId xmlns:a16="http://schemas.microsoft.com/office/drawing/2014/main" id="{C01EFD8A-CF76-DE2B-2523-5EF4DFD6DB07}"/>
              </a:ext>
            </a:extLst>
          </p:cNvPr>
          <p:cNvSpPr txBox="1"/>
          <p:nvPr/>
        </p:nvSpPr>
        <p:spPr bwMode="auto">
          <a:xfrm>
            <a:off x="3400526" y="4720074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97979B19-8D6D-216E-BB58-CC5DA169D861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976526" y="517007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9" name="shadow 5">
            <a:extLst>
              <a:ext uri="{FF2B5EF4-FFF2-40B4-BE49-F238E27FC236}">
                <a16:creationId xmlns:a16="http://schemas.microsoft.com/office/drawing/2014/main" id="{D28B9D1A-11CC-CB5F-E8CF-4A73B2A59A6A}"/>
              </a:ext>
            </a:extLst>
          </p:cNvPr>
          <p:cNvSpPr txBox="1">
            <a:spLocks/>
          </p:cNvSpPr>
          <p:nvPr/>
        </p:nvSpPr>
        <p:spPr bwMode="auto">
          <a:xfrm>
            <a:off x="540000" y="4720074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6222EA8F-CAC8-E9BF-FF49-CFEA020DA8E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116000" y="517007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8" name="shadow 4">
            <a:extLst>
              <a:ext uri="{FF2B5EF4-FFF2-40B4-BE49-F238E27FC236}">
                <a16:creationId xmlns:a16="http://schemas.microsoft.com/office/drawing/2014/main" id="{0C3D20FF-EC77-E7C4-6DA4-E6EE04EDE978}"/>
              </a:ext>
            </a:extLst>
          </p:cNvPr>
          <p:cNvSpPr txBox="1">
            <a:spLocks/>
          </p:cNvSpPr>
          <p:nvPr/>
        </p:nvSpPr>
        <p:spPr bwMode="auto">
          <a:xfrm>
            <a:off x="9108000" y="2952000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3EE2F86D-F8F9-40C9-510F-6AF7734A98A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684000" y="340200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shadow 3">
            <a:extLst>
              <a:ext uri="{FF2B5EF4-FFF2-40B4-BE49-F238E27FC236}">
                <a16:creationId xmlns:a16="http://schemas.microsoft.com/office/drawing/2014/main" id="{C7E09556-4E10-4E8E-8F27-2E6FE9C3029A}"/>
              </a:ext>
            </a:extLst>
          </p:cNvPr>
          <p:cNvSpPr txBox="1">
            <a:spLocks/>
          </p:cNvSpPr>
          <p:nvPr/>
        </p:nvSpPr>
        <p:spPr bwMode="auto">
          <a:xfrm>
            <a:off x="6255621" y="2952000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551825A6-BB31-1B00-F2F8-D25405DA9719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831621" y="340200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shadow 2">
            <a:extLst>
              <a:ext uri="{FF2B5EF4-FFF2-40B4-BE49-F238E27FC236}">
                <a16:creationId xmlns:a16="http://schemas.microsoft.com/office/drawing/2014/main" id="{DA8B71D9-4655-7437-39E3-0AB1CA3B82A0}"/>
              </a:ext>
            </a:extLst>
          </p:cNvPr>
          <p:cNvSpPr txBox="1">
            <a:spLocks/>
          </p:cNvSpPr>
          <p:nvPr/>
        </p:nvSpPr>
        <p:spPr bwMode="auto">
          <a:xfrm>
            <a:off x="3400526" y="2952000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B19C862-2460-7C26-7497-B8C83998F894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3976526" y="340200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" name="shadow 1">
            <a:extLst>
              <a:ext uri="{FF2B5EF4-FFF2-40B4-BE49-F238E27FC236}">
                <a16:creationId xmlns:a16="http://schemas.microsoft.com/office/drawing/2014/main" id="{C36CF54E-763F-7697-1224-2053F7A6814C}"/>
              </a:ext>
            </a:extLst>
          </p:cNvPr>
          <p:cNvSpPr txBox="1">
            <a:spLocks/>
          </p:cNvSpPr>
          <p:nvPr/>
        </p:nvSpPr>
        <p:spPr bwMode="auto">
          <a:xfrm>
            <a:off x="540000" y="2952000"/>
            <a:ext cx="2520000" cy="1440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3E3BC991-7447-49F8-384D-316C6A6198A2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116000" y="340200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FDF1F3F5-35AF-218A-96C9-50E5DFCBA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75140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4 : 15 logo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75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27864EB8-4E56-85B9-09A4-A8CDAC1D1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457849FC-F19D-3246-E4A3-0B33A1E267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5" name="date">
            <a:extLst>
              <a:ext uri="{FF2B5EF4-FFF2-40B4-BE49-F238E27FC236}">
                <a16:creationId xmlns:a16="http://schemas.microsoft.com/office/drawing/2014/main" id="{16D7681B-6A09-BE53-1C5E-32ECBACA06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5" name="shadow 15">
            <a:extLst>
              <a:ext uri="{FF2B5EF4-FFF2-40B4-BE49-F238E27FC236}">
                <a16:creationId xmlns:a16="http://schemas.microsoft.com/office/drawing/2014/main" id="{F7A327AE-B756-5909-A287-CE6816BF70A3}"/>
              </a:ext>
            </a:extLst>
          </p:cNvPr>
          <p:cNvSpPr txBox="1"/>
          <p:nvPr/>
        </p:nvSpPr>
        <p:spPr bwMode="auto">
          <a:xfrm>
            <a:off x="9624700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2E890C8E-9507-C2EE-FD9D-070CE31733E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948700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2" name="shadow 14">
            <a:extLst>
              <a:ext uri="{FF2B5EF4-FFF2-40B4-BE49-F238E27FC236}">
                <a16:creationId xmlns:a16="http://schemas.microsoft.com/office/drawing/2014/main" id="{6308BA18-E79D-6AF0-DD88-2CB7D71039F8}"/>
              </a:ext>
            </a:extLst>
          </p:cNvPr>
          <p:cNvSpPr txBox="1"/>
          <p:nvPr/>
        </p:nvSpPr>
        <p:spPr bwMode="auto">
          <a:xfrm>
            <a:off x="7353525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8" name="picture placeholder 14">
            <a:extLst>
              <a:ext uri="{FF2B5EF4-FFF2-40B4-BE49-F238E27FC236}">
                <a16:creationId xmlns:a16="http://schemas.microsoft.com/office/drawing/2014/main" id="{B813425A-0B5A-A6C1-9B5C-BA7BF0CBC71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77525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1" name="shadow 13">
            <a:extLst>
              <a:ext uri="{FF2B5EF4-FFF2-40B4-BE49-F238E27FC236}">
                <a16:creationId xmlns:a16="http://schemas.microsoft.com/office/drawing/2014/main" id="{E3690FE6-EE57-D29A-8461-8A8634B9A124}"/>
              </a:ext>
            </a:extLst>
          </p:cNvPr>
          <p:cNvSpPr txBox="1"/>
          <p:nvPr/>
        </p:nvSpPr>
        <p:spPr bwMode="auto">
          <a:xfrm>
            <a:off x="5082350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id="{2D846DC3-419F-48F8-0693-CE0C549D2F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406350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0" name="shadow 12">
            <a:extLst>
              <a:ext uri="{FF2B5EF4-FFF2-40B4-BE49-F238E27FC236}">
                <a16:creationId xmlns:a16="http://schemas.microsoft.com/office/drawing/2014/main" id="{C01EFD8A-CF76-DE2B-2523-5EF4DFD6DB07}"/>
              </a:ext>
            </a:extLst>
          </p:cNvPr>
          <p:cNvSpPr txBox="1"/>
          <p:nvPr/>
        </p:nvSpPr>
        <p:spPr bwMode="auto">
          <a:xfrm>
            <a:off x="2811175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97979B19-8D6D-216E-BB58-CC5DA169D86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135175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9" name="shadow 11">
            <a:extLst>
              <a:ext uri="{FF2B5EF4-FFF2-40B4-BE49-F238E27FC236}">
                <a16:creationId xmlns:a16="http://schemas.microsoft.com/office/drawing/2014/main" id="{D28B9D1A-11CC-CB5F-E8CF-4A73B2A59A6A}"/>
              </a:ext>
            </a:extLst>
          </p:cNvPr>
          <p:cNvSpPr txBox="1">
            <a:spLocks/>
          </p:cNvSpPr>
          <p:nvPr/>
        </p:nvSpPr>
        <p:spPr bwMode="auto">
          <a:xfrm>
            <a:off x="540000" y="5019007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6222EA8F-CAC8-E9BF-FF49-CFEA020DA8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64000" y="5325007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3" name="shadow 10">
            <a:extLst>
              <a:ext uri="{FF2B5EF4-FFF2-40B4-BE49-F238E27FC236}">
                <a16:creationId xmlns:a16="http://schemas.microsoft.com/office/drawing/2014/main" id="{95C0B03C-55FB-C62C-E364-1556C724573A}"/>
              </a:ext>
            </a:extLst>
          </p:cNvPr>
          <p:cNvSpPr txBox="1"/>
          <p:nvPr/>
        </p:nvSpPr>
        <p:spPr bwMode="auto">
          <a:xfrm>
            <a:off x="9624700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4" name="picture placeholder 10">
            <a:extLst>
              <a:ext uri="{FF2B5EF4-FFF2-40B4-BE49-F238E27FC236}">
                <a16:creationId xmlns:a16="http://schemas.microsoft.com/office/drawing/2014/main" id="{3415E750-564C-6C2E-8179-FB02127B1B2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48700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5" name="shadow 9">
            <a:extLst>
              <a:ext uri="{FF2B5EF4-FFF2-40B4-BE49-F238E27FC236}">
                <a16:creationId xmlns:a16="http://schemas.microsoft.com/office/drawing/2014/main" id="{E507B8D2-A0F0-5587-980E-3A659B8AC0A7}"/>
              </a:ext>
            </a:extLst>
          </p:cNvPr>
          <p:cNvSpPr txBox="1"/>
          <p:nvPr/>
        </p:nvSpPr>
        <p:spPr bwMode="auto">
          <a:xfrm>
            <a:off x="7353525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EB0D8851-BDC9-F498-DD52-ED7CFE7E800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677525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7" name="shadow 8">
            <a:extLst>
              <a:ext uri="{FF2B5EF4-FFF2-40B4-BE49-F238E27FC236}">
                <a16:creationId xmlns:a16="http://schemas.microsoft.com/office/drawing/2014/main" id="{D0426656-B4FC-5847-6338-9B9A8D7112CD}"/>
              </a:ext>
            </a:extLst>
          </p:cNvPr>
          <p:cNvSpPr txBox="1"/>
          <p:nvPr/>
        </p:nvSpPr>
        <p:spPr bwMode="auto">
          <a:xfrm>
            <a:off x="5082350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8" name="picture placeholder 8">
            <a:extLst>
              <a:ext uri="{FF2B5EF4-FFF2-40B4-BE49-F238E27FC236}">
                <a16:creationId xmlns:a16="http://schemas.microsoft.com/office/drawing/2014/main" id="{B2560046-7EB6-BDC9-1F54-A3979746E0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406350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9" name="shadow 7">
            <a:extLst>
              <a:ext uri="{FF2B5EF4-FFF2-40B4-BE49-F238E27FC236}">
                <a16:creationId xmlns:a16="http://schemas.microsoft.com/office/drawing/2014/main" id="{D2E766D9-38DC-248A-954A-4E74C064FF7F}"/>
              </a:ext>
            </a:extLst>
          </p:cNvPr>
          <p:cNvSpPr txBox="1"/>
          <p:nvPr/>
        </p:nvSpPr>
        <p:spPr bwMode="auto">
          <a:xfrm>
            <a:off x="2811175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50" name="picture placeholder7">
            <a:extLst>
              <a:ext uri="{FF2B5EF4-FFF2-40B4-BE49-F238E27FC236}">
                <a16:creationId xmlns:a16="http://schemas.microsoft.com/office/drawing/2014/main" id="{F76487B9-F4AF-E6A5-4443-382BCEB2EA6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135175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1" name="shadow 6">
            <a:extLst>
              <a:ext uri="{FF2B5EF4-FFF2-40B4-BE49-F238E27FC236}">
                <a16:creationId xmlns:a16="http://schemas.microsoft.com/office/drawing/2014/main" id="{D56C3795-4207-D0AA-FC9E-144372B2EBD1}"/>
              </a:ext>
            </a:extLst>
          </p:cNvPr>
          <p:cNvSpPr txBox="1">
            <a:spLocks/>
          </p:cNvSpPr>
          <p:nvPr/>
        </p:nvSpPr>
        <p:spPr bwMode="auto">
          <a:xfrm>
            <a:off x="540000" y="3493130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52" name="picture placeholder 6">
            <a:extLst>
              <a:ext uri="{FF2B5EF4-FFF2-40B4-BE49-F238E27FC236}">
                <a16:creationId xmlns:a16="http://schemas.microsoft.com/office/drawing/2014/main" id="{37E67FF7-7E9E-2FC2-5FA7-5201E3B205E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64000" y="3799130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6" name="shadow 5">
            <a:extLst>
              <a:ext uri="{FF2B5EF4-FFF2-40B4-BE49-F238E27FC236}">
                <a16:creationId xmlns:a16="http://schemas.microsoft.com/office/drawing/2014/main" id="{C79FA3F1-F561-3F99-2A55-D019E29194E5}"/>
              </a:ext>
            </a:extLst>
          </p:cNvPr>
          <p:cNvSpPr txBox="1"/>
          <p:nvPr/>
        </p:nvSpPr>
        <p:spPr bwMode="auto">
          <a:xfrm>
            <a:off x="9624700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7CD0061E-2BC7-26C2-D8B4-92212BE5823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948700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9" name="shadow 4">
            <a:extLst>
              <a:ext uri="{FF2B5EF4-FFF2-40B4-BE49-F238E27FC236}">
                <a16:creationId xmlns:a16="http://schemas.microsoft.com/office/drawing/2014/main" id="{B22BAA3B-3BAF-7F6D-2E45-A7D965E2BCE5}"/>
              </a:ext>
            </a:extLst>
          </p:cNvPr>
          <p:cNvSpPr txBox="1"/>
          <p:nvPr/>
        </p:nvSpPr>
        <p:spPr bwMode="auto">
          <a:xfrm>
            <a:off x="7353525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AB01EAA0-DDCA-971B-4B4E-DE2A18542BA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77525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3" name="shadow 3">
            <a:extLst>
              <a:ext uri="{FF2B5EF4-FFF2-40B4-BE49-F238E27FC236}">
                <a16:creationId xmlns:a16="http://schemas.microsoft.com/office/drawing/2014/main" id="{529FE05A-F57B-0FDA-0EBE-2F45E17F48A9}"/>
              </a:ext>
            </a:extLst>
          </p:cNvPr>
          <p:cNvSpPr txBox="1"/>
          <p:nvPr/>
        </p:nvSpPr>
        <p:spPr bwMode="auto">
          <a:xfrm>
            <a:off x="5082350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E26C8068-7A2A-FA29-70EA-420517E4EF2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406350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5" name="shadow 2">
            <a:extLst>
              <a:ext uri="{FF2B5EF4-FFF2-40B4-BE49-F238E27FC236}">
                <a16:creationId xmlns:a16="http://schemas.microsoft.com/office/drawing/2014/main" id="{6CA05DC6-CB1B-71CA-034A-FDCDB7BE5600}"/>
              </a:ext>
            </a:extLst>
          </p:cNvPr>
          <p:cNvSpPr txBox="1"/>
          <p:nvPr/>
        </p:nvSpPr>
        <p:spPr bwMode="auto">
          <a:xfrm>
            <a:off x="2811175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52A6AD52-E1BF-37E8-9BBE-0A801AE80C5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135175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7" name="shadow 1">
            <a:extLst>
              <a:ext uri="{FF2B5EF4-FFF2-40B4-BE49-F238E27FC236}">
                <a16:creationId xmlns:a16="http://schemas.microsoft.com/office/drawing/2014/main" id="{00A16438-B8EC-A4AE-1AEE-FE833F2207D7}"/>
              </a:ext>
            </a:extLst>
          </p:cNvPr>
          <p:cNvSpPr txBox="1">
            <a:spLocks/>
          </p:cNvSpPr>
          <p:nvPr/>
        </p:nvSpPr>
        <p:spPr bwMode="auto">
          <a:xfrm>
            <a:off x="540000" y="1967254"/>
            <a:ext cx="2016000" cy="1152000"/>
          </a:xfrm>
          <a:prstGeom prst="roundRect">
            <a:avLst>
              <a:gd name="adj" fmla="val 3619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algn="ctr">
              <a:defRPr sz="1300" b="1"/>
            </a:lvl1pPr>
          </a:lstStyle>
          <a:p>
            <a:endParaRPr lang="de-DE"/>
          </a:p>
        </p:txBody>
      </p:sp>
      <p:sp>
        <p:nvSpPr>
          <p:cNvPr id="42" name="picture placeholder 1">
            <a:extLst>
              <a:ext uri="{FF2B5EF4-FFF2-40B4-BE49-F238E27FC236}">
                <a16:creationId xmlns:a16="http://schemas.microsoft.com/office/drawing/2014/main" id="{E3468FD3-7243-81CD-BC4B-74253980B3D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64000" y="2273254"/>
            <a:ext cx="1368000" cy="540000"/>
          </a:xfrm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458179CF-D7D7-459E-377F-D528CB0C38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30216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5 : 9 texts : 9 subtexts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DDA5B5E-9681-3716-0A3B-F9B623E5B2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87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DDA5B5E-9681-3716-0A3B-F9B623E5B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">
            <a:extLst>
              <a:ext uri="{FF2B5EF4-FFF2-40B4-BE49-F238E27FC236}">
                <a16:creationId xmlns:a16="http://schemas.microsoft.com/office/drawing/2014/main" id="{4EDD90E2-7D27-01D2-E549-61AA512422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4C379F78-EEFB-61C0-EFF4-B2B0EB7AA9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2" name="date">
            <a:extLst>
              <a:ext uri="{FF2B5EF4-FFF2-40B4-BE49-F238E27FC236}">
                <a16:creationId xmlns:a16="http://schemas.microsoft.com/office/drawing/2014/main" id="{39A2B28A-0BE2-76F0-E9F0-A9CB1C16FA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45" name="text 9">
            <a:extLst>
              <a:ext uri="{FF2B5EF4-FFF2-40B4-BE49-F238E27FC236}">
                <a16:creationId xmlns:a16="http://schemas.microsoft.com/office/drawing/2014/main" id="{66A3462E-C486-481A-21E6-0F68EBD51B9F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8293138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8">
            <a:extLst>
              <a:ext uri="{FF2B5EF4-FFF2-40B4-BE49-F238E27FC236}">
                <a16:creationId xmlns:a16="http://schemas.microsoft.com/office/drawing/2014/main" id="{0CE0BC1D-D256-6F58-D0E2-B49E48E01908}"/>
              </a:ext>
            </a:extLst>
          </p:cNvPr>
          <p:cNvSpPr>
            <a:spLocks noGrp="1"/>
          </p:cNvSpPr>
          <p:nvPr>
            <p:ph type="body" idx="48"/>
          </p:nvPr>
        </p:nvSpPr>
        <p:spPr>
          <a:xfrm>
            <a:off x="4549138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 7">
            <a:extLst>
              <a:ext uri="{FF2B5EF4-FFF2-40B4-BE49-F238E27FC236}">
                <a16:creationId xmlns:a16="http://schemas.microsoft.com/office/drawing/2014/main" id="{4286180F-18BA-96F9-0338-BC3BCC1C3BF1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851996" y="497102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6">
            <a:extLst>
              <a:ext uri="{FF2B5EF4-FFF2-40B4-BE49-F238E27FC236}">
                <a16:creationId xmlns:a16="http://schemas.microsoft.com/office/drawing/2014/main" id="{FA2EA2AE-37E9-3C8B-0FB6-5605ED402655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8293138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 5">
            <a:extLst>
              <a:ext uri="{FF2B5EF4-FFF2-40B4-BE49-F238E27FC236}">
                <a16:creationId xmlns:a16="http://schemas.microsoft.com/office/drawing/2014/main" id="{C0E17200-E0A1-E7DF-9AC9-E70558F0E115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4549138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4">
            <a:extLst>
              <a:ext uri="{FF2B5EF4-FFF2-40B4-BE49-F238E27FC236}">
                <a16:creationId xmlns:a16="http://schemas.microsoft.com/office/drawing/2014/main" id="{534CD5F5-02DD-F1D1-5093-97A671F920C8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851996" y="3405506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3">
            <a:extLst>
              <a:ext uri="{FF2B5EF4-FFF2-40B4-BE49-F238E27FC236}">
                <a16:creationId xmlns:a16="http://schemas.microsoft.com/office/drawing/2014/main" id="{7810A71F-77E2-A86A-AC75-1289914984B5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8293138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2">
            <a:extLst>
              <a:ext uri="{FF2B5EF4-FFF2-40B4-BE49-F238E27FC236}">
                <a16:creationId xmlns:a16="http://schemas.microsoft.com/office/drawing/2014/main" id="{9F50B442-010B-5F54-4DC4-C86FE80AE092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4549138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99949031-B22E-AA1C-EED8-1CB03BD65C03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851996" y="1821048"/>
            <a:ext cx="3060000" cy="864000"/>
          </a:xfrm>
        </p:spPr>
        <p:txBody>
          <a:bodyPr tIns="72000" anchor="t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None/>
              <a:defRPr lang="en-US" sz="5000" b="0" kern="1200" spc="0" baseline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519A8DE-5D27-118F-DCF9-2A48373C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navigation">
            <a:extLst>
              <a:ext uri="{FF2B5EF4-FFF2-40B4-BE49-F238E27FC236}">
                <a16:creationId xmlns:a16="http://schemas.microsoft.com/office/drawing/2014/main" id="{3435F76F-05FA-0797-ECF7-8C6766ACF8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769374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6 : full page picture : 1 gradientextcircle : 2 oval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9629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full size">
            <a:extLst>
              <a:ext uri="{FF2B5EF4-FFF2-40B4-BE49-F238E27FC236}">
                <a16:creationId xmlns:a16="http://schemas.microsoft.com/office/drawing/2014/main" id="{940ECA07-E3D7-CFCA-C677-0BD690AD1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  <a:solidFill>
            <a:schemeClr val="bg1"/>
          </a:solidFill>
          <a:ln w="3175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82825752-3B68-DCA6-D70E-76EBF0465B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CC9A477D-5A61-55EA-5B62-A43CEB429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C779AB2A-12B9-D58C-7C6A-E4F2B83542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4" name="text oval right">
            <a:extLst>
              <a:ext uri="{FF2B5EF4-FFF2-40B4-BE49-F238E27FC236}">
                <a16:creationId xmlns:a16="http://schemas.microsoft.com/office/drawing/2014/main" id="{D77C710B-9746-E994-9BDC-7999D1E292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22495" y="2808000"/>
            <a:ext cx="4680000" cy="19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260000" bIns="0" rtlCol="0" anchor="ctr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0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0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0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0000"/>
              </a:lnSpc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11" name="text oval left">
            <a:extLst>
              <a:ext uri="{FF2B5EF4-FFF2-40B4-BE49-F238E27FC236}">
                <a16:creationId xmlns:a16="http://schemas.microsoft.com/office/drawing/2014/main" id="{A2CE80B2-8B9A-D0FB-C427-6D3137DAE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85495" y="2808000"/>
            <a:ext cx="4140000" cy="19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0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0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0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0000"/>
              </a:lnSpc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15" name="text circle">
            <a:extLst>
              <a:ext uri="{FF2B5EF4-FFF2-40B4-BE49-F238E27FC236}">
                <a16:creationId xmlns:a16="http://schemas.microsoft.com/office/drawing/2014/main" id="{3C8F43FB-572A-C67D-FEEB-4E1A842D7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31317" y="2628000"/>
            <a:ext cx="2340000" cy="234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2" name="logo placeholder">
            <a:extLst>
              <a:ext uri="{FF2B5EF4-FFF2-40B4-BE49-F238E27FC236}">
                <a16:creationId xmlns:a16="http://schemas.microsoft.com/office/drawing/2014/main" id="{D57049B8-749E-2B11-2F57-B8905BF5862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04138522-C695-4395-F275-BCB54A94B6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cxnSp>
        <p:nvCxnSpPr>
          <p:cNvPr id="12" name="connector">
            <a:extLst>
              <a:ext uri="{FF2B5EF4-FFF2-40B4-BE49-F238E27FC236}">
                <a16:creationId xmlns:a16="http://schemas.microsoft.com/office/drawing/2014/main" id="{F549B968-1A43-E541-5F5B-21B5103CEE9F}"/>
              </a:ext>
            </a:extLst>
          </p:cNvPr>
          <p:cNvCxnSpPr>
            <a:cxnSpLocks/>
          </p:cNvCxnSpPr>
          <p:nvPr/>
        </p:nvCxnSpPr>
        <p:spPr>
          <a:xfrm flipH="1" flipV="1">
            <a:off x="4371975" y="3797301"/>
            <a:ext cx="312738" cy="793"/>
          </a:xfrm>
          <a:prstGeom prst="line">
            <a:avLst/>
          </a:prstGeom>
          <a:ln w="127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347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7 : full page picture : cit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831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">
            <a:extLst>
              <a:ext uri="{FF2B5EF4-FFF2-40B4-BE49-F238E27FC236}">
                <a16:creationId xmlns:a16="http://schemas.microsoft.com/office/drawing/2014/main" id="{940ECA07-E3D7-CFCA-C677-0BD690AD1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B7DF5438-CE54-DB76-7519-6B492C3531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F49D278-F4EF-105E-D394-837DBAD3E5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E6CEDB-A8CD-4A71-1981-445288A065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5" name="text box">
            <a:extLst>
              <a:ext uri="{FF2B5EF4-FFF2-40B4-BE49-F238E27FC236}">
                <a16:creationId xmlns:a16="http://schemas.microsoft.com/office/drawing/2014/main" id="{3C8F43FB-572A-C67D-FEEB-4E1A842D7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0" y="648000"/>
            <a:ext cx="4320000" cy="5688000"/>
          </a:xfrm>
          <a:prstGeom prst="roundRect">
            <a:avLst>
              <a:gd name="adj" fmla="val 1968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effectLst>
            <a:outerShdw blurRad="762000" dist="254000" dir="5400000" algn="ctr" rotWithShape="0">
              <a:schemeClr val="tx1">
                <a:alpha val="30000"/>
              </a:schemeClr>
            </a:outerShdw>
          </a:effectLst>
        </p:spPr>
        <p:txBody>
          <a:bodyPr lIns="540000" tIns="432000" rIns="540000" anchor="t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algn="ctr"/>
            <a:r>
              <a:rPr lang="de-DE" sz="3200" b="1">
                <a:solidFill>
                  <a:schemeClr val="bg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Mastertextformat bearbeiten</a:t>
            </a:r>
          </a:p>
        </p:txBody>
      </p:sp>
      <p:sp>
        <p:nvSpPr>
          <p:cNvPr id="26" name="quote sign">
            <a:extLst>
              <a:ext uri="{FF2B5EF4-FFF2-40B4-BE49-F238E27FC236}">
                <a16:creationId xmlns:a16="http://schemas.microsoft.com/office/drawing/2014/main" id="{C5A90AA4-840E-FD16-AF55-175C0E43A9A5}"/>
              </a:ext>
            </a:extLst>
          </p:cNvPr>
          <p:cNvSpPr/>
          <p:nvPr/>
        </p:nvSpPr>
        <p:spPr>
          <a:xfrm>
            <a:off x="2160000" y="927420"/>
            <a:ext cx="681460" cy="576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 below">
            <a:extLst>
              <a:ext uri="{FF2B5EF4-FFF2-40B4-BE49-F238E27FC236}">
                <a16:creationId xmlns:a16="http://schemas.microsoft.com/office/drawing/2014/main" id="{A2CE80B2-8B9A-D0FB-C427-6D3137DAE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86797" y="3429000"/>
            <a:ext cx="3204000" cy="2736849"/>
          </a:xfrm>
          <a:prstGeom prst="rect">
            <a:avLst/>
          </a:prstGeom>
          <a:noFill/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 anchor="t">
            <a:noAutofit/>
          </a:bodyPr>
          <a:lstStyle>
            <a:lvl1pPr>
              <a:defRPr lang="en-US" sz="1200" i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3pPr>
            <a:lvl4pPr>
              <a:defRPr lang="en-US" sz="1200" dirty="0">
                <a:solidFill>
                  <a:schemeClr val="bg1"/>
                </a:solidFill>
              </a:defRPr>
            </a:lvl4pPr>
            <a:lvl5pPr>
              <a:defRPr lang="en-US" sz="1600" dirty="0">
                <a:solidFill>
                  <a:schemeClr val="bg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0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0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0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0000"/>
              </a:lnSpc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2" name="logo placeholder">
            <a:extLst>
              <a:ext uri="{FF2B5EF4-FFF2-40B4-BE49-F238E27FC236}">
                <a16:creationId xmlns:a16="http://schemas.microsoft.com/office/drawing/2014/main" id="{F34A17B4-9EFA-E101-8CCF-87C31702833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0D8B8A8A-402D-C8A1-B168-F98BC5DD29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84807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7a : citiation large text :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085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full size">
            <a:extLst>
              <a:ext uri="{FF2B5EF4-FFF2-40B4-BE49-F238E27FC236}">
                <a16:creationId xmlns:a16="http://schemas.microsoft.com/office/drawing/2014/main" id="{23C638FC-BC3A-342E-0C98-F526F40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EDBA17E5-A876-6E6B-BBEE-4194613D4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">
            <a:extLst>
              <a:ext uri="{FF2B5EF4-FFF2-40B4-BE49-F238E27FC236}">
                <a16:creationId xmlns:a16="http://schemas.microsoft.com/office/drawing/2014/main" id="{FAA925A6-1C0D-E6FF-6BEF-B0D9DC0851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66863C84-EB36-E341-8913-58798A12DA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5" name="citiation right">
            <a:extLst>
              <a:ext uri="{FF2B5EF4-FFF2-40B4-BE49-F238E27FC236}">
                <a16:creationId xmlns:a16="http://schemas.microsoft.com/office/drawing/2014/main" id="{A4866143-830C-FF0D-2A28-1EC4A994D9BD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624455" y="1690469"/>
            <a:ext cx="4319999" cy="3979529"/>
          </a:xfrm>
          <a:prstGeom prst="roundRect">
            <a:avLst>
              <a:gd name="adj" fmla="val 134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792000" tIns="216000" rIns="792000" bIns="216000" anchor="ctr"/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10" name="quote sign">
            <a:extLst>
              <a:ext uri="{FF2B5EF4-FFF2-40B4-BE49-F238E27FC236}">
                <a16:creationId xmlns:a16="http://schemas.microsoft.com/office/drawing/2014/main" id="{D18DFA0B-61B2-AE97-4F3F-68EEA959D74B}"/>
              </a:ext>
            </a:extLst>
          </p:cNvPr>
          <p:cNvSpPr/>
          <p:nvPr/>
        </p:nvSpPr>
        <p:spPr>
          <a:xfrm>
            <a:off x="682294" y="1495240"/>
            <a:ext cx="1236994" cy="10466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citiation left">
            <a:extLst>
              <a:ext uri="{FF2B5EF4-FFF2-40B4-BE49-F238E27FC236}">
                <a16:creationId xmlns:a16="http://schemas.microsoft.com/office/drawing/2014/main" id="{A3635072-3A3F-1D94-8195-E86197AF679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539999" y="1799999"/>
            <a:ext cx="5580000" cy="3780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0" b="1" kern="1200" baseline="0" noProof="0" dirty="0" smtClean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5400000" scaled="1"/>
                </a:gradFill>
                <a:latin typeface="Segoe UI Semibold" panose="020B0502040204020203" pitchFamily="34" charset="0"/>
                <a:ea typeface="Calibri" panose="020F0502020204030204" pitchFamily="34" charset="0"/>
                <a:cs typeface="Segoe UI Semibold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8AD8282-E041-B6A9-3DC9-7682010AF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11AA186C-0972-345D-F7FB-A611D12F0E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33666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3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797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>
            <a:extLst>
              <a:ext uri="{FF2B5EF4-FFF2-40B4-BE49-F238E27FC236}">
                <a16:creationId xmlns:a16="http://schemas.microsoft.com/office/drawing/2014/main" id="{BC8BA2C0-FF86-7160-B605-4AFD8142A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68B1DC0-E2F4-964B-BEBC-F781A34B4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0BFB18-B358-A527-A325-CBA53A65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151C2032-2FFD-81F1-32B0-C2E2F77BD5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773287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8 : button : circle picture right : Icon :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97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">
            <a:extLst>
              <a:ext uri="{FF2B5EF4-FFF2-40B4-BE49-F238E27FC236}">
                <a16:creationId xmlns:a16="http://schemas.microsoft.com/office/drawing/2014/main" id="{0948C084-3C49-6E92-DCE7-1A0796F0D702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6712D566-0995-64A7-66F3-7FB1B2204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49076240-8AB9-3F65-C821-1D75377EA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4B85E798-6E3A-844A-0896-FCF20C1991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" name="picture freeform">
            <a:extLst>
              <a:ext uri="{FF2B5EF4-FFF2-40B4-BE49-F238E27FC236}">
                <a16:creationId xmlns:a16="http://schemas.microsoft.com/office/drawing/2014/main" id="{E77A569B-F732-9AEF-CC11-01CD2C0334C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circle 1">
            <a:extLst>
              <a:ext uri="{FF2B5EF4-FFF2-40B4-BE49-F238E27FC236}">
                <a16:creationId xmlns:a16="http://schemas.microsoft.com/office/drawing/2014/main" id="{BC785D15-73D4-9F44-D7D8-DE973EA0353F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164997" y="2633900"/>
            <a:ext cx="1620000" cy="162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Icon-placeholder 1">
            <a:extLst>
              <a:ext uri="{FF2B5EF4-FFF2-40B4-BE49-F238E27FC236}">
                <a16:creationId xmlns:a16="http://schemas.microsoft.com/office/drawing/2014/main" id="{08475AEA-7ACB-8822-C278-96007F06C2A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524997" y="2993900"/>
            <a:ext cx="900000" cy="90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link">
            <a:extLst>
              <a:ext uri="{FF2B5EF4-FFF2-40B4-BE49-F238E27FC236}">
                <a16:creationId xmlns:a16="http://schemas.microsoft.com/office/drawing/2014/main" id="{78CFD0F5-D130-0748-C27D-439E1A984A1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550863" y="3928094"/>
            <a:ext cx="1800000" cy="360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108000" tIns="0" rIns="108000" bIns="36000" rtlCol="0" anchor="ctr">
            <a:noAutofit/>
          </a:bodyPr>
          <a:lstStyle>
            <a:lvl1pPr>
              <a:defRPr lang="en-DE" sz="1200" cap="all" spc="4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49" name="subhead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2649538"/>
            <a:ext cx="5400000" cy="1080000"/>
          </a:xfrm>
          <a:noFill/>
        </p:spPr>
        <p:txBody>
          <a:bodyPr vert="horz" lIns="0" tIns="0" rIns="0" bIns="0" rtlCol="0">
            <a:noAutofit/>
          </a:bodyPr>
          <a:lstStyle>
            <a:lvl1pPr algn="l">
              <a:lnSpc>
                <a:spcPct val="100000"/>
              </a:lnSpc>
              <a:defRPr lang="en-US" sz="14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F5BB7C3B-9C68-9E36-993B-AE7ED29AE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0713"/>
            <a:ext cx="5400000" cy="1728787"/>
          </a:xfrm>
        </p:spPr>
        <p:txBody>
          <a:bodyPr vert="horz" anchor="b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145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39 : 60pt black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929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hape">
            <a:extLst>
              <a:ext uri="{FF2B5EF4-FFF2-40B4-BE49-F238E27FC236}">
                <a16:creationId xmlns:a16="http://schemas.microsoft.com/office/drawing/2014/main" id="{3A8A5451-BC54-CF66-45C7-1AAB95FB65A1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2F8D9B-DF69-555B-800C-8ADC4ADF18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C9D26DD4-C6C1-6BA0-335B-0C75BD8475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FCDC5009-F380-8E8C-EB3C-6FA6981D1B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D055392A-66DF-B5A8-490D-AAE53E075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0713"/>
            <a:ext cx="9649029" cy="5544287"/>
          </a:xfrm>
        </p:spPr>
        <p:txBody>
          <a:bodyPr vert="horz" anchor="ctr" anchorCtr="0"/>
          <a:lstStyle>
            <a:lvl1pPr>
              <a:lnSpc>
                <a:spcPct val="100000"/>
              </a:lnSpc>
              <a:defRPr lang="en-US" sz="6000" b="1" kern="1200" baseline="0" noProof="0" dirty="0">
                <a:solidFill>
                  <a:schemeClr val="tx1"/>
                </a:solidFill>
                <a:latin typeface="Segoe UI Semibold" panose="020B0502040204020203" pitchFamily="34" charset="0"/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5334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0 : picture full size : 60pt white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704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ll size picture">
            <a:extLst>
              <a:ext uri="{FF2B5EF4-FFF2-40B4-BE49-F238E27FC236}">
                <a16:creationId xmlns:a16="http://schemas.microsoft.com/office/drawing/2014/main" id="{7A7E08B6-BD3C-57EF-6FE8-694BE5ACAE7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/>
          </a:solidFill>
          <a:ln w="12692" cap="flat">
            <a:noFill/>
            <a:prstDash val="solid"/>
            <a:miter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9A7F2AB-CD90-A9B9-9856-54B2A40E7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62BD523D-7BC3-2DEF-3802-01ECC7DED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FC8A5331-6A12-6483-81EF-B3F6E6618A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D055392A-66DF-B5A8-490D-AAE53E075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41324"/>
            <a:ext cx="11088000" cy="5724525"/>
          </a:xfrm>
        </p:spPr>
        <p:txBody>
          <a:bodyPr vert="horz" anchor="b" anchorCtr="0"/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75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1a : title page shape right :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331D037A-AEB6-6084-9329-05FC9DDD9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045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0" progId="TCLayout.ActiveDocument.1">
                  <p:embed/>
                </p:oleObj>
              </mc:Choice>
              <mc:Fallback>
                <p:oleObj name="think-cell Slide" r:id="rId3" imgW="501" imgH="50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331D037A-AEB6-6084-9329-05FC9DDD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">
            <a:extLst>
              <a:ext uri="{FF2B5EF4-FFF2-40B4-BE49-F238E27FC236}">
                <a16:creationId xmlns:a16="http://schemas.microsoft.com/office/drawing/2014/main" id="{4BB14D95-49AB-4529-5662-66D2A1B2685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6120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6120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2108200"/>
            <a:ext cx="6120000" cy="16718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ustomer logo">
            <a:extLst>
              <a:ext uri="{FF2B5EF4-FFF2-40B4-BE49-F238E27FC236}">
                <a16:creationId xmlns:a16="http://schemas.microsoft.com/office/drawing/2014/main" id="{F29030CF-FCFE-645A-2C3D-221138F146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6000" y="1479856"/>
            <a:ext cx="2124000" cy="468000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Optional </a:t>
            </a:r>
            <a:br>
              <a:rPr lang="de-DE"/>
            </a:br>
            <a:r>
              <a:rPr lang="de-DE"/>
              <a:t>CUSTOMER LOGO</a:t>
            </a:r>
            <a:endParaRPr lang="en-US"/>
          </a:p>
        </p:txBody>
      </p:sp>
      <p:pic>
        <p:nvPicPr>
          <p:cNvPr id="55" name="valantic logo">
            <a:extLst>
              <a:ext uri="{FF2B5EF4-FFF2-40B4-BE49-F238E27FC236}">
                <a16:creationId xmlns:a16="http://schemas.microsoft.com/office/drawing/2014/main" id="{F7AE2AE6-2DD6-B611-8273-3605A63BC1C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147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2 : title page shape left 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331D037A-AEB6-6084-9329-05FC9DDD9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30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0" progId="TCLayout.ActiveDocument.1">
                  <p:embed/>
                </p:oleObj>
              </mc:Choice>
              <mc:Fallback>
                <p:oleObj name="think-cell Slide" r:id="rId3" imgW="501" imgH="50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331D037A-AEB6-6084-9329-05FC9DDD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">
            <a:extLst>
              <a:ext uri="{FF2B5EF4-FFF2-40B4-BE49-F238E27FC236}">
                <a16:creationId xmlns:a16="http://schemas.microsoft.com/office/drawing/2014/main" id="{AD6F41C9-4A93-32C8-6A07-1E2E6A0F1E71}"/>
              </a:ext>
            </a:extLst>
          </p:cNvPr>
          <p:cNvSpPr/>
          <p:nvPr/>
        </p:nvSpPr>
        <p:spPr>
          <a:xfrm>
            <a:off x="0" y="0"/>
            <a:ext cx="5447966" cy="5679440"/>
          </a:xfrm>
          <a:custGeom>
            <a:avLst/>
            <a:gdLst>
              <a:gd name="connsiteX0" fmla="*/ 0 w 5447966"/>
              <a:gd name="connsiteY0" fmla="*/ 5679440 h 5679440"/>
              <a:gd name="connsiteX1" fmla="*/ 1985010 w 5447966"/>
              <a:gd name="connsiteY1" fmla="*/ 4832350 h 5679440"/>
              <a:gd name="connsiteX2" fmla="*/ 5369560 w 5447966"/>
              <a:gd name="connsiteY2" fmla="*/ 1478280 h 5679440"/>
              <a:gd name="connsiteX3" fmla="*/ 5394960 w 5447966"/>
              <a:gd name="connsiteY3" fmla="*/ 0 h 5679440"/>
              <a:gd name="connsiteX4" fmla="*/ 0 w 5447966"/>
              <a:gd name="connsiteY4" fmla="*/ 0 h 5679440"/>
              <a:gd name="connsiteX5" fmla="*/ 0 w 5447966"/>
              <a:gd name="connsiteY5" fmla="*/ 5679440 h 5679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47966" h="5679440">
                <a:moveTo>
                  <a:pt x="0" y="5679440"/>
                </a:moveTo>
                <a:cubicBezTo>
                  <a:pt x="386080" y="5322570"/>
                  <a:pt x="1009650" y="5035550"/>
                  <a:pt x="1985010" y="4832350"/>
                </a:cubicBezTo>
                <a:cubicBezTo>
                  <a:pt x="3644900" y="4525010"/>
                  <a:pt x="5027930" y="3234690"/>
                  <a:pt x="5369560" y="1478280"/>
                </a:cubicBezTo>
                <a:cubicBezTo>
                  <a:pt x="5467350" y="976630"/>
                  <a:pt x="5471160" y="477520"/>
                  <a:pt x="5394960" y="0"/>
                </a:cubicBezTo>
                <a:lnTo>
                  <a:pt x="0" y="0"/>
                </a:lnTo>
                <a:lnTo>
                  <a:pt x="0" y="567944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9100" y="5220000"/>
            <a:ext cx="5305138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2238" y="3960000"/>
            <a:ext cx="5292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2238" y="1800000"/>
            <a:ext cx="5292000" cy="19800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picture">
            <a:extLst>
              <a:ext uri="{FF2B5EF4-FFF2-40B4-BE49-F238E27FC236}">
                <a16:creationId xmlns:a16="http://schemas.microsoft.com/office/drawing/2014/main" id="{CEA84F44-0235-7522-0E1C-89824049EB0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40000" y="1476000"/>
            <a:ext cx="4392000" cy="4392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7" name="valantic logo">
            <a:extLst>
              <a:ext uri="{FF2B5EF4-FFF2-40B4-BE49-F238E27FC236}">
                <a16:creationId xmlns:a16="http://schemas.microsoft.com/office/drawing/2014/main" id="{229F41A1-E67C-3D74-44C9-B4997EBD3AC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168552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507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3 : title page shape right :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331D037A-AEB6-6084-9329-05FC9DDD9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373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0" progId="TCLayout.ActiveDocument.1">
                  <p:embed/>
                </p:oleObj>
              </mc:Choice>
              <mc:Fallback>
                <p:oleObj name="think-cell Slide" r:id="rId3" imgW="501" imgH="50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331D037A-AEB6-6084-9329-05FC9DDD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">
            <a:extLst>
              <a:ext uri="{FF2B5EF4-FFF2-40B4-BE49-F238E27FC236}">
                <a16:creationId xmlns:a16="http://schemas.microsoft.com/office/drawing/2014/main" id="{13C4ED9C-0F15-4EBF-24ED-452F2FAAA345}"/>
              </a:ext>
            </a:extLst>
          </p:cNvPr>
          <p:cNvSpPr/>
          <p:nvPr/>
        </p:nvSpPr>
        <p:spPr>
          <a:xfrm>
            <a:off x="6240779" y="0"/>
            <a:ext cx="5951220" cy="6858000"/>
          </a:xfrm>
          <a:custGeom>
            <a:avLst/>
            <a:gdLst>
              <a:gd name="connsiteX0" fmla="*/ 4410710 w 5951220"/>
              <a:gd name="connsiteY0" fmla="*/ 2077720 h 6858000"/>
              <a:gd name="connsiteX1" fmla="*/ 4418330 w 5951220"/>
              <a:gd name="connsiteY1" fmla="*/ 2137410 h 6858000"/>
              <a:gd name="connsiteX2" fmla="*/ 4418330 w 5951220"/>
              <a:gd name="connsiteY2" fmla="*/ 2137410 h 6858000"/>
              <a:gd name="connsiteX3" fmla="*/ 3103880 w 5951220"/>
              <a:gd name="connsiteY3" fmla="*/ 3703320 h 6858000"/>
              <a:gd name="connsiteX4" fmla="*/ 3103880 w 5951220"/>
              <a:gd name="connsiteY4" fmla="*/ 3703320 h 6858000"/>
              <a:gd name="connsiteX5" fmla="*/ 0 w 5951220"/>
              <a:gd name="connsiteY5" fmla="*/ 6858000 h 6858000"/>
              <a:gd name="connsiteX6" fmla="*/ 5951220 w 5951220"/>
              <a:gd name="connsiteY6" fmla="*/ 6858000 h 6858000"/>
              <a:gd name="connsiteX7" fmla="*/ 5951220 w 5951220"/>
              <a:gd name="connsiteY7" fmla="*/ 0 h 6858000"/>
              <a:gd name="connsiteX8" fmla="*/ 4947920 w 5951220"/>
              <a:gd name="connsiteY8" fmla="*/ 0 h 6858000"/>
              <a:gd name="connsiteX9" fmla="*/ 4410710 w 5951220"/>
              <a:gd name="connsiteY9" fmla="*/ 20777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51220" h="6858000">
                <a:moveTo>
                  <a:pt x="4410710" y="2077720"/>
                </a:moveTo>
                <a:cubicBezTo>
                  <a:pt x="4413251" y="2098040"/>
                  <a:pt x="4415790" y="2117090"/>
                  <a:pt x="4418330" y="2137410"/>
                </a:cubicBezTo>
                <a:lnTo>
                  <a:pt x="4418330" y="2137410"/>
                </a:lnTo>
                <a:cubicBezTo>
                  <a:pt x="4540251" y="2990850"/>
                  <a:pt x="4259580" y="3456940"/>
                  <a:pt x="3103880" y="3703320"/>
                </a:cubicBezTo>
                <a:lnTo>
                  <a:pt x="3103880" y="3703320"/>
                </a:lnTo>
                <a:cubicBezTo>
                  <a:pt x="1507490" y="4041140"/>
                  <a:pt x="303530" y="5308600"/>
                  <a:pt x="0" y="6858000"/>
                </a:cubicBezTo>
                <a:lnTo>
                  <a:pt x="5951220" y="6858000"/>
                </a:lnTo>
                <a:lnTo>
                  <a:pt x="5951220" y="0"/>
                </a:lnTo>
                <a:lnTo>
                  <a:pt x="4947920" y="0"/>
                </a:lnTo>
                <a:cubicBezTo>
                  <a:pt x="4527551" y="579120"/>
                  <a:pt x="4316730" y="1311910"/>
                  <a:pt x="4410710" y="2077720"/>
                </a:cubicBez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47" name="picture">
            <a:extLst>
              <a:ext uri="{FF2B5EF4-FFF2-40B4-BE49-F238E27FC236}">
                <a16:creationId xmlns:a16="http://schemas.microsoft.com/office/drawing/2014/main" id="{4D41E0E2-1CE2-8D15-96F8-054C2EE83B0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084000" y="1512000"/>
            <a:ext cx="3960000" cy="396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5292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5292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1800000"/>
            <a:ext cx="5292000" cy="19800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valantic logo">
            <a:extLst>
              <a:ext uri="{FF2B5EF4-FFF2-40B4-BE49-F238E27FC236}">
                <a16:creationId xmlns:a16="http://schemas.microsoft.com/office/drawing/2014/main" id="{E8200BE0-EDC6-CB39-DA8C-60765B9CA79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303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4 : divid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2846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">
            <a:extLst>
              <a:ext uri="{FF2B5EF4-FFF2-40B4-BE49-F238E27FC236}">
                <a16:creationId xmlns:a16="http://schemas.microsoft.com/office/drawing/2014/main" id="{91DFF449-D72F-DDBE-0BB0-4D8362D0D732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9E683A2-BFBA-78E2-EFF4-F23E8ACF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174BBD4C-7E24-6348-4F34-59081BDF91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B52345E1-CD1E-D49E-138C-5E5472A96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48" name="subhead">
            <a:extLst>
              <a:ext uri="{FF2B5EF4-FFF2-40B4-BE49-F238E27FC236}">
                <a16:creationId xmlns:a16="http://schemas.microsoft.com/office/drawing/2014/main" id="{0077CA06-319C-1757-577C-479DBCF8C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960000"/>
            <a:ext cx="8280000" cy="2025850"/>
          </a:xfr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20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3" name="divider title">
            <a:extLst>
              <a:ext uri="{FF2B5EF4-FFF2-40B4-BE49-F238E27FC236}">
                <a16:creationId xmlns:a16="http://schemas.microsoft.com/office/drawing/2014/main" id="{776D3A14-B2FD-F1C5-2103-0893E5BCE8D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9999" y="1476000"/>
            <a:ext cx="8279999" cy="2304000"/>
          </a:xfrm>
        </p:spPr>
        <p:txBody>
          <a:bodyPr anchor="b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3600" b="0" kern="1200" spc="0" baseline="0" smtClean="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9680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5 : divider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436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">
            <a:extLst>
              <a:ext uri="{FF2B5EF4-FFF2-40B4-BE49-F238E27FC236}">
                <a16:creationId xmlns:a16="http://schemas.microsoft.com/office/drawing/2014/main" id="{4F872331-0C1C-6CEC-F8B3-B6873CFEB938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1204BDC-B53F-866C-E006-7747A3EAC7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07BA8968-D70C-9A3A-45ED-C7A9292CB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DD043EB8-D7A3-B72D-10FA-90C0F1116F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picture freeform">
            <a:extLst>
              <a:ext uri="{FF2B5EF4-FFF2-40B4-BE49-F238E27FC236}">
                <a16:creationId xmlns:a16="http://schemas.microsoft.com/office/drawing/2014/main" id="{1434E581-EF0A-42F8-0436-AF47C2A2118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8" name="subhead">
            <a:extLst>
              <a:ext uri="{FF2B5EF4-FFF2-40B4-BE49-F238E27FC236}">
                <a16:creationId xmlns:a16="http://schemas.microsoft.com/office/drawing/2014/main" id="{0077CA06-319C-1757-577C-479DBCF8C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960000"/>
            <a:ext cx="6120000" cy="2025850"/>
          </a:xfr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2000" i="0" dirty="0" smtClean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7" name="divider title">
            <a:extLst>
              <a:ext uri="{FF2B5EF4-FFF2-40B4-BE49-F238E27FC236}">
                <a16:creationId xmlns:a16="http://schemas.microsoft.com/office/drawing/2014/main" id="{7027E245-FD12-05E9-6D4F-9152F88853B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9999" y="1476000"/>
            <a:ext cx="6120000" cy="2304000"/>
          </a:xfrm>
        </p:spPr>
        <p:txBody>
          <a:bodyPr anchor="b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3600" b="0" kern="1200" spc="0" baseline="0" smtClean="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522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6 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435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">
            <a:extLst>
              <a:ext uri="{FF2B5EF4-FFF2-40B4-BE49-F238E27FC236}">
                <a16:creationId xmlns:a16="http://schemas.microsoft.com/office/drawing/2014/main" id="{49B57F66-1E25-BEF2-2840-BC348302B416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33DE3DD-35F4-0544-EA20-8DFF76354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">
            <a:extLst>
              <a:ext uri="{FF2B5EF4-FFF2-40B4-BE49-F238E27FC236}">
                <a16:creationId xmlns:a16="http://schemas.microsoft.com/office/drawing/2014/main" id="{26C97F54-C050-02E2-007C-884C1343F6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BF5DF564-1583-214B-1FF2-64660F623A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97E6113D-8276-DBCB-BE23-99275743B1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79999" y="2545091"/>
            <a:ext cx="6840000" cy="3600000"/>
          </a:xfrm>
        </p:spPr>
        <p:txBody>
          <a:bodyPr/>
          <a:lstStyle>
            <a:lvl1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pc="4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z="1600">
                <a:solidFill>
                  <a:schemeClr val="accent1"/>
                </a:solidFill>
              </a:defRPr>
            </a:lvl3pPr>
            <a:lvl4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tabLst>
                <a:tab pos="355600" algn="l"/>
              </a:tabLst>
              <a:defRPr cap="all" spc="100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solidFill>
                  <a:srgbClr val="FF4B4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8AB546F2-9484-3FC2-840F-D7D025E677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999" y="1476000"/>
            <a:ext cx="6840000" cy="468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60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7865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7 : agenda : pictur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294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">
            <a:extLst>
              <a:ext uri="{FF2B5EF4-FFF2-40B4-BE49-F238E27FC236}">
                <a16:creationId xmlns:a16="http://schemas.microsoft.com/office/drawing/2014/main" id="{6B444FF9-115C-9C62-5C32-301544072D6A}"/>
              </a:ext>
            </a:extLst>
          </p:cNvPr>
          <p:cNvSpPr/>
          <p:nvPr/>
        </p:nvSpPr>
        <p:spPr>
          <a:xfrm>
            <a:off x="8123268" y="0"/>
            <a:ext cx="4068731" cy="6858000"/>
          </a:xfrm>
          <a:custGeom>
            <a:avLst/>
            <a:gdLst>
              <a:gd name="connsiteX0" fmla="*/ 4068732 w 4068731"/>
              <a:gd name="connsiteY0" fmla="*/ 0 h 6858000"/>
              <a:gd name="connsiteX1" fmla="*/ 2749202 w 4068731"/>
              <a:gd name="connsiteY1" fmla="*/ 0 h 6858000"/>
              <a:gd name="connsiteX2" fmla="*/ 1453802 w 4068731"/>
              <a:gd name="connsiteY2" fmla="*/ 2786380 h 6858000"/>
              <a:gd name="connsiteX3" fmla="*/ 8542 w 4068731"/>
              <a:gd name="connsiteY3" fmla="*/ 4671060 h 6858000"/>
              <a:gd name="connsiteX4" fmla="*/ 1255682 w 4068731"/>
              <a:gd name="connsiteY4" fmla="*/ 6858000 h 6858000"/>
              <a:gd name="connsiteX5" fmla="*/ 4068732 w 4068731"/>
              <a:gd name="connsiteY5" fmla="*/ 6858000 h 6858000"/>
              <a:gd name="connsiteX6" fmla="*/ 4068732 w 406873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8731" h="6858000">
                <a:moveTo>
                  <a:pt x="4068732" y="0"/>
                </a:moveTo>
                <a:lnTo>
                  <a:pt x="2749202" y="0"/>
                </a:lnTo>
                <a:cubicBezTo>
                  <a:pt x="3295302" y="1083310"/>
                  <a:pt x="3080672" y="2165350"/>
                  <a:pt x="1453802" y="2786380"/>
                </a:cubicBezTo>
                <a:cubicBezTo>
                  <a:pt x="672752" y="3072130"/>
                  <a:pt x="86012" y="3787140"/>
                  <a:pt x="8542" y="4671060"/>
                </a:cubicBezTo>
                <a:cubicBezTo>
                  <a:pt x="-74008" y="5614670"/>
                  <a:pt x="449232" y="6471920"/>
                  <a:pt x="1255682" y="6858000"/>
                </a:cubicBezTo>
                <a:lnTo>
                  <a:pt x="4068732" y="6858000"/>
                </a:lnTo>
                <a:lnTo>
                  <a:pt x="4068732" y="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39AAC393-1463-1EC1-A82F-F996DE84D3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04FEFFCF-D04D-6B27-6B35-E98D792BAF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02DD2C31-BDC2-85A3-B24D-5CBC4747A8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88" name="picture">
            <a:extLst>
              <a:ext uri="{FF2B5EF4-FFF2-40B4-BE49-F238E27FC236}">
                <a16:creationId xmlns:a16="http://schemas.microsoft.com/office/drawing/2014/main" id="{CCDA154D-FA0F-7258-D1D3-FF4ACED7D2CB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331943" y="874713"/>
            <a:ext cx="3960000" cy="3960000"/>
          </a:xfrm>
          <a:prstGeom prst="flowChartConnector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E2B67AC-FFA9-F8F8-FF22-3F6E55E16A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79999" y="2545091"/>
            <a:ext cx="5040000" cy="3600000"/>
          </a:xfrm>
        </p:spPr>
        <p:txBody>
          <a:bodyPr/>
          <a:lstStyle>
            <a:lvl1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pc="4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55600" algn="l"/>
              </a:tabLst>
              <a:defRPr sz="1600">
                <a:solidFill>
                  <a:schemeClr val="accent1"/>
                </a:solidFill>
              </a:defRPr>
            </a:lvl3pPr>
            <a:lvl4pPr marL="0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tabLst>
                <a:tab pos="355600" algn="l"/>
              </a:tabLst>
              <a:defRPr cap="all" spc="100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tabLst>
                <a:tab pos="355600" algn="l"/>
              </a:tabLst>
              <a:defRPr>
                <a:solidFill>
                  <a:srgbClr val="FF4B4B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C88E0FE-794B-A3A2-B2FE-AEC80F80F1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999" y="1476000"/>
            <a:ext cx="5040000" cy="468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600" dirty="0">
                <a:ea typeface="Calibri" panose="020F0502020204030204" pitchFamily="34" charset="0"/>
                <a:cs typeface="Segoe UI Semibold" panose="020B0502040204020203" pitchFamily="34" charset="0"/>
              </a:defRPr>
            </a:lvl1pPr>
          </a:lstStyle>
          <a:p>
            <a:pPr lvl="0">
              <a:lnSpc>
                <a:spcPts val="4000"/>
              </a:lnSpc>
            </a:pPr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41484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4 :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">
            <a:extLst>
              <a:ext uri="{FF2B5EF4-FFF2-40B4-BE49-F238E27FC236}">
                <a16:creationId xmlns:a16="http://schemas.microsoft.com/office/drawing/2014/main" id="{7587F319-9817-5E8C-3267-E8B5F5655F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F5CDEDD9-5767-BF78-73FE-C497E4578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84078D7-3AA4-7E7A-E9A2-7479782512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046863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11242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75621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E2DB2781-02B7-8F48-880C-0864DAF6A9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02832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8 : endpage : contacts 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289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">
            <a:extLst>
              <a:ext uri="{FF2B5EF4-FFF2-40B4-BE49-F238E27FC236}">
                <a16:creationId xmlns:a16="http://schemas.microsoft.com/office/drawing/2014/main" id="{DEB7BC1F-A79B-AA66-7970-3BCA12F439D4}"/>
              </a:ext>
            </a:extLst>
          </p:cNvPr>
          <p:cNvSpPr/>
          <p:nvPr/>
        </p:nvSpPr>
        <p:spPr>
          <a:xfrm>
            <a:off x="8023859" y="0"/>
            <a:ext cx="4168140" cy="6858000"/>
          </a:xfrm>
          <a:custGeom>
            <a:avLst/>
            <a:gdLst>
              <a:gd name="connsiteX0" fmla="*/ 2955290 w 4168140"/>
              <a:gd name="connsiteY0" fmla="*/ 6858000 h 6858000"/>
              <a:gd name="connsiteX1" fmla="*/ 1841500 w 4168140"/>
              <a:gd name="connsiteY1" fmla="*/ 3779520 h 6858000"/>
              <a:gd name="connsiteX2" fmla="*/ 1841500 w 4168140"/>
              <a:gd name="connsiteY2" fmla="*/ 3779520 h 6858000"/>
              <a:gd name="connsiteX3" fmla="*/ 990600 w 4168140"/>
              <a:gd name="connsiteY3" fmla="*/ 1487170 h 6858000"/>
              <a:gd name="connsiteX4" fmla="*/ 0 w 4168140"/>
              <a:gd name="connsiteY4" fmla="*/ 0 h 6858000"/>
              <a:gd name="connsiteX5" fmla="*/ 4168140 w 4168140"/>
              <a:gd name="connsiteY5" fmla="*/ 0 h 6858000"/>
              <a:gd name="connsiteX6" fmla="*/ 4168140 w 4168140"/>
              <a:gd name="connsiteY6" fmla="*/ 6858000 h 6858000"/>
              <a:gd name="connsiteX7" fmla="*/ 2955290 w 41681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8140" h="6858000">
                <a:moveTo>
                  <a:pt x="2955290" y="6858000"/>
                </a:moveTo>
                <a:cubicBezTo>
                  <a:pt x="2167890" y="6076950"/>
                  <a:pt x="1727200" y="4963160"/>
                  <a:pt x="1841500" y="3779520"/>
                </a:cubicBezTo>
                <a:lnTo>
                  <a:pt x="1841500" y="3779520"/>
                </a:lnTo>
                <a:cubicBezTo>
                  <a:pt x="1991360" y="2218690"/>
                  <a:pt x="1736090" y="1946910"/>
                  <a:pt x="990600" y="1487170"/>
                </a:cubicBezTo>
                <a:cubicBezTo>
                  <a:pt x="464820" y="1163320"/>
                  <a:pt x="96520" y="619760"/>
                  <a:pt x="0" y="0"/>
                </a:cubicBezTo>
                <a:lnTo>
                  <a:pt x="4168140" y="0"/>
                </a:lnTo>
                <a:lnTo>
                  <a:pt x="4168140" y="6858000"/>
                </a:lnTo>
                <a:lnTo>
                  <a:pt x="2955290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A4CF64D-F9BF-7921-7E12-A28AA812D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D54F34F2-1FD1-16F8-9498-18294A40D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8D24AD69-2ABC-1FC7-650C-97853CAEC9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" name="picture freeform">
            <a:extLst>
              <a:ext uri="{FF2B5EF4-FFF2-40B4-BE49-F238E27FC236}">
                <a16:creationId xmlns:a16="http://schemas.microsoft.com/office/drawing/2014/main" id="{06D95D9A-7ABF-0C99-E0D3-6102DCF5C76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984000" y="1188000"/>
            <a:ext cx="5208000" cy="5670000"/>
          </a:xfrm>
          <a:custGeom>
            <a:avLst/>
            <a:gdLst>
              <a:gd name="connsiteX0" fmla="*/ 3204000 w 5208000"/>
              <a:gd name="connsiteY0" fmla="*/ 0 h 5670000"/>
              <a:gd name="connsiteX1" fmla="*/ 4995387 w 5208000"/>
              <a:gd name="connsiteY1" fmla="*/ 547193 h 5670000"/>
              <a:gd name="connsiteX2" fmla="*/ 5208000 w 5208000"/>
              <a:gd name="connsiteY2" fmla="*/ 706182 h 5670000"/>
              <a:gd name="connsiteX3" fmla="*/ 5208000 w 5208000"/>
              <a:gd name="connsiteY3" fmla="*/ 5670000 h 5670000"/>
              <a:gd name="connsiteX4" fmla="*/ 1158959 w 5208000"/>
              <a:gd name="connsiteY4" fmla="*/ 5670000 h 5670000"/>
              <a:gd name="connsiteX5" fmla="*/ 938430 w 5208000"/>
              <a:gd name="connsiteY5" fmla="*/ 5469570 h 5670000"/>
              <a:gd name="connsiteX6" fmla="*/ 0 w 5208000"/>
              <a:gd name="connsiteY6" fmla="*/ 3204000 h 5670000"/>
              <a:gd name="connsiteX7" fmla="*/ 3204000 w 5208000"/>
              <a:gd name="connsiteY7" fmla="*/ 0 h 56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8000" h="5670000">
                <a:moveTo>
                  <a:pt x="3204000" y="0"/>
                </a:moveTo>
                <a:cubicBezTo>
                  <a:pt x="3867570" y="0"/>
                  <a:pt x="4484025" y="201724"/>
                  <a:pt x="4995387" y="547193"/>
                </a:cubicBezTo>
                <a:lnTo>
                  <a:pt x="5208000" y="706182"/>
                </a:lnTo>
                <a:lnTo>
                  <a:pt x="5208000" y="5670000"/>
                </a:lnTo>
                <a:lnTo>
                  <a:pt x="1158959" y="5670000"/>
                </a:lnTo>
                <a:lnTo>
                  <a:pt x="938430" y="5469570"/>
                </a:lnTo>
                <a:cubicBezTo>
                  <a:pt x="358620" y="4889760"/>
                  <a:pt x="0" y="4088760"/>
                  <a:pt x="0" y="3204000"/>
                </a:cubicBezTo>
                <a:cubicBezTo>
                  <a:pt x="0" y="1434480"/>
                  <a:pt x="1434480" y="0"/>
                  <a:pt x="3204000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subhead">
            <a:extLst>
              <a:ext uri="{FF2B5EF4-FFF2-40B4-BE49-F238E27FC236}">
                <a16:creationId xmlns:a16="http://schemas.microsoft.com/office/drawing/2014/main" id="{F67A6F1F-133D-4546-591C-CB2926538A9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91943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head">
            <a:extLst>
              <a:ext uri="{FF2B5EF4-FFF2-40B4-BE49-F238E27FC236}">
                <a16:creationId xmlns:a16="http://schemas.microsoft.com/office/drawing/2014/main" id="{AB8E8C71-0420-F71A-7AA1-4542827B232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729715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subhead">
            <a:extLst>
              <a:ext uri="{FF2B5EF4-FFF2-40B4-BE49-F238E27FC236}">
                <a16:creationId xmlns:a16="http://schemas.microsoft.com/office/drawing/2014/main" id="{40687540-1D0B-FE54-D00D-FEC7240B1C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7" name="title">
            <a:extLst>
              <a:ext uri="{FF2B5EF4-FFF2-40B4-BE49-F238E27FC236}">
                <a16:creationId xmlns:a16="http://schemas.microsoft.com/office/drawing/2014/main" id="{2B2872E1-DDB4-35E2-92B5-17EB99D5218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40000" y="612000"/>
            <a:ext cx="9252000" cy="2520000"/>
          </a:xfrm>
        </p:spPr>
        <p:txBody>
          <a:bodyPr anchor="b"/>
          <a:lstStyle>
            <a:lvl1pPr marL="0" indent="0">
              <a:lnSpc>
                <a:spcPts val="6200"/>
              </a:lnSpc>
              <a:buNone/>
              <a:defRPr sz="60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454738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9 : team : 8 pictures : 8 names +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15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slide number">
            <a:extLst>
              <a:ext uri="{FF2B5EF4-FFF2-40B4-BE49-F238E27FC236}">
                <a16:creationId xmlns:a16="http://schemas.microsoft.com/office/drawing/2014/main" id="{BFE64E29-7CD5-4375-8CC6-67F88FF8C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footer">
            <a:extLst>
              <a:ext uri="{FF2B5EF4-FFF2-40B4-BE49-F238E27FC236}">
                <a16:creationId xmlns:a16="http://schemas.microsoft.com/office/drawing/2014/main" id="{47FF2C98-89C2-049B-2264-7381416C86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46" name="date">
            <a:extLst>
              <a:ext uri="{FF2B5EF4-FFF2-40B4-BE49-F238E27FC236}">
                <a16:creationId xmlns:a16="http://schemas.microsoft.com/office/drawing/2014/main" id="{E5D7A60A-319A-B603-01C5-CB1B6D2575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0" name="shadow 8">
            <a:extLst>
              <a:ext uri="{FF2B5EF4-FFF2-40B4-BE49-F238E27FC236}">
                <a16:creationId xmlns:a16="http://schemas.microsoft.com/office/drawing/2014/main" id="{80DCE6D2-E964-BCC1-4BF3-80619AB6B22F}"/>
              </a:ext>
            </a:extLst>
          </p:cNvPr>
          <p:cNvSpPr txBox="1">
            <a:spLocks/>
          </p:cNvSpPr>
          <p:nvPr/>
        </p:nvSpPr>
        <p:spPr>
          <a:xfrm>
            <a:off x="9115977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1" name="role 8">
            <a:extLst>
              <a:ext uri="{FF2B5EF4-FFF2-40B4-BE49-F238E27FC236}">
                <a16:creationId xmlns:a16="http://schemas.microsoft.com/office/drawing/2014/main" id="{302AB1C0-479A-FBFB-9955-F8FEBE62F170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9115977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2" name="name 8">
            <a:extLst>
              <a:ext uri="{FF2B5EF4-FFF2-40B4-BE49-F238E27FC236}">
                <a16:creationId xmlns:a16="http://schemas.microsoft.com/office/drawing/2014/main" id="{94859EF9-9A41-580A-9F10-2BACF1F685FE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9115977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picture 8">
            <a:extLst>
              <a:ext uri="{FF2B5EF4-FFF2-40B4-BE49-F238E27FC236}">
                <a16:creationId xmlns:a16="http://schemas.microsoft.com/office/drawing/2014/main" id="{B89B0E8D-0A4E-D9BD-4E96-1C86F054B41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115977" y="3924000"/>
            <a:ext cx="2520000" cy="1260000"/>
          </a:xfrm>
          <a:prstGeom prst="round2SameRect">
            <a:avLst>
              <a:gd name="adj1" fmla="val 79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34" name="shadow 7">
            <a:extLst>
              <a:ext uri="{FF2B5EF4-FFF2-40B4-BE49-F238E27FC236}">
                <a16:creationId xmlns:a16="http://schemas.microsoft.com/office/drawing/2014/main" id="{F24DE4CC-0AAA-063C-4C90-B27ADB47A96D}"/>
              </a:ext>
            </a:extLst>
          </p:cNvPr>
          <p:cNvSpPr txBox="1">
            <a:spLocks/>
          </p:cNvSpPr>
          <p:nvPr/>
        </p:nvSpPr>
        <p:spPr>
          <a:xfrm>
            <a:off x="6257318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5" name="role 7">
            <a:extLst>
              <a:ext uri="{FF2B5EF4-FFF2-40B4-BE49-F238E27FC236}">
                <a16:creationId xmlns:a16="http://schemas.microsoft.com/office/drawing/2014/main" id="{5F4DB279-E952-57B0-ABF3-55F96BC5C067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6257318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6" name="name 7">
            <a:extLst>
              <a:ext uri="{FF2B5EF4-FFF2-40B4-BE49-F238E27FC236}">
                <a16:creationId xmlns:a16="http://schemas.microsoft.com/office/drawing/2014/main" id="{10CF9B7A-17B4-319D-3918-781E07C7378D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6257318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picture 7">
            <a:extLst>
              <a:ext uri="{FF2B5EF4-FFF2-40B4-BE49-F238E27FC236}">
                <a16:creationId xmlns:a16="http://schemas.microsoft.com/office/drawing/2014/main" id="{14AEB7DA-4524-FB65-6503-ECFEC6AED7B2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257318" y="3924000"/>
            <a:ext cx="2520000" cy="1260000"/>
          </a:xfrm>
          <a:prstGeom prst="round2SameRect">
            <a:avLst>
              <a:gd name="adj1" fmla="val 96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38" name="shadow 6">
            <a:extLst>
              <a:ext uri="{FF2B5EF4-FFF2-40B4-BE49-F238E27FC236}">
                <a16:creationId xmlns:a16="http://schemas.microsoft.com/office/drawing/2014/main" id="{1733417B-E0AE-9BBA-7D9C-996AE8AE58DB}"/>
              </a:ext>
            </a:extLst>
          </p:cNvPr>
          <p:cNvSpPr txBox="1">
            <a:spLocks/>
          </p:cNvSpPr>
          <p:nvPr/>
        </p:nvSpPr>
        <p:spPr>
          <a:xfrm>
            <a:off x="3398659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9" name="role 6">
            <a:extLst>
              <a:ext uri="{FF2B5EF4-FFF2-40B4-BE49-F238E27FC236}">
                <a16:creationId xmlns:a16="http://schemas.microsoft.com/office/drawing/2014/main" id="{203BD5BF-8449-0025-8A80-DDE84CE07B14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398659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0" name="name 6">
            <a:extLst>
              <a:ext uri="{FF2B5EF4-FFF2-40B4-BE49-F238E27FC236}">
                <a16:creationId xmlns:a16="http://schemas.microsoft.com/office/drawing/2014/main" id="{ACECDBA1-8A88-7944-D598-139FE427F701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3398659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picture 6">
            <a:extLst>
              <a:ext uri="{FF2B5EF4-FFF2-40B4-BE49-F238E27FC236}">
                <a16:creationId xmlns:a16="http://schemas.microsoft.com/office/drawing/2014/main" id="{BB0E6A62-187F-C4B5-1FEE-76C73BEAEBB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398659" y="3924000"/>
            <a:ext cx="2520000" cy="1260000"/>
          </a:xfrm>
          <a:prstGeom prst="round2SameRect">
            <a:avLst>
              <a:gd name="adj1" fmla="val 6840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2" name="shadow 5">
            <a:extLst>
              <a:ext uri="{FF2B5EF4-FFF2-40B4-BE49-F238E27FC236}">
                <a16:creationId xmlns:a16="http://schemas.microsoft.com/office/drawing/2014/main" id="{B6A9C31B-FBD2-CB40-31B7-68A888EC6157}"/>
              </a:ext>
            </a:extLst>
          </p:cNvPr>
          <p:cNvSpPr txBox="1">
            <a:spLocks/>
          </p:cNvSpPr>
          <p:nvPr/>
        </p:nvSpPr>
        <p:spPr>
          <a:xfrm>
            <a:off x="540000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43" name="role 5">
            <a:extLst>
              <a:ext uri="{FF2B5EF4-FFF2-40B4-BE49-F238E27FC236}">
                <a16:creationId xmlns:a16="http://schemas.microsoft.com/office/drawing/2014/main" id="{D5C6B1F8-8A43-2891-A841-B8196814AE91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540000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4" name="name 5">
            <a:extLst>
              <a:ext uri="{FF2B5EF4-FFF2-40B4-BE49-F238E27FC236}">
                <a16:creationId xmlns:a16="http://schemas.microsoft.com/office/drawing/2014/main" id="{C43C94EF-9938-02E0-25BA-5684E24AE185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540000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picture 5">
            <a:extLst>
              <a:ext uri="{FF2B5EF4-FFF2-40B4-BE49-F238E27FC236}">
                <a16:creationId xmlns:a16="http://schemas.microsoft.com/office/drawing/2014/main" id="{373AD45E-C08B-9E21-191C-6D7AE722762E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40000" y="3924000"/>
            <a:ext cx="2520000" cy="1260000"/>
          </a:xfrm>
          <a:prstGeom prst="round2SameRect">
            <a:avLst>
              <a:gd name="adj1" fmla="val 62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6" name="shadow 4">
            <a:extLst>
              <a:ext uri="{FF2B5EF4-FFF2-40B4-BE49-F238E27FC236}">
                <a16:creationId xmlns:a16="http://schemas.microsoft.com/office/drawing/2014/main" id="{FA17BC66-5A11-4B6D-A49E-B4C21ED32335}"/>
              </a:ext>
            </a:extLst>
          </p:cNvPr>
          <p:cNvSpPr txBox="1">
            <a:spLocks/>
          </p:cNvSpPr>
          <p:nvPr/>
        </p:nvSpPr>
        <p:spPr>
          <a:xfrm>
            <a:off x="9115977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8" name="role 4">
            <a:extLst>
              <a:ext uri="{FF2B5EF4-FFF2-40B4-BE49-F238E27FC236}">
                <a16:creationId xmlns:a16="http://schemas.microsoft.com/office/drawing/2014/main" id="{1C2FB319-5890-BA63-6178-46B4E15CC6B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9115977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0BF8F20A-36F1-9E35-92E4-4231E9BCA137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9115977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picture 4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15977" y="1466475"/>
            <a:ext cx="2520000" cy="1260000"/>
          </a:xfrm>
          <a:prstGeom prst="round2SameRect">
            <a:avLst>
              <a:gd name="adj1" fmla="val 79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5" name="shadow 3">
            <a:extLst>
              <a:ext uri="{FF2B5EF4-FFF2-40B4-BE49-F238E27FC236}">
                <a16:creationId xmlns:a16="http://schemas.microsoft.com/office/drawing/2014/main" id="{7563E26F-7B5C-BADA-F273-3229870C38C0}"/>
              </a:ext>
            </a:extLst>
          </p:cNvPr>
          <p:cNvSpPr txBox="1">
            <a:spLocks/>
          </p:cNvSpPr>
          <p:nvPr/>
        </p:nvSpPr>
        <p:spPr>
          <a:xfrm>
            <a:off x="6257318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6" name="role 3">
            <a:extLst>
              <a:ext uri="{FF2B5EF4-FFF2-40B4-BE49-F238E27FC236}">
                <a16:creationId xmlns:a16="http://schemas.microsoft.com/office/drawing/2014/main" id="{B033DFCB-CBEB-03FF-0E21-D4A348D757BE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257318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5" name="name 3">
            <a:extLst>
              <a:ext uri="{FF2B5EF4-FFF2-40B4-BE49-F238E27FC236}">
                <a16:creationId xmlns:a16="http://schemas.microsoft.com/office/drawing/2014/main" id="{5340354E-C2CE-F1A0-1324-B12089FC1EF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57318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cture 3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57318" y="1466475"/>
            <a:ext cx="2520000" cy="1260000"/>
          </a:xfrm>
          <a:prstGeom prst="round2SameRect">
            <a:avLst>
              <a:gd name="adj1" fmla="val 96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1" name="shadow 2">
            <a:extLst>
              <a:ext uri="{FF2B5EF4-FFF2-40B4-BE49-F238E27FC236}">
                <a16:creationId xmlns:a16="http://schemas.microsoft.com/office/drawing/2014/main" id="{3C9B4B1F-8CFB-03B9-8122-CEB6303D9EF6}"/>
              </a:ext>
            </a:extLst>
          </p:cNvPr>
          <p:cNvSpPr txBox="1">
            <a:spLocks/>
          </p:cNvSpPr>
          <p:nvPr/>
        </p:nvSpPr>
        <p:spPr>
          <a:xfrm>
            <a:off x="3398659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2" name="role 2">
            <a:extLst>
              <a:ext uri="{FF2B5EF4-FFF2-40B4-BE49-F238E27FC236}">
                <a16:creationId xmlns:a16="http://schemas.microsoft.com/office/drawing/2014/main" id="{6A83C635-5C0F-6FD4-9E16-8447B102CB65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398659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1" name="name 2">
            <a:extLst>
              <a:ext uri="{FF2B5EF4-FFF2-40B4-BE49-F238E27FC236}">
                <a16:creationId xmlns:a16="http://schemas.microsoft.com/office/drawing/2014/main" id="{C918C1F2-8374-4EF1-70F3-0489E4D2FDD9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398659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picture 2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98659" y="1466475"/>
            <a:ext cx="2520000" cy="1260000"/>
          </a:xfrm>
          <a:prstGeom prst="round2SameRect">
            <a:avLst>
              <a:gd name="adj1" fmla="val 6840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3" name="shadow 1">
            <a:extLst>
              <a:ext uri="{FF2B5EF4-FFF2-40B4-BE49-F238E27FC236}">
                <a16:creationId xmlns:a16="http://schemas.microsoft.com/office/drawing/2014/main" id="{2F2350D9-E49F-93C7-DB07-2759AC33BE01}"/>
              </a:ext>
            </a:extLst>
          </p:cNvPr>
          <p:cNvSpPr txBox="1">
            <a:spLocks/>
          </p:cNvSpPr>
          <p:nvPr/>
        </p:nvSpPr>
        <p:spPr>
          <a:xfrm>
            <a:off x="540000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19" name="role 1">
            <a:extLst>
              <a:ext uri="{FF2B5EF4-FFF2-40B4-BE49-F238E27FC236}">
                <a16:creationId xmlns:a16="http://schemas.microsoft.com/office/drawing/2014/main" id="{90DF335A-A9AE-D9DB-0BAF-E0C176A8BD4F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540000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18" name="name 1">
            <a:extLst>
              <a:ext uri="{FF2B5EF4-FFF2-40B4-BE49-F238E27FC236}">
                <a16:creationId xmlns:a16="http://schemas.microsoft.com/office/drawing/2014/main" id="{26D9C5D7-7E8C-31A1-71FF-876D8770D1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6D4F5E74-E4BC-26A1-6B3C-B594169526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0000" y="1466475"/>
            <a:ext cx="2520000" cy="1260000"/>
          </a:xfrm>
          <a:prstGeom prst="round2SameRect">
            <a:avLst>
              <a:gd name="adj1" fmla="val 62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3754094-CFF9-5176-ADA0-C7C302BF1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navigation">
            <a:extLst>
              <a:ext uri="{FF2B5EF4-FFF2-40B4-BE49-F238E27FC236}">
                <a16:creationId xmlns:a16="http://schemas.microsoft.com/office/drawing/2014/main" id="{75F76F83-6FC3-B42E-212E-DBFA812FBD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48376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0 : team : 3 pictures : 3 names and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767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">
            <a:extLst>
              <a:ext uri="{FF2B5EF4-FFF2-40B4-BE49-F238E27FC236}">
                <a16:creationId xmlns:a16="http://schemas.microsoft.com/office/drawing/2014/main" id="{FE8AD4AF-536E-EE81-A96B-29B63B21116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806DED45-4BC7-C6F5-F26F-6CD59EA5B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B32839BA-2D56-A01B-FE5C-F161B6335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50109232-4643-9278-B176-335653E00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93" name="subhead">
            <a:extLst>
              <a:ext uri="{FF2B5EF4-FFF2-40B4-BE49-F238E27FC236}">
                <a16:creationId xmlns:a16="http://schemas.microsoft.com/office/drawing/2014/main" id="{A621FD8A-0372-D7B0-7589-D502248B585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796825" y="1800000"/>
            <a:ext cx="2592000" cy="4365850"/>
          </a:xfrm>
          <a:prstGeom prst="roundRect">
            <a:avLst>
              <a:gd name="adj" fmla="val 503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7" name="text 3">
            <a:extLst>
              <a:ext uri="{FF2B5EF4-FFF2-40B4-BE49-F238E27FC236}">
                <a16:creationId xmlns:a16="http://schemas.microsoft.com/office/drawing/2014/main" id="{03D9F645-BD61-312D-FDBA-3F63F457F0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96825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3">
            <a:extLst>
              <a:ext uri="{FF2B5EF4-FFF2-40B4-BE49-F238E27FC236}">
                <a16:creationId xmlns:a16="http://schemas.microsoft.com/office/drawing/2014/main" id="{9FF70640-2E25-EBCF-C164-4D8776EDCC0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797600" y="1800000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92" name="subhead">
            <a:extLst>
              <a:ext uri="{FF2B5EF4-FFF2-40B4-BE49-F238E27FC236}">
                <a16:creationId xmlns:a16="http://schemas.microsoft.com/office/drawing/2014/main" id="{0C79B4B6-AEFC-E24C-2B7C-4FE3BD9C9C77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4798412" y="1800000"/>
            <a:ext cx="2592000" cy="4365850"/>
          </a:xfrm>
          <a:prstGeom prst="roundRect">
            <a:avLst>
              <a:gd name="adj" fmla="val 699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id="{AE529241-D4E7-89E7-5EA8-61F00FC649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8412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2">
            <a:extLst>
              <a:ext uri="{FF2B5EF4-FFF2-40B4-BE49-F238E27FC236}">
                <a16:creationId xmlns:a16="http://schemas.microsoft.com/office/drawing/2014/main" id="{55B5AD6C-F5DC-9656-D99B-A67A0B7E50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800073" y="1800000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9" name="subhead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0" y="1800000"/>
            <a:ext cx="2592000" cy="4365850"/>
          </a:xfrm>
          <a:prstGeom prst="roundRect">
            <a:avLst>
              <a:gd name="adj" fmla="val 5284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907A54C3-A2FF-A59E-41B3-23D2F7C1E59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800000" y="3816000"/>
            <a:ext cx="2592000" cy="2349849"/>
          </a:xfrm>
        </p:spPr>
        <p:txBody>
          <a:bodyPr lIns="216000" rIns="216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lnSpc>
                <a:spcPts val="1600"/>
              </a:lnSpc>
              <a:spcBef>
                <a:spcPts val="300"/>
              </a:spcBef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picture 1">
            <a:extLst>
              <a:ext uri="{FF2B5EF4-FFF2-40B4-BE49-F238E27FC236}">
                <a16:creationId xmlns:a16="http://schemas.microsoft.com/office/drawing/2014/main" id="{48BC97E5-F4FC-CFC7-7C93-504C59D7A2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800000" y="1800000"/>
            <a:ext cx="2592000" cy="1800000"/>
          </a:xfrm>
          <a:prstGeom prst="round2SameRect">
            <a:avLst>
              <a:gd name="adj1" fmla="val 48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>
            <a:lvl1pPr>
              <a:defRPr lang="en-DE" dirty="0"/>
            </a:lvl1pPr>
          </a:lstStyle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3CCF9C9E-CC68-9C72-1637-DC78701B6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96010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1 : 3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460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">
            <a:extLst>
              <a:ext uri="{FF2B5EF4-FFF2-40B4-BE49-F238E27FC236}">
                <a16:creationId xmlns:a16="http://schemas.microsoft.com/office/drawing/2014/main" id="{32D5FD21-24FD-155A-3ADD-74927C6B098A}"/>
              </a:ext>
            </a:extLst>
          </p:cNvPr>
          <p:cNvSpPr/>
          <p:nvPr/>
        </p:nvSpPr>
        <p:spPr>
          <a:xfrm>
            <a:off x="4581342" y="0"/>
            <a:ext cx="7611926" cy="6859269"/>
          </a:xfrm>
          <a:custGeom>
            <a:avLst/>
            <a:gdLst>
              <a:gd name="connsiteX0" fmla="*/ 2412547 w 7611926"/>
              <a:gd name="connsiteY0" fmla="*/ 2053590 h 6859269"/>
              <a:gd name="connsiteX1" fmla="*/ 268787 w 7611926"/>
              <a:gd name="connsiteY1" fmla="*/ 3267710 h 6859269"/>
              <a:gd name="connsiteX2" fmla="*/ 1217477 w 7611926"/>
              <a:gd name="connsiteY2" fmla="*/ 6369050 h 6859269"/>
              <a:gd name="connsiteX3" fmla="*/ 1354637 w 7611926"/>
              <a:gd name="connsiteY3" fmla="*/ 6436360 h 6859269"/>
              <a:gd name="connsiteX4" fmla="*/ 1909627 w 7611926"/>
              <a:gd name="connsiteY4" fmla="*/ 6859270 h 6859269"/>
              <a:gd name="connsiteX5" fmla="*/ 7611927 w 7611926"/>
              <a:gd name="connsiteY5" fmla="*/ 6859270 h 6859269"/>
              <a:gd name="connsiteX6" fmla="*/ 7611927 w 7611926"/>
              <a:gd name="connsiteY6" fmla="*/ 0 h 6859269"/>
              <a:gd name="connsiteX7" fmla="*/ 4783638 w 7611926"/>
              <a:gd name="connsiteY7" fmla="*/ 0 h 6859269"/>
              <a:gd name="connsiteX8" fmla="*/ 2412547 w 7611926"/>
              <a:gd name="connsiteY8" fmla="*/ 2053590 h 6859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11926" h="6859269">
                <a:moveTo>
                  <a:pt x="2412547" y="2053590"/>
                </a:moveTo>
                <a:cubicBezTo>
                  <a:pt x="1551487" y="2009140"/>
                  <a:pt x="700587" y="2454910"/>
                  <a:pt x="268787" y="3267710"/>
                </a:cubicBezTo>
                <a:cubicBezTo>
                  <a:pt x="-325573" y="4385310"/>
                  <a:pt x="98607" y="5774690"/>
                  <a:pt x="1217477" y="6369050"/>
                </a:cubicBezTo>
                <a:cubicBezTo>
                  <a:pt x="1263197" y="6393180"/>
                  <a:pt x="1308917" y="6416040"/>
                  <a:pt x="1354637" y="6436360"/>
                </a:cubicBezTo>
                <a:cubicBezTo>
                  <a:pt x="1642927" y="6565900"/>
                  <a:pt x="1821997" y="6703060"/>
                  <a:pt x="1909627" y="6859270"/>
                </a:cubicBezTo>
                <a:lnTo>
                  <a:pt x="7611927" y="6859270"/>
                </a:lnTo>
                <a:lnTo>
                  <a:pt x="7611927" y="0"/>
                </a:lnTo>
                <a:lnTo>
                  <a:pt x="4783638" y="0"/>
                </a:lnTo>
                <a:cubicBezTo>
                  <a:pt x="4831897" y="1214120"/>
                  <a:pt x="4177847" y="2118360"/>
                  <a:pt x="2412547" y="2053590"/>
                </a:cubicBez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255EC9-22C8-4873-6389-D880A370A1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6AC4CF78-E9FE-A7F7-A653-874905B45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A82CFE0-C725-9B9E-D77B-2B402604C5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93" name="subhead">
            <a:extLst>
              <a:ext uri="{FF2B5EF4-FFF2-40B4-BE49-F238E27FC236}">
                <a16:creationId xmlns:a16="http://schemas.microsoft.com/office/drawing/2014/main" id="{A621FD8A-0372-D7B0-7589-D502248B585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796825" y="1800000"/>
            <a:ext cx="2592000" cy="3600000"/>
          </a:xfrm>
          <a:prstGeom prst="roundRect">
            <a:avLst>
              <a:gd name="adj" fmla="val 2528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2" name="subhead">
            <a:extLst>
              <a:ext uri="{FF2B5EF4-FFF2-40B4-BE49-F238E27FC236}">
                <a16:creationId xmlns:a16="http://schemas.microsoft.com/office/drawing/2014/main" id="{0C79B4B6-AEFC-E24C-2B7C-4FE3BD9C9C77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4800073" y="1800000"/>
            <a:ext cx="2592000" cy="3600000"/>
          </a:xfrm>
          <a:prstGeom prst="roundRect">
            <a:avLst>
              <a:gd name="adj" fmla="val 2803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subhead">
            <a:extLst>
              <a:ext uri="{FF2B5EF4-FFF2-40B4-BE49-F238E27FC236}">
                <a16:creationId xmlns:a16="http://schemas.microsoft.com/office/drawing/2014/main" id="{0FE4903D-F047-A069-A010-0199438C5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0" y="1800000"/>
            <a:ext cx="2592000" cy="3600000"/>
          </a:xfrm>
          <a:prstGeom prst="roundRect">
            <a:avLst>
              <a:gd name="adj" fmla="val 2620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6" name="title">
            <a:extLst>
              <a:ext uri="{FF2B5EF4-FFF2-40B4-BE49-F238E27FC236}">
                <a16:creationId xmlns:a16="http://schemas.microsoft.com/office/drawing/2014/main" id="{457734AF-380A-E58A-7517-29028ECFA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F01231DD-94D3-CA6C-C315-67E844A25D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59473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2 : endpage :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95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">
            <a:extLst>
              <a:ext uri="{FF2B5EF4-FFF2-40B4-BE49-F238E27FC236}">
                <a16:creationId xmlns:a16="http://schemas.microsoft.com/office/drawing/2014/main" id="{1A6CF203-18B4-1496-271C-29A7721D6A2C}"/>
              </a:ext>
            </a:extLst>
          </p:cNvPr>
          <p:cNvSpPr/>
          <p:nvPr/>
        </p:nvSpPr>
        <p:spPr>
          <a:xfrm>
            <a:off x="3798950" y="0"/>
            <a:ext cx="8393049" cy="6858000"/>
          </a:xfrm>
          <a:custGeom>
            <a:avLst/>
            <a:gdLst>
              <a:gd name="connsiteX0" fmla="*/ 8393049 w 8393049"/>
              <a:gd name="connsiteY0" fmla="*/ 0 h 6858000"/>
              <a:gd name="connsiteX1" fmla="*/ 31369 w 8393049"/>
              <a:gd name="connsiteY1" fmla="*/ 0 h 6858000"/>
              <a:gd name="connsiteX2" fmla="*/ 88519 w 8393049"/>
              <a:gd name="connsiteY2" fmla="*/ 1135380 h 6858000"/>
              <a:gd name="connsiteX3" fmla="*/ 3645790 w 8393049"/>
              <a:gd name="connsiteY3" fmla="*/ 3272790 h 6858000"/>
              <a:gd name="connsiteX4" fmla="*/ 3702940 w 8393049"/>
              <a:gd name="connsiteY4" fmla="*/ 3257550 h 6858000"/>
              <a:gd name="connsiteX5" fmla="*/ 3702940 w 8393049"/>
              <a:gd name="connsiteY5" fmla="*/ 3257550 h 6858000"/>
              <a:gd name="connsiteX6" fmla="*/ 5418709 w 8393049"/>
              <a:gd name="connsiteY6" fmla="*/ 4372610 h 6858000"/>
              <a:gd name="connsiteX7" fmla="*/ 5418709 w 8393049"/>
              <a:gd name="connsiteY7" fmla="*/ 4372610 h 6858000"/>
              <a:gd name="connsiteX8" fmla="*/ 7896480 w 8393049"/>
              <a:gd name="connsiteY8" fmla="*/ 6858000 h 6858000"/>
              <a:gd name="connsiteX9" fmla="*/ 8393049 w 8393049"/>
              <a:gd name="connsiteY9" fmla="*/ 6858000 h 6858000"/>
              <a:gd name="connsiteX10" fmla="*/ 8393049 w 8393049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93049" h="6858000">
                <a:moveTo>
                  <a:pt x="8393049" y="0"/>
                </a:moveTo>
                <a:lnTo>
                  <a:pt x="31369" y="0"/>
                </a:lnTo>
                <a:cubicBezTo>
                  <a:pt x="-23241" y="368300"/>
                  <a:pt x="-8001" y="751840"/>
                  <a:pt x="88519" y="1135380"/>
                </a:cubicBezTo>
                <a:cubicBezTo>
                  <a:pt x="480949" y="2707640"/>
                  <a:pt x="2073529" y="3665220"/>
                  <a:pt x="3645790" y="3272790"/>
                </a:cubicBezTo>
                <a:cubicBezTo>
                  <a:pt x="3664840" y="3267710"/>
                  <a:pt x="3683890" y="3262630"/>
                  <a:pt x="3702940" y="3257550"/>
                </a:cubicBezTo>
                <a:lnTo>
                  <a:pt x="3702940" y="3257550"/>
                </a:lnTo>
                <a:cubicBezTo>
                  <a:pt x="4536059" y="3031490"/>
                  <a:pt x="5032630" y="3253740"/>
                  <a:pt x="5418709" y="4372610"/>
                </a:cubicBezTo>
                <a:lnTo>
                  <a:pt x="5418709" y="4372610"/>
                </a:lnTo>
                <a:cubicBezTo>
                  <a:pt x="5830190" y="5568950"/>
                  <a:pt x="6764909" y="6463030"/>
                  <a:pt x="7896480" y="6858000"/>
                </a:cubicBezTo>
                <a:lnTo>
                  <a:pt x="8393049" y="6858000"/>
                </a:lnTo>
                <a:lnTo>
                  <a:pt x="8393049" y="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FBACB6C-E538-315B-836C-5747BC433D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">
            <a:extLst>
              <a:ext uri="{FF2B5EF4-FFF2-40B4-BE49-F238E27FC236}">
                <a16:creationId xmlns:a16="http://schemas.microsoft.com/office/drawing/2014/main" id="{CB867239-D2B4-D5DB-1E8A-708333F2D8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A908DC11-E6F3-54CF-0E9D-2ADE4513C7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2" name="subhead">
            <a:extLst>
              <a:ext uri="{FF2B5EF4-FFF2-40B4-BE49-F238E27FC236}">
                <a16:creationId xmlns:a16="http://schemas.microsoft.com/office/drawing/2014/main" id="{18752286-8B19-A943-85AE-D8EA1849943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91943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subhead">
            <a:extLst>
              <a:ext uri="{FF2B5EF4-FFF2-40B4-BE49-F238E27FC236}">
                <a16:creationId xmlns:a16="http://schemas.microsoft.com/office/drawing/2014/main" id="{EF9134AD-568F-4F44-0401-0B190068466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729715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subhead">
            <a:extLst>
              <a:ext uri="{FF2B5EF4-FFF2-40B4-BE49-F238E27FC236}">
                <a16:creationId xmlns:a16="http://schemas.microsoft.com/office/drawing/2014/main" id="{9BE9AB25-3402-897C-7102-5B25952D6A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645850"/>
            <a:ext cx="2880000" cy="252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7" name="title">
            <a:extLst>
              <a:ext uri="{FF2B5EF4-FFF2-40B4-BE49-F238E27FC236}">
                <a16:creationId xmlns:a16="http://schemas.microsoft.com/office/drawing/2014/main" id="{2B2872E1-DDB4-35E2-92B5-17EB99D5218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40000" y="612000"/>
            <a:ext cx="9264442" cy="2520000"/>
          </a:xfrm>
        </p:spPr>
        <p:txBody>
          <a:bodyPr anchor="b"/>
          <a:lstStyle>
            <a:lvl1pPr marL="0" indent="0">
              <a:lnSpc>
                <a:spcPts val="6200"/>
              </a:lnSpc>
              <a:buNone/>
              <a:defRPr sz="60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21176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3 : charts :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38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">
            <a:extLst>
              <a:ext uri="{FF2B5EF4-FFF2-40B4-BE49-F238E27FC236}">
                <a16:creationId xmlns:a16="http://schemas.microsoft.com/office/drawing/2014/main" id="{688A3A3C-99F9-487B-04BA-FA57885E12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6DB165A5-68B8-291B-D798-CAA2C6BBE7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DC2CA374-E8F0-3BDB-CB50-843061A344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9" name="source">
            <a:extLst>
              <a:ext uri="{FF2B5EF4-FFF2-40B4-BE49-F238E27FC236}">
                <a16:creationId xmlns:a16="http://schemas.microsoft.com/office/drawing/2014/main" id="{380974C9-7D7B-8C1A-9F87-EA6BDB8230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11088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chart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40000" y="1980000"/>
            <a:ext cx="11088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8" name="subhead">
            <a:extLst>
              <a:ext uri="{FF2B5EF4-FFF2-40B4-BE49-F238E27FC236}">
                <a16:creationId xmlns:a16="http://schemas.microsoft.com/office/drawing/2014/main" id="{7D5BF9EC-E9BE-BF48-E481-75AD0C1CD72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11088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ECEB4CCD-2B1D-5D99-AC60-C3021070E1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314578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4 : chart : source : text right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38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2A126047-B70F-3141-A815-5AC336300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22BFF765-11BB-622F-4A94-6869F898C3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0658784C-EE44-2DC9-FB72-BD13217E8A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9" name="source">
            <a:extLst>
              <a:ext uri="{FF2B5EF4-FFF2-40B4-BE49-F238E27FC236}">
                <a16:creationId xmlns:a16="http://schemas.microsoft.com/office/drawing/2014/main" id="{D90B879A-93CD-B442-149F-7B0388FD51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79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subhead right">
            <a:extLst>
              <a:ext uri="{FF2B5EF4-FFF2-40B4-BE49-F238E27FC236}">
                <a16:creationId xmlns:a16="http://schemas.microsoft.com/office/drawing/2014/main" id="{84CE48BC-4FA2-332D-3105-E3074773CB0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761138" y="1476374"/>
            <a:ext cx="2880000" cy="4680000"/>
          </a:xfrm>
          <a:prstGeom prst="roundRect">
            <a:avLst>
              <a:gd name="adj" fmla="val 1609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396000" rIns="288000" bIns="72000" rtlCol="0">
            <a:noAutofit/>
          </a:bodyPr>
          <a:lstStyle>
            <a:lvl1pPr>
              <a:defRPr lang="en-US" sz="12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2" name="chart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7920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8" name="subhead">
            <a:extLst>
              <a:ext uri="{FF2B5EF4-FFF2-40B4-BE49-F238E27FC236}">
                <a16:creationId xmlns:a16="http://schemas.microsoft.com/office/drawing/2014/main" id="{5A5BAEAC-8E7A-8141-E458-2176ADC3AC6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79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D1D3AAC1-019B-3D54-13D0-E9D277726B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64044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5 : 2 contents : 2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250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0C228924-2025-FA28-F6C3-720684A594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">
            <a:extLst>
              <a:ext uri="{FF2B5EF4-FFF2-40B4-BE49-F238E27FC236}">
                <a16:creationId xmlns:a16="http://schemas.microsoft.com/office/drawing/2014/main" id="{33CBFEB7-3604-4892-9978-66F71997C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3387D89F-E43A-C557-7E6E-058A971C2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4" name="source">
            <a:extLst>
              <a:ext uri="{FF2B5EF4-FFF2-40B4-BE49-F238E27FC236}">
                <a16:creationId xmlns:a16="http://schemas.microsoft.com/office/drawing/2014/main" id="{6218AEF4-928C-FA23-F100-1F1CFF88F156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6419111" y="5832000"/>
            <a:ext cx="521975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980000"/>
            <a:ext cx="5219751" cy="37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subhead 2">
            <a:extLst>
              <a:ext uri="{FF2B5EF4-FFF2-40B4-BE49-F238E27FC236}">
                <a16:creationId xmlns:a16="http://schemas.microsoft.com/office/drawing/2014/main" id="{6B8C3375-A80B-8796-0867-330B7711A119}"/>
              </a:ext>
            </a:extLst>
          </p:cNvPr>
          <p:cNvSpPr>
            <a:spLocks noGrp="1"/>
          </p:cNvSpPr>
          <p:nvPr>
            <p:ph sz="quarter" idx="44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source">
            <a:extLst>
              <a:ext uri="{FF2B5EF4-FFF2-40B4-BE49-F238E27FC236}">
                <a16:creationId xmlns:a16="http://schemas.microsoft.com/office/drawing/2014/main" id="{24DD49C3-D958-C385-9D8F-840036F3D6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5832000"/>
            <a:ext cx="521975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980000"/>
            <a:ext cx="5219750" cy="37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subhead 1">
            <a:extLst>
              <a:ext uri="{FF2B5EF4-FFF2-40B4-BE49-F238E27FC236}">
                <a16:creationId xmlns:a16="http://schemas.microsoft.com/office/drawing/2014/main" id="{6F1344B3-4025-1B1E-863A-CBC337D97961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4398E4B6-E061-30A1-7C94-588FAD6EFB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99115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6 : 2 charts : text below :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632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">
            <a:extLst>
              <a:ext uri="{FF2B5EF4-FFF2-40B4-BE49-F238E27FC236}">
                <a16:creationId xmlns:a16="http://schemas.microsoft.com/office/drawing/2014/main" id="{E8A5C00E-9A87-E833-0861-D9E0C57CC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9D6F948D-BA14-8090-CD0B-E51B9B0504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30449CEB-9D1C-3D81-9CDB-CAF6104AD4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E39D6657-4DC5-C359-80D5-8C8730DCE88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21138" y="4689474"/>
            <a:ext cx="5220000" cy="1476375"/>
          </a:xfrm>
        </p:spPr>
        <p:txBody>
          <a:bodyPr tIns="72000" rIns="1080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lang="en-US" sz="1200" b="0" kern="1200" spc="40" baseline="0" noProof="0" dirty="0">
                <a:solidFill>
                  <a:schemeClr val="accent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source">
            <a:extLst>
              <a:ext uri="{FF2B5EF4-FFF2-40B4-BE49-F238E27FC236}">
                <a16:creationId xmlns:a16="http://schemas.microsoft.com/office/drawing/2014/main" id="{96A0952C-D2E6-392C-2041-9DBC361E7B67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6422400" y="4140000"/>
            <a:ext cx="521975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chart 2">
            <a:extLst>
              <a:ext uri="{FF2B5EF4-FFF2-40B4-BE49-F238E27FC236}">
                <a16:creationId xmlns:a16="http://schemas.microsoft.com/office/drawing/2014/main" id="{6223D905-14B7-CD1D-9172-1A5C8B458D4A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6421138" y="1980000"/>
            <a:ext cx="5220000" cy="216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6" name="subhead 2">
            <a:extLst>
              <a:ext uri="{FF2B5EF4-FFF2-40B4-BE49-F238E27FC236}">
                <a16:creationId xmlns:a16="http://schemas.microsoft.com/office/drawing/2014/main" id="{16E071D3-2976-8631-7AFB-E8B5162E5B7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text 1">
            <a:extLst>
              <a:ext uri="{FF2B5EF4-FFF2-40B4-BE49-F238E27FC236}">
                <a16:creationId xmlns:a16="http://schemas.microsoft.com/office/drawing/2014/main" id="{17DF5F79-59B2-9513-10F3-ECC1CBB9431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39750" y="4689474"/>
            <a:ext cx="5220000" cy="1476375"/>
          </a:xfrm>
        </p:spPr>
        <p:txBody>
          <a:bodyPr tIns="72000" rIns="108000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lang="en-US" sz="1200" b="0" kern="1200" spc="40" baseline="0" noProof="0" dirty="0">
                <a:solidFill>
                  <a:schemeClr val="accent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source">
            <a:extLst>
              <a:ext uri="{FF2B5EF4-FFF2-40B4-BE49-F238E27FC236}">
                <a16:creationId xmlns:a16="http://schemas.microsoft.com/office/drawing/2014/main" id="{51D263A4-0858-9597-BB45-EBA33CBC8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4140000"/>
            <a:ext cx="521975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chart 1">
            <a:extLst>
              <a:ext uri="{FF2B5EF4-FFF2-40B4-BE49-F238E27FC236}">
                <a16:creationId xmlns:a16="http://schemas.microsoft.com/office/drawing/2014/main" id="{7353C665-B8B9-7C83-82BA-3D87366A6A39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5220000" cy="216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23" name="subhead 1">
            <a:extLst>
              <a:ext uri="{FF2B5EF4-FFF2-40B4-BE49-F238E27FC236}">
                <a16:creationId xmlns:a16="http://schemas.microsoft.com/office/drawing/2014/main" id="{9F7ABEBB-4BEF-E80C-958E-D6B99A425F6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9127F8A9-5E27-D86C-3B03-51BCB3CA32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371315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7 : 3 charts : 3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350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>
            <a:extLst>
              <a:ext uri="{FF2B5EF4-FFF2-40B4-BE49-F238E27FC236}">
                <a16:creationId xmlns:a16="http://schemas.microsoft.com/office/drawing/2014/main" id="{E4863F31-810B-72F2-2844-7B8728681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1E4FBF7F-356B-B16C-9401-FFC6D9241E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8C850D5E-2A93-576A-70B5-811E43A558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4" name="source 3">
            <a:extLst>
              <a:ext uri="{FF2B5EF4-FFF2-40B4-BE49-F238E27FC236}">
                <a16:creationId xmlns:a16="http://schemas.microsoft.com/office/drawing/2014/main" id="{BABFA57E-C26B-6441-2916-2FFC606DBF31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8208000" y="5832000"/>
            <a:ext cx="3420000" cy="324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3" name="chart 3">
            <a:extLst>
              <a:ext uri="{FF2B5EF4-FFF2-40B4-BE49-F238E27FC236}">
                <a16:creationId xmlns:a16="http://schemas.microsoft.com/office/drawing/2014/main" id="{E6E1982C-F4E0-463E-837B-F95FDE60CD91}"/>
              </a:ext>
            </a:extLst>
          </p:cNvPr>
          <p:cNvSpPr>
            <a:spLocks noGrp="1"/>
          </p:cNvSpPr>
          <p:nvPr>
            <p:ph type="chart" sz="quarter" idx="45"/>
          </p:nvPr>
        </p:nvSpPr>
        <p:spPr>
          <a:xfrm>
            <a:off x="8208000" y="1980000"/>
            <a:ext cx="3420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0" name="subhead 3">
            <a:extLst>
              <a:ext uri="{FF2B5EF4-FFF2-40B4-BE49-F238E27FC236}">
                <a16:creationId xmlns:a16="http://schemas.microsoft.com/office/drawing/2014/main" id="{5FD95769-7D9A-22A3-E703-721E42B6905A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8208000" y="1475999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source 2">
            <a:extLst>
              <a:ext uri="{FF2B5EF4-FFF2-40B4-BE49-F238E27FC236}">
                <a16:creationId xmlns:a16="http://schemas.microsoft.com/office/drawing/2014/main" id="{8074E840-B84A-2781-C141-E8D84BB91E4B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4373875" y="5832000"/>
            <a:ext cx="3420000" cy="324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2" name="chart 2">
            <a:extLst>
              <a:ext uri="{FF2B5EF4-FFF2-40B4-BE49-F238E27FC236}">
                <a16:creationId xmlns:a16="http://schemas.microsoft.com/office/drawing/2014/main" id="{E2856504-6871-5A34-BC9D-4FDE561DEFEE}"/>
              </a:ext>
            </a:extLst>
          </p:cNvPr>
          <p:cNvSpPr>
            <a:spLocks noGrp="1"/>
          </p:cNvSpPr>
          <p:nvPr>
            <p:ph type="chart" sz="quarter" idx="44"/>
          </p:nvPr>
        </p:nvSpPr>
        <p:spPr>
          <a:xfrm>
            <a:off x="4373875" y="1980000"/>
            <a:ext cx="3420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9" name="subhead 2">
            <a:extLst>
              <a:ext uri="{FF2B5EF4-FFF2-40B4-BE49-F238E27FC236}">
                <a16:creationId xmlns:a16="http://schemas.microsoft.com/office/drawing/2014/main" id="{44185BE8-DF02-ADC4-2C3F-598824C24D1F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4373875" y="1475999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source 1">
            <a:extLst>
              <a:ext uri="{FF2B5EF4-FFF2-40B4-BE49-F238E27FC236}">
                <a16:creationId xmlns:a16="http://schemas.microsoft.com/office/drawing/2014/main" id="{6FD5BD2B-F446-5098-A6B3-1B0DF2978EE1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39750" y="5832000"/>
            <a:ext cx="3420000" cy="324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2" name="chart 1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0000"/>
            <a:ext cx="3420000" cy="3780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8" name="subhead 1">
            <a:extLst>
              <a:ext uri="{FF2B5EF4-FFF2-40B4-BE49-F238E27FC236}">
                <a16:creationId xmlns:a16="http://schemas.microsoft.com/office/drawing/2014/main" id="{7FD3290A-7031-7770-9646-817B4C73918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5" name="navigation">
            <a:extLst>
              <a:ext uri="{FF2B5EF4-FFF2-40B4-BE49-F238E27FC236}">
                <a16:creationId xmlns:a16="http://schemas.microsoft.com/office/drawing/2014/main" id="{5723AB1E-88FF-0368-9F04-4970BB9F4E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39274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5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">
            <a:extLst>
              <a:ext uri="{FF2B5EF4-FFF2-40B4-BE49-F238E27FC236}">
                <a16:creationId xmlns:a16="http://schemas.microsoft.com/office/drawing/2014/main" id="{CF0F75B6-3EDE-F843-4662-8A1F50C18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847B67F7-92A3-77BE-E39C-D6653DB0D1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A607CBA-1A2F-48DC-062D-E74D1128CE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658863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379148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99432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819716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5F2144B7-05FA-9A39-1950-AAFC1FABED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38496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8 : 4 charts : 4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3678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">
            <a:extLst>
              <a:ext uri="{FF2B5EF4-FFF2-40B4-BE49-F238E27FC236}">
                <a16:creationId xmlns:a16="http://schemas.microsoft.com/office/drawing/2014/main" id="{DEDE709E-20F8-05AF-7753-EAA002BC95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96B30112-9CF5-86C9-45BC-6E3B484D6C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2" name="date">
            <a:extLst>
              <a:ext uri="{FF2B5EF4-FFF2-40B4-BE49-F238E27FC236}">
                <a16:creationId xmlns:a16="http://schemas.microsoft.com/office/drawing/2014/main" id="{C6DA2335-AD62-A43C-4223-EC6BB5E3C0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1" name="source 4">
            <a:extLst>
              <a:ext uri="{FF2B5EF4-FFF2-40B4-BE49-F238E27FC236}">
                <a16:creationId xmlns:a16="http://schemas.microsoft.com/office/drawing/2014/main" id="{8074E840-B84A-2781-C141-E8D84BB91E4B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421138" y="5832000"/>
            <a:ext cx="5219750" cy="324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6" name="chart 4">
            <a:extLst>
              <a:ext uri="{FF2B5EF4-FFF2-40B4-BE49-F238E27FC236}">
                <a16:creationId xmlns:a16="http://schemas.microsoft.com/office/drawing/2014/main" id="{48A1718F-E6A1-2D1D-F320-0C14AC215E7A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6421138" y="4472764"/>
            <a:ext cx="5220000" cy="12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2" name="subhead 4">
            <a:extLst>
              <a:ext uri="{FF2B5EF4-FFF2-40B4-BE49-F238E27FC236}">
                <a16:creationId xmlns:a16="http://schemas.microsoft.com/office/drawing/2014/main" id="{E45627C3-1ABD-0953-C61A-51AA4E2122C1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6419111" y="3960000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6" name="source 3">
            <a:extLst>
              <a:ext uri="{FF2B5EF4-FFF2-40B4-BE49-F238E27FC236}">
                <a16:creationId xmlns:a16="http://schemas.microsoft.com/office/drawing/2014/main" id="{6FD5BD2B-F446-5098-A6B3-1B0DF2978EE1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40000" y="5832000"/>
            <a:ext cx="5219750" cy="324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18" name="chart 3">
            <a:extLst>
              <a:ext uri="{FF2B5EF4-FFF2-40B4-BE49-F238E27FC236}">
                <a16:creationId xmlns:a16="http://schemas.microsoft.com/office/drawing/2014/main" id="{41B73787-9571-1692-E61E-A393F7C9A595}"/>
              </a:ext>
            </a:extLst>
          </p:cNvPr>
          <p:cNvSpPr>
            <a:spLocks noGrp="1"/>
          </p:cNvSpPr>
          <p:nvPr>
            <p:ph type="chart" sz="quarter" idx="47"/>
          </p:nvPr>
        </p:nvSpPr>
        <p:spPr>
          <a:xfrm>
            <a:off x="539750" y="4472764"/>
            <a:ext cx="5220000" cy="12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3" name="subhead 3">
            <a:extLst>
              <a:ext uri="{FF2B5EF4-FFF2-40B4-BE49-F238E27FC236}">
                <a16:creationId xmlns:a16="http://schemas.microsoft.com/office/drawing/2014/main" id="{F80DDD01-36FB-F470-E150-873B903A3323}"/>
              </a:ext>
            </a:extLst>
          </p:cNvPr>
          <p:cNvSpPr>
            <a:spLocks noGrp="1"/>
          </p:cNvSpPr>
          <p:nvPr>
            <p:ph sz="quarter" idx="49"/>
          </p:nvPr>
        </p:nvSpPr>
        <p:spPr>
          <a:xfrm>
            <a:off x="540000" y="3960000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ource 2">
            <a:extLst>
              <a:ext uri="{FF2B5EF4-FFF2-40B4-BE49-F238E27FC236}">
                <a16:creationId xmlns:a16="http://schemas.microsoft.com/office/drawing/2014/main" id="{68E37CDA-3260-4E68-05BF-C9019DA6301A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6421138" y="3348000"/>
            <a:ext cx="5219750" cy="324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8" name="chart 2">
            <a:extLst>
              <a:ext uri="{FF2B5EF4-FFF2-40B4-BE49-F238E27FC236}">
                <a16:creationId xmlns:a16="http://schemas.microsoft.com/office/drawing/2014/main" id="{5D00C4C4-21BC-E403-5F96-529ED4036FC3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6421138" y="1989138"/>
            <a:ext cx="5220000" cy="12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9" name="subhead 2">
            <a:extLst>
              <a:ext uri="{FF2B5EF4-FFF2-40B4-BE49-F238E27FC236}">
                <a16:creationId xmlns:a16="http://schemas.microsoft.com/office/drawing/2014/main" id="{858F21A3-1754-7E4B-BF80-EAFA3BAD0A9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19111" y="1475999"/>
            <a:ext cx="5219751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source 1">
            <a:extLst>
              <a:ext uri="{FF2B5EF4-FFF2-40B4-BE49-F238E27FC236}">
                <a16:creationId xmlns:a16="http://schemas.microsoft.com/office/drawing/2014/main" id="{5B60FFDD-783E-4EE9-72B9-056E60C15987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540000" y="3348000"/>
            <a:ext cx="5219750" cy="324000"/>
          </a:xfrm>
        </p:spPr>
        <p:txBody>
          <a:bodyPr tIns="72000" anchor="b"/>
          <a:lstStyle>
            <a:lvl1pPr marL="0" indent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2" name="chart 1">
            <a:extLst>
              <a:ext uri="{FF2B5EF4-FFF2-40B4-BE49-F238E27FC236}">
                <a16:creationId xmlns:a16="http://schemas.microsoft.com/office/drawing/2014/main" id="{0E7FF249-AE2B-F99D-1704-29F12F21612F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89138"/>
            <a:ext cx="5220000" cy="12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0" name="subhead 1">
            <a:extLst>
              <a:ext uri="{FF2B5EF4-FFF2-40B4-BE49-F238E27FC236}">
                <a16:creationId xmlns:a16="http://schemas.microsoft.com/office/drawing/2014/main" id="{6648AFFC-B560-7A8C-6FD2-C5BD8D57A44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21975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9" name="navigation">
            <a:extLst>
              <a:ext uri="{FF2B5EF4-FFF2-40B4-BE49-F238E27FC236}">
                <a16:creationId xmlns:a16="http://schemas.microsoft.com/office/drawing/2014/main" id="{FEA9236D-7F0A-4788-C95A-50AAFFD75C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411890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59 : 6 charts : 6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694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">
            <a:extLst>
              <a:ext uri="{FF2B5EF4-FFF2-40B4-BE49-F238E27FC236}">
                <a16:creationId xmlns:a16="http://schemas.microsoft.com/office/drawing/2014/main" id="{B441E9EB-5A25-44BF-842B-65AF5100F7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">
            <a:extLst>
              <a:ext uri="{FF2B5EF4-FFF2-40B4-BE49-F238E27FC236}">
                <a16:creationId xmlns:a16="http://schemas.microsoft.com/office/drawing/2014/main" id="{4DAB7DCE-C59D-9169-F0A6-5D6391F01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9709957-6F7F-D59B-8D63-2ABF6E212B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source 6">
            <a:extLst>
              <a:ext uri="{FF2B5EF4-FFF2-40B4-BE49-F238E27FC236}">
                <a16:creationId xmlns:a16="http://schemas.microsoft.com/office/drawing/2014/main" id="{E8FD4020-B12B-57F9-D6CC-0B62B66EFDE1}"/>
              </a:ext>
            </a:extLst>
          </p:cNvPr>
          <p:cNvSpPr>
            <a:spLocks noGrp="1"/>
          </p:cNvSpPr>
          <p:nvPr>
            <p:ph type="body" idx="53"/>
          </p:nvPr>
        </p:nvSpPr>
        <p:spPr>
          <a:xfrm>
            <a:off x="8208000" y="5832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hart 6">
            <a:extLst>
              <a:ext uri="{FF2B5EF4-FFF2-40B4-BE49-F238E27FC236}">
                <a16:creationId xmlns:a16="http://schemas.microsoft.com/office/drawing/2014/main" id="{86CC700B-C7A6-25BB-D364-227D942CD9F8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08000" y="4463624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5" name="subhead 6">
            <a:extLst>
              <a:ext uri="{FF2B5EF4-FFF2-40B4-BE49-F238E27FC236}">
                <a16:creationId xmlns:a16="http://schemas.microsoft.com/office/drawing/2014/main" id="{301D76DE-ACF2-E794-1771-5D687981F248}"/>
              </a:ext>
            </a:extLst>
          </p:cNvPr>
          <p:cNvSpPr>
            <a:spLocks noGrp="1"/>
          </p:cNvSpPr>
          <p:nvPr>
            <p:ph sz="quarter" idx="55"/>
          </p:nvPr>
        </p:nvSpPr>
        <p:spPr>
          <a:xfrm>
            <a:off x="8208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source 5">
            <a:extLst>
              <a:ext uri="{FF2B5EF4-FFF2-40B4-BE49-F238E27FC236}">
                <a16:creationId xmlns:a16="http://schemas.microsoft.com/office/drawing/2014/main" id="{9546E5BF-8C5F-581B-BACA-D2195F4E49F4}"/>
              </a:ext>
            </a:extLst>
          </p:cNvPr>
          <p:cNvSpPr>
            <a:spLocks noGrp="1"/>
          </p:cNvSpPr>
          <p:nvPr>
            <p:ph type="body" idx="51"/>
          </p:nvPr>
        </p:nvSpPr>
        <p:spPr>
          <a:xfrm>
            <a:off x="4374000" y="5832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chart 5">
            <a:extLst>
              <a:ext uri="{FF2B5EF4-FFF2-40B4-BE49-F238E27FC236}">
                <a16:creationId xmlns:a16="http://schemas.microsoft.com/office/drawing/2014/main" id="{C64E0D5D-B852-08E3-C07B-14958A410B64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4374000" y="4463624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31" name="subhead 5">
            <a:extLst>
              <a:ext uri="{FF2B5EF4-FFF2-40B4-BE49-F238E27FC236}">
                <a16:creationId xmlns:a16="http://schemas.microsoft.com/office/drawing/2014/main" id="{7A447597-D947-02F5-6C3A-2A61FC024D64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74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2" name="source 4">
            <a:extLst>
              <a:ext uri="{FF2B5EF4-FFF2-40B4-BE49-F238E27FC236}">
                <a16:creationId xmlns:a16="http://schemas.microsoft.com/office/drawing/2014/main" id="{9CA324E6-C1BF-310B-5E47-6BCB77F1EFD3}"/>
              </a:ext>
            </a:extLst>
          </p:cNvPr>
          <p:cNvSpPr>
            <a:spLocks noGrp="1"/>
          </p:cNvSpPr>
          <p:nvPr>
            <p:ph type="body" idx="52"/>
          </p:nvPr>
        </p:nvSpPr>
        <p:spPr>
          <a:xfrm>
            <a:off x="539999" y="5832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chart 4">
            <a:extLst>
              <a:ext uri="{FF2B5EF4-FFF2-40B4-BE49-F238E27FC236}">
                <a16:creationId xmlns:a16="http://schemas.microsoft.com/office/drawing/2014/main" id="{8B285A21-EB89-994D-258D-2B3FCAB8F44D}"/>
              </a:ext>
            </a:extLst>
          </p:cNvPr>
          <p:cNvSpPr>
            <a:spLocks noGrp="1"/>
          </p:cNvSpPr>
          <p:nvPr>
            <p:ph type="chart" sz="quarter" idx="47"/>
          </p:nvPr>
        </p:nvSpPr>
        <p:spPr>
          <a:xfrm>
            <a:off x="539750" y="4463624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34" name="subhead 4">
            <a:extLst>
              <a:ext uri="{FF2B5EF4-FFF2-40B4-BE49-F238E27FC236}">
                <a16:creationId xmlns:a16="http://schemas.microsoft.com/office/drawing/2014/main" id="{AA74717E-1DD3-AADA-BA71-8B4380938135}"/>
              </a:ext>
            </a:extLst>
          </p:cNvPr>
          <p:cNvSpPr>
            <a:spLocks noGrp="1"/>
          </p:cNvSpPr>
          <p:nvPr>
            <p:ph sz="quarter" idx="49"/>
          </p:nvPr>
        </p:nvSpPr>
        <p:spPr>
          <a:xfrm>
            <a:off x="540000" y="3960000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source 3">
            <a:extLst>
              <a:ext uri="{FF2B5EF4-FFF2-40B4-BE49-F238E27FC236}">
                <a16:creationId xmlns:a16="http://schemas.microsoft.com/office/drawing/2014/main" id="{19D448D3-E31B-A0B2-AF22-99335C336DAA}"/>
              </a:ext>
            </a:extLst>
          </p:cNvPr>
          <p:cNvSpPr>
            <a:spLocks noGrp="1"/>
          </p:cNvSpPr>
          <p:nvPr>
            <p:ph type="body" idx="56"/>
          </p:nvPr>
        </p:nvSpPr>
        <p:spPr>
          <a:xfrm>
            <a:off x="8208000" y="3348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chart 3">
            <a:extLst>
              <a:ext uri="{FF2B5EF4-FFF2-40B4-BE49-F238E27FC236}">
                <a16:creationId xmlns:a16="http://schemas.microsoft.com/office/drawing/2014/main" id="{165A044B-016E-5346-88C6-97A27EE6F27F}"/>
              </a:ext>
            </a:extLst>
          </p:cNvPr>
          <p:cNvSpPr>
            <a:spLocks noGrp="1"/>
          </p:cNvSpPr>
          <p:nvPr>
            <p:ph type="chart" sz="quarter" idx="57"/>
          </p:nvPr>
        </p:nvSpPr>
        <p:spPr>
          <a:xfrm>
            <a:off x="8208000" y="1979998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37" name="subhead 3">
            <a:extLst>
              <a:ext uri="{FF2B5EF4-FFF2-40B4-BE49-F238E27FC236}">
                <a16:creationId xmlns:a16="http://schemas.microsoft.com/office/drawing/2014/main" id="{527F24E8-D7FE-5176-E7E0-2029830B88CA}"/>
              </a:ext>
            </a:extLst>
          </p:cNvPr>
          <p:cNvSpPr>
            <a:spLocks noGrp="1"/>
          </p:cNvSpPr>
          <p:nvPr>
            <p:ph sz="quarter" idx="58"/>
          </p:nvPr>
        </p:nvSpPr>
        <p:spPr>
          <a:xfrm>
            <a:off x="8208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8" name="source 2">
            <a:extLst>
              <a:ext uri="{FF2B5EF4-FFF2-40B4-BE49-F238E27FC236}">
                <a16:creationId xmlns:a16="http://schemas.microsoft.com/office/drawing/2014/main" id="{16C5E172-ADBB-3D85-ED18-AA8BB3C66EF1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4374000" y="3348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chart 2">
            <a:extLst>
              <a:ext uri="{FF2B5EF4-FFF2-40B4-BE49-F238E27FC236}">
                <a16:creationId xmlns:a16="http://schemas.microsoft.com/office/drawing/2014/main" id="{58F544D8-3A64-5685-E927-5ADA90DD98BE}"/>
              </a:ext>
            </a:extLst>
          </p:cNvPr>
          <p:cNvSpPr>
            <a:spLocks noGrp="1"/>
          </p:cNvSpPr>
          <p:nvPr>
            <p:ph type="chart" sz="quarter" idx="41"/>
          </p:nvPr>
        </p:nvSpPr>
        <p:spPr>
          <a:xfrm>
            <a:off x="4374000" y="1979998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40" name="subhead 2">
            <a:extLst>
              <a:ext uri="{FF2B5EF4-FFF2-40B4-BE49-F238E27FC236}">
                <a16:creationId xmlns:a16="http://schemas.microsoft.com/office/drawing/2014/main" id="{508BFFEB-34A5-2A0A-B7B5-48DAAF3668F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4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1" name="source 1">
            <a:extLst>
              <a:ext uri="{FF2B5EF4-FFF2-40B4-BE49-F238E27FC236}">
                <a16:creationId xmlns:a16="http://schemas.microsoft.com/office/drawing/2014/main" id="{D034BDF9-7227-D723-6AAA-8D685C27CA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3348000"/>
            <a:ext cx="3420000" cy="324000"/>
          </a:xfrm>
        </p:spPr>
        <p:txBody>
          <a:bodyPr anchor="b"/>
          <a:lstStyle>
            <a:lvl1pPr marL="0" indent="0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chart 1">
            <a:extLst>
              <a:ext uri="{FF2B5EF4-FFF2-40B4-BE49-F238E27FC236}">
                <a16:creationId xmlns:a16="http://schemas.microsoft.com/office/drawing/2014/main" id="{A669A4BB-B37A-0CEC-86D9-D5D6068BEB5B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539750" y="1979998"/>
            <a:ext cx="3420000" cy="129637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43" name="subhead 1">
            <a:extLst>
              <a:ext uri="{FF2B5EF4-FFF2-40B4-BE49-F238E27FC236}">
                <a16:creationId xmlns:a16="http://schemas.microsoft.com/office/drawing/2014/main" id="{1E1C712F-677A-4DA9-8E05-6420904CF2D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20000" cy="504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sz="14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nl-NL" sz="1200" noProof="0" dirty="0"/>
            </a:lvl5pPr>
            <a:lvl6pPr>
              <a:defRPr lang="nl-NL" sz="1200" noProof="0" dirty="0"/>
            </a:lvl6pPr>
            <a:lvl7pPr>
              <a:defRPr lang="nl-NL" sz="1200" noProof="0" dirty="0"/>
            </a:lvl7pPr>
            <a:lvl8pPr>
              <a:defRPr lang="nl-NL" sz="1200" noProof="0" dirty="0"/>
            </a:lvl8pPr>
            <a:lvl9pPr>
              <a:defRPr lang="nl-NL" sz="1200" noProof="0" dirty="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831E6820-8E72-B86D-4A31-992132A4A3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085569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60 : 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611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source">
            <a:extLst>
              <a:ext uri="{FF2B5EF4-FFF2-40B4-BE49-F238E27FC236}">
                <a16:creationId xmlns:a16="http://schemas.microsoft.com/office/drawing/2014/main" id="{6FD5BD2B-F446-5098-A6B3-1B0DF2978EE1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40000" y="5809721"/>
            <a:ext cx="11101138" cy="360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9" name="table">
            <a:extLst>
              <a:ext uri="{FF2B5EF4-FFF2-40B4-BE49-F238E27FC236}">
                <a16:creationId xmlns:a16="http://schemas.microsoft.com/office/drawing/2014/main" id="{CDBF0C3F-C6C8-73BF-3E3E-7D4A763FCCE6}"/>
              </a:ext>
            </a:extLst>
          </p:cNvPr>
          <p:cNvSpPr>
            <a:spLocks noGrp="1"/>
          </p:cNvSpPr>
          <p:nvPr>
            <p:ph type="tbl" sz="quarter" idx="40"/>
          </p:nvPr>
        </p:nvSpPr>
        <p:spPr>
          <a:xfrm>
            <a:off x="540000" y="5562601"/>
            <a:ext cx="11109209" cy="247120"/>
          </a:xfrm>
        </p:spPr>
        <p:txBody>
          <a:bodyPr lIns="0" tIns="0" rIns="0" bIns="0" anchor="b" anchorCtr="0"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13" name="text 1">
            <a:extLst>
              <a:ext uri="{FF2B5EF4-FFF2-40B4-BE49-F238E27FC236}">
                <a16:creationId xmlns:a16="http://schemas.microsoft.com/office/drawing/2014/main" id="{E103DC66-EA7E-9147-FF36-842134C5C10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25350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2">
            <a:extLst>
              <a:ext uri="{FF2B5EF4-FFF2-40B4-BE49-F238E27FC236}">
                <a16:creationId xmlns:a16="http://schemas.microsoft.com/office/drawing/2014/main" id="{98FB9F3D-51E3-DA7A-72C1-9D9EC3D8B1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0435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5CF659D6-1CA1-113A-C4A5-BC2D1BCCDA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5519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text 4">
            <a:extLst>
              <a:ext uri="{FF2B5EF4-FFF2-40B4-BE49-F238E27FC236}">
                <a16:creationId xmlns:a16="http://schemas.microsoft.com/office/drawing/2014/main" id="{99462D85-7E35-EDFA-C68E-E4A351201D5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00604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text 5">
            <a:extLst>
              <a:ext uri="{FF2B5EF4-FFF2-40B4-BE49-F238E27FC236}">
                <a16:creationId xmlns:a16="http://schemas.microsoft.com/office/drawing/2014/main" id="{2226BC48-C006-A3AF-A36B-63C2D3CA6BB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25688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text 6">
            <a:extLst>
              <a:ext uri="{FF2B5EF4-FFF2-40B4-BE49-F238E27FC236}">
                <a16:creationId xmlns:a16="http://schemas.microsoft.com/office/drawing/2014/main" id="{D7E98674-0010-6A4A-2092-C2342C1C972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50773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 7">
            <a:extLst>
              <a:ext uri="{FF2B5EF4-FFF2-40B4-BE49-F238E27FC236}">
                <a16:creationId xmlns:a16="http://schemas.microsoft.com/office/drawing/2014/main" id="{D9CE5412-1544-1ACC-B26C-DC64CB412F4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75857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 8">
            <a:extLst>
              <a:ext uri="{FF2B5EF4-FFF2-40B4-BE49-F238E27FC236}">
                <a16:creationId xmlns:a16="http://schemas.microsoft.com/office/drawing/2014/main" id="{92D36E5B-C594-07D8-1556-F61BAD6438F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00942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8" name="line">
            <a:extLst>
              <a:ext uri="{FF2B5EF4-FFF2-40B4-BE49-F238E27FC236}">
                <a16:creationId xmlns:a16="http://schemas.microsoft.com/office/drawing/2014/main" id="{90ADF8F4-69E2-18D8-2A65-38E33E06BD05}"/>
              </a:ext>
            </a:extLst>
          </p:cNvPr>
          <p:cNvCxnSpPr/>
          <p:nvPr/>
        </p:nvCxnSpPr>
        <p:spPr>
          <a:xfrm>
            <a:off x="550863" y="3472812"/>
            <a:ext cx="11109209" cy="0"/>
          </a:xfrm>
          <a:prstGeom prst="line">
            <a:avLst/>
          </a:pr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9" name="text 1">
            <a:extLst>
              <a:ext uri="{FF2B5EF4-FFF2-40B4-BE49-F238E27FC236}">
                <a16:creationId xmlns:a16="http://schemas.microsoft.com/office/drawing/2014/main" id="{9791F7F5-F90B-F440-B357-05CFDFC6E70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25350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0" name="text 2">
            <a:extLst>
              <a:ext uri="{FF2B5EF4-FFF2-40B4-BE49-F238E27FC236}">
                <a16:creationId xmlns:a16="http://schemas.microsoft.com/office/drawing/2014/main" id="{51B9D552-7689-4FAE-5FF0-1E53A33BFB83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50435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1" name="text 3">
            <a:extLst>
              <a:ext uri="{FF2B5EF4-FFF2-40B4-BE49-F238E27FC236}">
                <a16:creationId xmlns:a16="http://schemas.microsoft.com/office/drawing/2014/main" id="{AC0D6FC5-8114-4F86-7A13-896396BC3B4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75519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2" name="text 4">
            <a:extLst>
              <a:ext uri="{FF2B5EF4-FFF2-40B4-BE49-F238E27FC236}">
                <a16:creationId xmlns:a16="http://schemas.microsoft.com/office/drawing/2014/main" id="{35874900-7F40-5E32-DA1A-B532F6E6B57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00604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3" name="text 5">
            <a:extLst>
              <a:ext uri="{FF2B5EF4-FFF2-40B4-BE49-F238E27FC236}">
                <a16:creationId xmlns:a16="http://schemas.microsoft.com/office/drawing/2014/main" id="{11051CCF-88A7-6245-A7ED-5E92BCF254C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5688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4" name="text 6">
            <a:extLst>
              <a:ext uri="{FF2B5EF4-FFF2-40B4-BE49-F238E27FC236}">
                <a16:creationId xmlns:a16="http://schemas.microsoft.com/office/drawing/2014/main" id="{C6532634-485C-EBC5-74B9-6AD575B42BA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50773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5" name="text 7">
            <a:extLst>
              <a:ext uri="{FF2B5EF4-FFF2-40B4-BE49-F238E27FC236}">
                <a16:creationId xmlns:a16="http://schemas.microsoft.com/office/drawing/2014/main" id="{1CAE7171-408D-2DAC-8E3E-1F3F57CF23DE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75857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6" name="text 8">
            <a:extLst>
              <a:ext uri="{FF2B5EF4-FFF2-40B4-BE49-F238E27FC236}">
                <a16:creationId xmlns:a16="http://schemas.microsoft.com/office/drawing/2014/main" id="{03C59CD8-6B8F-4E44-062C-C6CB0D46E79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000942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C217556C-AB0F-BB2C-F74F-DD00A97DD2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3F64A1E-E451-ACD8-5613-104A49B8A1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">
            <a:extLst>
              <a:ext uri="{FF2B5EF4-FFF2-40B4-BE49-F238E27FC236}">
                <a16:creationId xmlns:a16="http://schemas.microsoft.com/office/drawing/2014/main" id="{38E9E637-79CC-884B-0711-7B48CAF30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A5C4DDFE-490E-47FF-D6F3-E5BCE68A63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46937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ease do not use : only guidiance placehol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BB0A28-794C-B1C7-31B2-419DB41E25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3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BB0A28-794C-B1C7-31B2-419DB41E25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E7D3CCF1-660E-7AB1-06AD-93225FDD1D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484312"/>
            <a:ext cx="11088000" cy="4662751"/>
          </a:xfrm>
        </p:spPr>
        <p:txBody>
          <a:bodyPr vert="horz"/>
          <a:lstStyle>
            <a:lvl1pPr>
              <a:lnSpc>
                <a:spcPct val="100000"/>
              </a:lnSpc>
              <a:defRPr lang="de-DE" sz="11000" b="0" kern="1200" spc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51278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  007 : 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>
            <a:extLst>
              <a:ext uri="{FF2B5EF4-FFF2-40B4-BE49-F238E27FC236}">
                <a16:creationId xmlns:a16="http://schemas.microsoft.com/office/drawing/2014/main" id="{9C2549D5-7902-05C3-BA6E-F3FCE55E3E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B0528374-4148-93BC-40AD-371D0F4E7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B36025A7-E938-A69D-AFCB-12FF43B05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598DE614-BE92-7773-D42B-7B7F203DDC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379192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  007 : 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>
            <a:extLst>
              <a:ext uri="{FF2B5EF4-FFF2-40B4-BE49-F238E27FC236}">
                <a16:creationId xmlns:a16="http://schemas.microsoft.com/office/drawing/2014/main" id="{C8B9794A-FBFF-4F27-7D37-44F87A66C9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ct 7" hidden="1">
                        <a:extLst>
                          <a:ext uri="{FF2B5EF4-FFF2-40B4-BE49-F238E27FC236}">
                            <a16:creationId xmlns:a16="http://schemas.microsoft.com/office/drawing/2014/main" id="{C8B9794A-FBFF-4F27-7D37-44F87A66C9C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valantic logo">
            <a:extLst>
              <a:ext uri="{FF2B5EF4-FFF2-40B4-BE49-F238E27FC236}">
                <a16:creationId xmlns:a16="http://schemas.microsoft.com/office/drawing/2014/main" id="{C20891E5-D621-EE0A-2C24-12029B7FD5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5925" y="6218238"/>
            <a:ext cx="1168400" cy="450850"/>
          </a:xfrm>
          <a:prstGeom prst="rect">
            <a:avLst/>
          </a:prstGeom>
        </p:spPr>
      </p:pic>
      <p:graphicFrame>
        <p:nvGraphicFramePr>
          <p:cNvPr id="4" name="Object 5" hidden="1">
            <a:extLst>
              <a:ext uri="{FF2B5EF4-FFF2-40B4-BE49-F238E27FC236}">
                <a16:creationId xmlns:a16="http://schemas.microsoft.com/office/drawing/2014/main" id="{64F4EBBA-EC5F-97AC-E427-BF7483D724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4" name="Object 5" hidden="1">
                        <a:extLst>
                          <a:ext uri="{FF2B5EF4-FFF2-40B4-BE49-F238E27FC236}">
                            <a16:creationId xmlns:a16="http://schemas.microsoft.com/office/drawing/2014/main" id="{64F4EBBA-EC5F-97AC-E427-BF7483D72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navigation"/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anchor="t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A0F1844C-48BD-0BD9-744F-F6155793732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 lang="en-GB" smtClean="0"/>
            </a:lvl1pPr>
          </a:lstStyle>
          <a:p>
            <a:pPr>
              <a:defRPr/>
            </a:pPr>
            <a:fld id="{92CF8781-BC5F-4C8D-8C94-C89E402B8A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D2EF0A2E-F4A1-FEC3-0419-CD172550211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r" rtl="0">
              <a:defRPr sz="80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date">
            <a:extLst>
              <a:ext uri="{FF2B5EF4-FFF2-40B4-BE49-F238E27FC236}">
                <a16:creationId xmlns:a16="http://schemas.microsoft.com/office/drawing/2014/main" id="{B0443CB1-3DE5-B076-66BA-6BFC53501D9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algn="ctr" rtl="0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08.03.2024</a:t>
            </a:r>
          </a:p>
        </p:txBody>
      </p:sp>
    </p:spTree>
    <p:extLst>
      <p:ext uri="{BB962C8B-B14F-4D97-AF65-F5344CB8AC3E}">
        <p14:creationId xmlns:p14="http://schemas.microsoft.com/office/powerpoint/2010/main" val="28060097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  036a : full page picture : circle : 3 oval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full size">
            <a:extLst>
              <a:ext uri="{FF2B5EF4-FFF2-40B4-BE49-F238E27FC236}">
                <a16:creationId xmlns:a16="http://schemas.microsoft.com/office/drawing/2014/main" id="{F6E1902A-473C-3F19-AAE4-9B651FE77A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2000" y="-12700"/>
            <a:ext cx="12204000" cy="6870700"/>
          </a:xfrm>
          <a:solidFill>
            <a:schemeClr val="bg1"/>
          </a:solidFill>
          <a:ln w="3175">
            <a:solidFill>
              <a:schemeClr val="accent4">
                <a:lumMod val="75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Bild</a:t>
            </a:r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82825752-3B68-DCA6-D70E-76EBF0465B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CC9A477D-5A61-55EA-5B62-A43CEB429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C779AB2A-12B9-D58C-7C6A-E4F2B83542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24" name="logo placeholder">
            <a:extLst>
              <a:ext uri="{FF2B5EF4-FFF2-40B4-BE49-F238E27FC236}">
                <a16:creationId xmlns:a16="http://schemas.microsoft.com/office/drawing/2014/main" id="{E9BCCCA7-B9AF-F498-40C4-869BA49F955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3E6AA0F0-30F8-5088-2044-347A632077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25137" y="4627545"/>
            <a:ext cx="7128000" cy="900000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4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</a:defRPr>
            </a:lvl2pPr>
            <a:lvl3pPr>
              <a:defRPr lang="en-US" sz="14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9" name="text 2">
            <a:extLst>
              <a:ext uri="{FF2B5EF4-FFF2-40B4-BE49-F238E27FC236}">
                <a16:creationId xmlns:a16="http://schemas.microsoft.com/office/drawing/2014/main" id="{57DAAD7C-B3E0-4642-94DB-417D92D974B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5137" y="3351882"/>
            <a:ext cx="7128000" cy="900000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4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</a:defRPr>
            </a:lvl2pPr>
            <a:lvl3pPr>
              <a:defRPr lang="en-US" sz="14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ext 1">
            <a:extLst>
              <a:ext uri="{FF2B5EF4-FFF2-40B4-BE49-F238E27FC236}">
                <a16:creationId xmlns:a16="http://schemas.microsoft.com/office/drawing/2014/main" id="{F2463AE6-9794-D7A8-A678-315AD5F33D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25137" y="2076218"/>
            <a:ext cx="7128000" cy="900000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468000" tIns="0" rIns="180000" bIns="0" rtlCol="0" anchor="ctr">
            <a:noAutofit/>
          </a:bodyPr>
          <a:lstStyle>
            <a:lvl1pPr>
              <a:defRPr lang="en-US" sz="1400" i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</a:defRPr>
            </a:lvl2pPr>
            <a:lvl3pPr>
              <a:defRPr lang="en-US" sz="14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8" name="circle">
            <a:extLst>
              <a:ext uri="{FF2B5EF4-FFF2-40B4-BE49-F238E27FC236}">
                <a16:creationId xmlns:a16="http://schemas.microsoft.com/office/drawing/2014/main" id="{4BF98BFE-CCD8-B635-3FD5-A9F3F3E61F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628000"/>
            <a:ext cx="2340000" cy="2340000"/>
          </a:xfrm>
          <a:prstGeom prst="flowChartConnector">
            <a:avLst/>
          </a:prstGeom>
          <a:noFill/>
          <a:ln w="6350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kumimoji="0" lang="en-US" sz="1600" u="none" strike="noStrike" cap="none" spc="0" normalizeH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cxnSp>
        <p:nvCxnSpPr>
          <p:cNvPr id="19" name="Gewinkelte Verbindung 9">
            <a:extLst>
              <a:ext uri="{FF2B5EF4-FFF2-40B4-BE49-F238E27FC236}">
                <a16:creationId xmlns:a16="http://schemas.microsoft.com/office/drawing/2014/main" id="{62C4CD96-ED4A-60EB-5AC4-6B3D5997C359}"/>
              </a:ext>
            </a:extLst>
          </p:cNvPr>
          <p:cNvCxnSpPr>
            <a:cxnSpLocks/>
            <a:stCxn id="8" idx="6"/>
            <a:endCxn id="16" idx="1"/>
          </p:cNvCxnSpPr>
          <p:nvPr userDrawn="1"/>
        </p:nvCxnSpPr>
        <p:spPr>
          <a:xfrm>
            <a:off x="2880000" y="3798000"/>
            <a:ext cx="1345137" cy="1279545"/>
          </a:xfrm>
          <a:prstGeom prst="bentConnector3">
            <a:avLst>
              <a:gd name="adj1" fmla="val 50000"/>
            </a:avLst>
          </a:prstGeom>
          <a:ln w="22225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winkelte Verbindung 7">
            <a:extLst>
              <a:ext uri="{FF2B5EF4-FFF2-40B4-BE49-F238E27FC236}">
                <a16:creationId xmlns:a16="http://schemas.microsoft.com/office/drawing/2014/main" id="{863812CE-E3F7-4AD8-BFAC-BC944F27BBB5}"/>
              </a:ext>
            </a:extLst>
          </p:cNvPr>
          <p:cNvCxnSpPr>
            <a:cxnSpLocks/>
            <a:stCxn id="8" idx="6"/>
            <a:endCxn id="6" idx="1"/>
          </p:cNvCxnSpPr>
          <p:nvPr userDrawn="1"/>
        </p:nvCxnSpPr>
        <p:spPr>
          <a:xfrm flipV="1">
            <a:off x="2880000" y="2526218"/>
            <a:ext cx="1345137" cy="1271782"/>
          </a:xfrm>
          <a:prstGeom prst="bentConnector3">
            <a:avLst>
              <a:gd name="adj1" fmla="val 50000"/>
            </a:avLst>
          </a:prstGeom>
          <a:ln w="1905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>
            <a:extLst>
              <a:ext uri="{FF2B5EF4-FFF2-40B4-BE49-F238E27FC236}">
                <a16:creationId xmlns:a16="http://schemas.microsoft.com/office/drawing/2014/main" id="{1ED48383-9E08-C202-05E0-9240EC448B39}"/>
              </a:ext>
            </a:extLst>
          </p:cNvPr>
          <p:cNvCxnSpPr>
            <a:cxnSpLocks/>
            <a:stCxn id="8" idx="6"/>
            <a:endCxn id="9" idx="1"/>
          </p:cNvCxnSpPr>
          <p:nvPr userDrawn="1"/>
        </p:nvCxnSpPr>
        <p:spPr>
          <a:xfrm>
            <a:off x="2880000" y="3798000"/>
            <a:ext cx="1345137" cy="3882"/>
          </a:xfrm>
          <a:prstGeom prst="line">
            <a:avLst/>
          </a:prstGeom>
          <a:ln w="1905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04138522-C695-4395-F275-BCB54A94B6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01688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60 : 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source">
            <a:extLst>
              <a:ext uri="{FF2B5EF4-FFF2-40B4-BE49-F238E27FC236}">
                <a16:creationId xmlns:a16="http://schemas.microsoft.com/office/drawing/2014/main" id="{6FD5BD2B-F446-5098-A6B3-1B0DF2978EE1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40000" y="5809721"/>
            <a:ext cx="11101138" cy="360000"/>
          </a:xfrm>
          <a:noFill/>
        </p:spPr>
        <p:txBody>
          <a:bodyPr vert="horz" lIns="0" tIns="72000" rIns="0" bIns="0" rtlCol="0" anchor="b">
            <a:noAutofit/>
          </a:bodyPr>
          <a:lstStyle>
            <a:lvl1pPr>
              <a:defRPr lang="en-US" sz="900" dirty="0"/>
            </a:lvl1pPr>
          </a:lstStyle>
          <a:p>
            <a:pPr lv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ext styles</a:t>
            </a:r>
          </a:p>
        </p:txBody>
      </p:sp>
      <p:sp>
        <p:nvSpPr>
          <p:cNvPr id="9" name="table">
            <a:extLst>
              <a:ext uri="{FF2B5EF4-FFF2-40B4-BE49-F238E27FC236}">
                <a16:creationId xmlns:a16="http://schemas.microsoft.com/office/drawing/2014/main" id="{CDBF0C3F-C6C8-73BF-3E3E-7D4A763FCCE6}"/>
              </a:ext>
            </a:extLst>
          </p:cNvPr>
          <p:cNvSpPr>
            <a:spLocks noGrp="1"/>
          </p:cNvSpPr>
          <p:nvPr>
            <p:ph type="tbl" sz="quarter" idx="40"/>
          </p:nvPr>
        </p:nvSpPr>
        <p:spPr>
          <a:xfrm>
            <a:off x="540000" y="5562601"/>
            <a:ext cx="11109209" cy="247120"/>
          </a:xfrm>
        </p:spPr>
        <p:txBody>
          <a:bodyPr lIns="0" tIns="0" rIns="0" bIns="0" anchor="b" anchorCtr="0"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13" name="text 1">
            <a:extLst>
              <a:ext uri="{FF2B5EF4-FFF2-40B4-BE49-F238E27FC236}">
                <a16:creationId xmlns:a16="http://schemas.microsoft.com/office/drawing/2014/main" id="{E103DC66-EA7E-9147-FF36-842134C5C10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25350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2">
            <a:extLst>
              <a:ext uri="{FF2B5EF4-FFF2-40B4-BE49-F238E27FC236}">
                <a16:creationId xmlns:a16="http://schemas.microsoft.com/office/drawing/2014/main" id="{98FB9F3D-51E3-DA7A-72C1-9D9EC3D8B1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0435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5CF659D6-1CA1-113A-C4A5-BC2D1BCCDA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5519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text 4">
            <a:extLst>
              <a:ext uri="{FF2B5EF4-FFF2-40B4-BE49-F238E27FC236}">
                <a16:creationId xmlns:a16="http://schemas.microsoft.com/office/drawing/2014/main" id="{99462D85-7E35-EDFA-C68E-E4A351201D5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00604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text 5">
            <a:extLst>
              <a:ext uri="{FF2B5EF4-FFF2-40B4-BE49-F238E27FC236}">
                <a16:creationId xmlns:a16="http://schemas.microsoft.com/office/drawing/2014/main" id="{2226BC48-C006-A3AF-A36B-63C2D3CA6BB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25688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text 6">
            <a:extLst>
              <a:ext uri="{FF2B5EF4-FFF2-40B4-BE49-F238E27FC236}">
                <a16:creationId xmlns:a16="http://schemas.microsoft.com/office/drawing/2014/main" id="{D7E98674-0010-6A4A-2092-C2342C1C972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50773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 7">
            <a:extLst>
              <a:ext uri="{FF2B5EF4-FFF2-40B4-BE49-F238E27FC236}">
                <a16:creationId xmlns:a16="http://schemas.microsoft.com/office/drawing/2014/main" id="{D9CE5412-1544-1ACC-B26C-DC64CB412F4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758576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 8">
            <a:extLst>
              <a:ext uri="{FF2B5EF4-FFF2-40B4-BE49-F238E27FC236}">
                <a16:creationId xmlns:a16="http://schemas.microsoft.com/office/drawing/2014/main" id="{92D36E5B-C594-07D8-1556-F61BAD6438F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009421" y="3824895"/>
            <a:ext cx="1080000" cy="1440000"/>
          </a:xfrm>
        </p:spPr>
        <p:txBody>
          <a:bodyPr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8" name="line">
            <a:extLst>
              <a:ext uri="{FF2B5EF4-FFF2-40B4-BE49-F238E27FC236}">
                <a16:creationId xmlns:a16="http://schemas.microsoft.com/office/drawing/2014/main" id="{90ADF8F4-69E2-18D8-2A65-38E33E06BD05}"/>
              </a:ext>
            </a:extLst>
          </p:cNvPr>
          <p:cNvCxnSpPr/>
          <p:nvPr/>
        </p:nvCxnSpPr>
        <p:spPr>
          <a:xfrm>
            <a:off x="550863" y="3472812"/>
            <a:ext cx="11109209" cy="0"/>
          </a:xfrm>
          <a:prstGeom prst="line">
            <a:avLst/>
          </a:pr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9" name="text 1">
            <a:extLst>
              <a:ext uri="{FF2B5EF4-FFF2-40B4-BE49-F238E27FC236}">
                <a16:creationId xmlns:a16="http://schemas.microsoft.com/office/drawing/2014/main" id="{9791F7F5-F90B-F440-B357-05CFDFC6E70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25350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0" name="text 2">
            <a:extLst>
              <a:ext uri="{FF2B5EF4-FFF2-40B4-BE49-F238E27FC236}">
                <a16:creationId xmlns:a16="http://schemas.microsoft.com/office/drawing/2014/main" id="{51B9D552-7689-4FAE-5FF0-1E53A33BFB83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50435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1" name="text 3">
            <a:extLst>
              <a:ext uri="{FF2B5EF4-FFF2-40B4-BE49-F238E27FC236}">
                <a16:creationId xmlns:a16="http://schemas.microsoft.com/office/drawing/2014/main" id="{AC0D6FC5-8114-4F86-7A13-896396BC3B4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75519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2" name="text 4">
            <a:extLst>
              <a:ext uri="{FF2B5EF4-FFF2-40B4-BE49-F238E27FC236}">
                <a16:creationId xmlns:a16="http://schemas.microsoft.com/office/drawing/2014/main" id="{35874900-7F40-5E32-DA1A-B532F6E6B57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00604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3" name="text 5">
            <a:extLst>
              <a:ext uri="{FF2B5EF4-FFF2-40B4-BE49-F238E27FC236}">
                <a16:creationId xmlns:a16="http://schemas.microsoft.com/office/drawing/2014/main" id="{11051CCF-88A7-6245-A7ED-5E92BCF254C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5688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4" name="text 6">
            <a:extLst>
              <a:ext uri="{FF2B5EF4-FFF2-40B4-BE49-F238E27FC236}">
                <a16:creationId xmlns:a16="http://schemas.microsoft.com/office/drawing/2014/main" id="{C6532634-485C-EBC5-74B9-6AD575B42BA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50773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5" name="text 7">
            <a:extLst>
              <a:ext uri="{FF2B5EF4-FFF2-40B4-BE49-F238E27FC236}">
                <a16:creationId xmlns:a16="http://schemas.microsoft.com/office/drawing/2014/main" id="{1CAE7171-408D-2DAC-8E3E-1F3F57CF23DE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758576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6" name="text 8">
            <a:extLst>
              <a:ext uri="{FF2B5EF4-FFF2-40B4-BE49-F238E27FC236}">
                <a16:creationId xmlns:a16="http://schemas.microsoft.com/office/drawing/2014/main" id="{03C59CD8-6B8F-4E44-062C-C6CB0D46E79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0009421" y="1494445"/>
            <a:ext cx="1080000" cy="1440000"/>
          </a:xfrm>
        </p:spPr>
        <p:txBody>
          <a:bodyPr anchor="b"/>
          <a:lstStyle>
            <a:lvl1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2pPr>
            <a:lvl3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3pPr>
            <a:lvl4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C217556C-AB0F-BB2C-F74F-DD00A97DD2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3F64A1E-E451-ACD8-5613-104A49B8A1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">
            <a:extLst>
              <a:ext uri="{FF2B5EF4-FFF2-40B4-BE49-F238E27FC236}">
                <a16:creationId xmlns:a16="http://schemas.microsoft.com/office/drawing/2014/main" id="{38E9E637-79CC-884B-0711-7B48CAF30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A5C4DDFE-490E-47FF-D6F3-E5BCE68A63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46937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6 : content top : 2 picture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picture right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0000" y="3798472"/>
            <a:ext cx="5112000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" name="picture left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0" y="3798472"/>
            <a:ext cx="5112000" cy="2376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800000" y="1476000"/>
            <a:ext cx="9864000" cy="2160000"/>
          </a:xfrm>
          <a:noFill/>
        </p:spPr>
        <p:txBody>
          <a:bodyPr vert="horz" lIns="0" tIns="0" rIns="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E41499E-F5BE-DBF3-BAC3-92C32C627C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268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49 : team : 8 pictures : 8 names + ro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slide number">
            <a:extLst>
              <a:ext uri="{FF2B5EF4-FFF2-40B4-BE49-F238E27FC236}">
                <a16:creationId xmlns:a16="http://schemas.microsoft.com/office/drawing/2014/main" id="{BFE64E29-7CD5-4375-8CC6-67F88FF8C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footer">
            <a:extLst>
              <a:ext uri="{FF2B5EF4-FFF2-40B4-BE49-F238E27FC236}">
                <a16:creationId xmlns:a16="http://schemas.microsoft.com/office/drawing/2014/main" id="{47FF2C98-89C2-049B-2264-7381416C86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46" name="date">
            <a:extLst>
              <a:ext uri="{FF2B5EF4-FFF2-40B4-BE49-F238E27FC236}">
                <a16:creationId xmlns:a16="http://schemas.microsoft.com/office/drawing/2014/main" id="{E5D7A60A-319A-B603-01C5-CB1B6D2575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0" name="shadow 8">
            <a:extLst>
              <a:ext uri="{FF2B5EF4-FFF2-40B4-BE49-F238E27FC236}">
                <a16:creationId xmlns:a16="http://schemas.microsoft.com/office/drawing/2014/main" id="{80DCE6D2-E964-BCC1-4BF3-80619AB6B22F}"/>
              </a:ext>
            </a:extLst>
          </p:cNvPr>
          <p:cNvSpPr txBox="1">
            <a:spLocks/>
          </p:cNvSpPr>
          <p:nvPr/>
        </p:nvSpPr>
        <p:spPr>
          <a:xfrm>
            <a:off x="9115977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1" name="role 8">
            <a:extLst>
              <a:ext uri="{FF2B5EF4-FFF2-40B4-BE49-F238E27FC236}">
                <a16:creationId xmlns:a16="http://schemas.microsoft.com/office/drawing/2014/main" id="{302AB1C0-479A-FBFB-9955-F8FEBE62F170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9115977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2" name="name 8">
            <a:extLst>
              <a:ext uri="{FF2B5EF4-FFF2-40B4-BE49-F238E27FC236}">
                <a16:creationId xmlns:a16="http://schemas.microsoft.com/office/drawing/2014/main" id="{94859EF9-9A41-580A-9F10-2BACF1F685FE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9115977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picture 8">
            <a:extLst>
              <a:ext uri="{FF2B5EF4-FFF2-40B4-BE49-F238E27FC236}">
                <a16:creationId xmlns:a16="http://schemas.microsoft.com/office/drawing/2014/main" id="{B89B0E8D-0A4E-D9BD-4E96-1C86F054B41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115977" y="3924000"/>
            <a:ext cx="2520000" cy="1260000"/>
          </a:xfrm>
          <a:prstGeom prst="round2SameRect">
            <a:avLst>
              <a:gd name="adj1" fmla="val 79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34" name="shadow 7">
            <a:extLst>
              <a:ext uri="{FF2B5EF4-FFF2-40B4-BE49-F238E27FC236}">
                <a16:creationId xmlns:a16="http://schemas.microsoft.com/office/drawing/2014/main" id="{F24DE4CC-0AAA-063C-4C90-B27ADB47A96D}"/>
              </a:ext>
            </a:extLst>
          </p:cNvPr>
          <p:cNvSpPr txBox="1">
            <a:spLocks/>
          </p:cNvSpPr>
          <p:nvPr/>
        </p:nvSpPr>
        <p:spPr>
          <a:xfrm>
            <a:off x="6257318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5" name="role 7">
            <a:extLst>
              <a:ext uri="{FF2B5EF4-FFF2-40B4-BE49-F238E27FC236}">
                <a16:creationId xmlns:a16="http://schemas.microsoft.com/office/drawing/2014/main" id="{5F4DB279-E952-57B0-ABF3-55F96BC5C067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6257318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6" name="name 7">
            <a:extLst>
              <a:ext uri="{FF2B5EF4-FFF2-40B4-BE49-F238E27FC236}">
                <a16:creationId xmlns:a16="http://schemas.microsoft.com/office/drawing/2014/main" id="{10CF9B7A-17B4-319D-3918-781E07C7378D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6257318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picture 7">
            <a:extLst>
              <a:ext uri="{FF2B5EF4-FFF2-40B4-BE49-F238E27FC236}">
                <a16:creationId xmlns:a16="http://schemas.microsoft.com/office/drawing/2014/main" id="{14AEB7DA-4524-FB65-6503-ECFEC6AED7B2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257318" y="3924000"/>
            <a:ext cx="2520000" cy="1260000"/>
          </a:xfrm>
          <a:prstGeom prst="round2SameRect">
            <a:avLst>
              <a:gd name="adj1" fmla="val 96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38" name="shadow 6">
            <a:extLst>
              <a:ext uri="{FF2B5EF4-FFF2-40B4-BE49-F238E27FC236}">
                <a16:creationId xmlns:a16="http://schemas.microsoft.com/office/drawing/2014/main" id="{1733417B-E0AE-9BBA-7D9C-996AE8AE58DB}"/>
              </a:ext>
            </a:extLst>
          </p:cNvPr>
          <p:cNvSpPr txBox="1">
            <a:spLocks/>
          </p:cNvSpPr>
          <p:nvPr/>
        </p:nvSpPr>
        <p:spPr>
          <a:xfrm>
            <a:off x="3398659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39" name="role 6">
            <a:extLst>
              <a:ext uri="{FF2B5EF4-FFF2-40B4-BE49-F238E27FC236}">
                <a16:creationId xmlns:a16="http://schemas.microsoft.com/office/drawing/2014/main" id="{203BD5BF-8449-0025-8A80-DDE84CE07B14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398659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0" name="name 6">
            <a:extLst>
              <a:ext uri="{FF2B5EF4-FFF2-40B4-BE49-F238E27FC236}">
                <a16:creationId xmlns:a16="http://schemas.microsoft.com/office/drawing/2014/main" id="{ACECDBA1-8A88-7944-D598-139FE427F701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3398659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picture 6">
            <a:extLst>
              <a:ext uri="{FF2B5EF4-FFF2-40B4-BE49-F238E27FC236}">
                <a16:creationId xmlns:a16="http://schemas.microsoft.com/office/drawing/2014/main" id="{BB0E6A62-187F-C4B5-1FEE-76C73BEAEBB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398659" y="3924000"/>
            <a:ext cx="2520000" cy="1260000"/>
          </a:xfrm>
          <a:prstGeom prst="round2SameRect">
            <a:avLst>
              <a:gd name="adj1" fmla="val 6840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2" name="shadow 5">
            <a:extLst>
              <a:ext uri="{FF2B5EF4-FFF2-40B4-BE49-F238E27FC236}">
                <a16:creationId xmlns:a16="http://schemas.microsoft.com/office/drawing/2014/main" id="{B6A9C31B-FBD2-CB40-31B7-68A888EC6157}"/>
              </a:ext>
            </a:extLst>
          </p:cNvPr>
          <p:cNvSpPr txBox="1">
            <a:spLocks/>
          </p:cNvSpPr>
          <p:nvPr/>
        </p:nvSpPr>
        <p:spPr>
          <a:xfrm>
            <a:off x="540000" y="396985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43" name="role 5">
            <a:extLst>
              <a:ext uri="{FF2B5EF4-FFF2-40B4-BE49-F238E27FC236}">
                <a16:creationId xmlns:a16="http://schemas.microsoft.com/office/drawing/2014/main" id="{D5C6B1F8-8A43-2891-A841-B8196814AE91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540000" y="570789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4" name="name 5">
            <a:extLst>
              <a:ext uri="{FF2B5EF4-FFF2-40B4-BE49-F238E27FC236}">
                <a16:creationId xmlns:a16="http://schemas.microsoft.com/office/drawing/2014/main" id="{C43C94EF-9938-02E0-25BA-5684E24AE185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540000" y="5326097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picture 5">
            <a:extLst>
              <a:ext uri="{FF2B5EF4-FFF2-40B4-BE49-F238E27FC236}">
                <a16:creationId xmlns:a16="http://schemas.microsoft.com/office/drawing/2014/main" id="{373AD45E-C08B-9E21-191C-6D7AE722762E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40000" y="3924000"/>
            <a:ext cx="2520000" cy="1260000"/>
          </a:xfrm>
          <a:prstGeom prst="round2SameRect">
            <a:avLst>
              <a:gd name="adj1" fmla="val 62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6" name="shadow 4">
            <a:extLst>
              <a:ext uri="{FF2B5EF4-FFF2-40B4-BE49-F238E27FC236}">
                <a16:creationId xmlns:a16="http://schemas.microsoft.com/office/drawing/2014/main" id="{FA17BC66-5A11-4B6D-A49E-B4C21ED32335}"/>
              </a:ext>
            </a:extLst>
          </p:cNvPr>
          <p:cNvSpPr txBox="1">
            <a:spLocks/>
          </p:cNvSpPr>
          <p:nvPr/>
        </p:nvSpPr>
        <p:spPr>
          <a:xfrm>
            <a:off x="9115977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8" name="role 4">
            <a:extLst>
              <a:ext uri="{FF2B5EF4-FFF2-40B4-BE49-F238E27FC236}">
                <a16:creationId xmlns:a16="http://schemas.microsoft.com/office/drawing/2014/main" id="{1C2FB319-5890-BA63-6178-46B4E15CC6B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9115977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0BF8F20A-36F1-9E35-92E4-4231E9BCA137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9115977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picture 4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15977" y="1466475"/>
            <a:ext cx="2520000" cy="1260000"/>
          </a:xfrm>
          <a:prstGeom prst="round2SameRect">
            <a:avLst>
              <a:gd name="adj1" fmla="val 79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5" name="shadow 3">
            <a:extLst>
              <a:ext uri="{FF2B5EF4-FFF2-40B4-BE49-F238E27FC236}">
                <a16:creationId xmlns:a16="http://schemas.microsoft.com/office/drawing/2014/main" id="{7563E26F-7B5C-BADA-F273-3229870C38C0}"/>
              </a:ext>
            </a:extLst>
          </p:cNvPr>
          <p:cNvSpPr txBox="1">
            <a:spLocks/>
          </p:cNvSpPr>
          <p:nvPr/>
        </p:nvSpPr>
        <p:spPr>
          <a:xfrm>
            <a:off x="6257318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6" name="role 3">
            <a:extLst>
              <a:ext uri="{FF2B5EF4-FFF2-40B4-BE49-F238E27FC236}">
                <a16:creationId xmlns:a16="http://schemas.microsoft.com/office/drawing/2014/main" id="{B033DFCB-CBEB-03FF-0E21-D4A348D757BE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257318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5" name="name 3">
            <a:extLst>
              <a:ext uri="{FF2B5EF4-FFF2-40B4-BE49-F238E27FC236}">
                <a16:creationId xmlns:a16="http://schemas.microsoft.com/office/drawing/2014/main" id="{5340354E-C2CE-F1A0-1324-B12089FC1EF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57318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picture 3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57318" y="1466475"/>
            <a:ext cx="2520000" cy="1260000"/>
          </a:xfrm>
          <a:prstGeom prst="round2SameRect">
            <a:avLst>
              <a:gd name="adj1" fmla="val 9611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1" name="shadow 2">
            <a:extLst>
              <a:ext uri="{FF2B5EF4-FFF2-40B4-BE49-F238E27FC236}">
                <a16:creationId xmlns:a16="http://schemas.microsoft.com/office/drawing/2014/main" id="{3C9B4B1F-8CFB-03B9-8122-CEB6303D9EF6}"/>
              </a:ext>
            </a:extLst>
          </p:cNvPr>
          <p:cNvSpPr txBox="1">
            <a:spLocks/>
          </p:cNvSpPr>
          <p:nvPr/>
        </p:nvSpPr>
        <p:spPr>
          <a:xfrm>
            <a:off x="3398659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22" name="role 2">
            <a:extLst>
              <a:ext uri="{FF2B5EF4-FFF2-40B4-BE49-F238E27FC236}">
                <a16:creationId xmlns:a16="http://schemas.microsoft.com/office/drawing/2014/main" id="{6A83C635-5C0F-6FD4-9E16-8447B102CB65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398659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1" name="name 2">
            <a:extLst>
              <a:ext uri="{FF2B5EF4-FFF2-40B4-BE49-F238E27FC236}">
                <a16:creationId xmlns:a16="http://schemas.microsoft.com/office/drawing/2014/main" id="{C918C1F2-8374-4EF1-70F3-0489E4D2FDD9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398659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picture 2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98659" y="1466475"/>
            <a:ext cx="2520000" cy="1260000"/>
          </a:xfrm>
          <a:prstGeom prst="round2SameRect">
            <a:avLst>
              <a:gd name="adj1" fmla="val 6840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3" name="shadow 1">
            <a:extLst>
              <a:ext uri="{FF2B5EF4-FFF2-40B4-BE49-F238E27FC236}">
                <a16:creationId xmlns:a16="http://schemas.microsoft.com/office/drawing/2014/main" id="{2F2350D9-E49F-93C7-DB07-2759AC33BE01}"/>
              </a:ext>
            </a:extLst>
          </p:cNvPr>
          <p:cNvSpPr txBox="1">
            <a:spLocks/>
          </p:cNvSpPr>
          <p:nvPr/>
        </p:nvSpPr>
        <p:spPr>
          <a:xfrm>
            <a:off x="540000" y="1512000"/>
            <a:ext cx="2520000" cy="2196000"/>
          </a:xfrm>
          <a:prstGeom prst="roundRect">
            <a:avLst>
              <a:gd name="adj" fmla="val 2716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440000" rIns="180000" bIns="0" rtlCol="0">
            <a:noAutofit/>
          </a:bodyPr>
          <a:lstStyle>
            <a:lvl1pPr indent="0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defRPr lang="en-US" sz="1000" b="0" baseline="0" noProof="0" dirty="0">
                <a:solidFill>
                  <a:schemeClr val="tx2"/>
                </a:solidFill>
              </a:defRPr>
            </a:lvl1pPr>
            <a:lvl2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/>
              <a:defRPr lang="en-US" sz="1200">
                <a:solidFill>
                  <a:schemeClr val="tx2"/>
                </a:solidFill>
              </a:defRPr>
            </a:lvl2pPr>
            <a:lvl3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defRPr lang="en-US" sz="1200" b="0" baseline="0" noProof="0">
                <a:solidFill>
                  <a:schemeClr val="tx2"/>
                </a:solidFill>
              </a:defRPr>
            </a:lvl3pPr>
            <a:lvl4pPr marL="648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defRPr lang="en-US" sz="1200" b="0" cap="none" spc="10" baseline="0" noProof="0">
                <a:cs typeface="Segoe UI Light" panose="020B0502040204020203" pitchFamily="34" charset="0"/>
              </a:defRPr>
            </a:lvl4pPr>
            <a:lvl5pPr marL="0" indent="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spc="40" baseline="0" noProof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  <a:lvl6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lang="en-US" sz="1200" b="0" cap="none" spc="40" baseline="0" noProof="0"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/>
              <a:defRPr lang="nl-NL" sz="1200" noProof="0">
                <a:solidFill>
                  <a:schemeClr val="tx2"/>
                </a:solidFill>
              </a:defRPr>
            </a:lvl7pPr>
            <a:lvl8pPr marL="216000" indent="-21600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defRPr lang="nl-NL" sz="1200" noProof="0">
                <a:solidFill>
                  <a:schemeClr val="tx2"/>
                </a:solidFill>
              </a:defRPr>
            </a:lvl8pPr>
            <a:lvl9pPr marL="0" lvl="8" indent="0">
              <a:lnSpc>
                <a:spcPts val="14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defRPr lang="nl-NL" sz="1000" i="0" cap="all" spc="100" baseline="0" noProof="0">
                <a:latin typeface="Segoe UI Semibold" panose="020B0702040204020203" pitchFamily="34" charset="0"/>
                <a:cs typeface="Segoe UI Semibold" panose="020B0702040204020203" pitchFamily="34" charset="0"/>
              </a:defRPr>
            </a:lvl9pPr>
          </a:lstStyle>
          <a:p>
            <a:pPr lvl="8"/>
            <a:endParaRPr lang="en-US"/>
          </a:p>
        </p:txBody>
      </p:sp>
      <p:sp>
        <p:nvSpPr>
          <p:cNvPr id="19" name="role 1">
            <a:extLst>
              <a:ext uri="{FF2B5EF4-FFF2-40B4-BE49-F238E27FC236}">
                <a16:creationId xmlns:a16="http://schemas.microsoft.com/office/drawing/2014/main" id="{90DF335A-A9AE-D9DB-0BAF-E0C176A8BD4F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540000" y="3214041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none" spc="0" baseline="0">
                <a:latin typeface="+mn-lt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18" name="name 1">
            <a:extLst>
              <a:ext uri="{FF2B5EF4-FFF2-40B4-BE49-F238E27FC236}">
                <a16:creationId xmlns:a16="http://schemas.microsoft.com/office/drawing/2014/main" id="{26D9C5D7-7E8C-31A1-71FF-876D8770D1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859955"/>
            <a:ext cx="2520000" cy="347662"/>
          </a:xfrm>
        </p:spPr>
        <p:txBody>
          <a:bodyPr lIns="144000" rIns="144000" anchor="t"/>
          <a:lstStyle>
            <a:lvl1pPr marL="0" inden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spc="10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6D4F5E74-E4BC-26A1-6B3C-B594169526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0000" y="1466475"/>
            <a:ext cx="2520000" cy="1260000"/>
          </a:xfrm>
          <a:prstGeom prst="round2SameRect">
            <a:avLst>
              <a:gd name="adj1" fmla="val 6273"/>
              <a:gd name="adj2" fmla="val 0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3754094-CFF9-5176-ADA0-C7C302BF1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navigation">
            <a:extLst>
              <a:ext uri="{FF2B5EF4-FFF2-40B4-BE49-F238E27FC236}">
                <a16:creationId xmlns:a16="http://schemas.microsoft.com/office/drawing/2014/main" id="{75F76F83-6FC3-B42E-212E-DBFA812FBD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48376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6 : 6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71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678EE2D6-D24D-BA37-ABA6-646300685C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">
            <a:extLst>
              <a:ext uri="{FF2B5EF4-FFF2-40B4-BE49-F238E27FC236}">
                <a16:creationId xmlns:a16="http://schemas.microsoft.com/office/drawing/2014/main" id="{DC5969B5-F0D2-CF3A-F4ED-F5344E082E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5F2B97CA-2092-323E-F00E-2C8F8CB8F0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AFFFFF47-76BE-0C31-FAC0-58FE020C53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455431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  041 : title page shap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331D037A-AEB6-6084-9329-05FC9DDD9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045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0" progId="TCLayout.ActiveDocument.1">
                  <p:embed/>
                </p:oleObj>
              </mc:Choice>
              <mc:Fallback>
                <p:oleObj name="think-cell Slide" r:id="rId3" imgW="501" imgH="50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331D037A-AEB6-6084-9329-05FC9DDD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">
            <a:extLst>
              <a:ext uri="{FF2B5EF4-FFF2-40B4-BE49-F238E27FC236}">
                <a16:creationId xmlns:a16="http://schemas.microsoft.com/office/drawing/2014/main" id="{4BB14D95-49AB-4529-5662-66D2A1B26854}"/>
              </a:ext>
            </a:extLst>
          </p:cNvPr>
          <p:cNvSpPr/>
          <p:nvPr/>
        </p:nvSpPr>
        <p:spPr>
          <a:xfrm>
            <a:off x="6979913" y="0"/>
            <a:ext cx="5212086" cy="68580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DE"/>
          </a:p>
        </p:txBody>
      </p:sp>
      <p:sp>
        <p:nvSpPr>
          <p:cNvPr id="65" name="subtitle">
            <a:extLst>
              <a:ext uri="{FF2B5EF4-FFF2-40B4-BE49-F238E27FC236}">
                <a16:creationId xmlns:a16="http://schemas.microsoft.com/office/drawing/2014/main" id="{24BBF85F-CCE6-44E7-C627-CC3E4647B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5220000"/>
            <a:ext cx="6120000" cy="90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4pPr>
              <a:defRPr lang="en-US" dirty="0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3BC3BCD8-A855-5678-25AE-D2E54EED1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3960000"/>
            <a:ext cx="6120000" cy="8640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D89440-F2F5-D4C4-310C-AC38DD644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2108200"/>
            <a:ext cx="6120000" cy="1671800"/>
          </a:xfrm>
        </p:spPr>
        <p:txBody>
          <a:bodyPr vert="horz" anchor="b"/>
          <a:lstStyle>
            <a:lvl1pPr algn="l">
              <a:lnSpc>
                <a:spcPts val="4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5" name="valantic logo">
            <a:extLst>
              <a:ext uri="{FF2B5EF4-FFF2-40B4-BE49-F238E27FC236}">
                <a16:creationId xmlns:a16="http://schemas.microsoft.com/office/drawing/2014/main" id="{F7AE2AE6-2DD6-B611-8273-3605A63BC1C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5526" y="123982"/>
            <a:ext cx="2802006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2957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1 : BASIC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154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>
            <a:extLst>
              <a:ext uri="{FF2B5EF4-FFF2-40B4-BE49-F238E27FC236}">
                <a16:creationId xmlns:a16="http://schemas.microsoft.com/office/drawing/2014/main" id="{2B8DCA8E-E758-A02D-2104-E01EE369E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6579E58F-8136-67AD-3280-33201D869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6A0A194C-20EC-8385-1671-2BE66E04C7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11088000" cy="468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  <a:lvl6pPr>
              <a:defRPr lang="en-US" dirty="0" smtClean="0"/>
            </a:lvl6pPr>
            <a:lvl7pPr>
              <a:defRPr lang="en-US" dirty="0" smtClean="0"/>
            </a:lvl7pPr>
            <a:lvl8pPr>
              <a:defRPr lang="en-US" dirty="0" smtClean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2006E74-F413-42A1-5EBE-FFA34D108A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740409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02 :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189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>
            <a:extLst>
              <a:ext uri="{FF2B5EF4-FFF2-40B4-BE49-F238E27FC236}">
                <a16:creationId xmlns:a16="http://schemas.microsoft.com/office/drawing/2014/main" id="{BC8BA2C0-FF86-7160-B605-4AFD8142A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68B1DC0-E2F4-964B-BEBC-F781A34B4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0BFB18-B358-A527-A325-CBA53A65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38863" y="1475999"/>
            <a:ext cx="540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540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57A2D597-3CE6-BDC7-EFD7-433C543868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5175864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3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797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>
            <a:extLst>
              <a:ext uri="{FF2B5EF4-FFF2-40B4-BE49-F238E27FC236}">
                <a16:creationId xmlns:a16="http://schemas.microsoft.com/office/drawing/2014/main" id="{BC8BA2C0-FF86-7160-B605-4AFD8142A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68B1DC0-E2F4-964B-BEBC-F781A34B4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020BFB18-B358-A527-A325-CBA53A65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9"/>
            <a:ext cx="3420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151C2032-2FFD-81F1-32B0-C2E2F77BD5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538493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4 :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">
            <a:extLst>
              <a:ext uri="{FF2B5EF4-FFF2-40B4-BE49-F238E27FC236}">
                <a16:creationId xmlns:a16="http://schemas.microsoft.com/office/drawing/2014/main" id="{7587F319-9817-5E8C-3267-E8B5F5655F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F5CDEDD9-5767-BF78-73FE-C497E4578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84078D7-3AA4-7E7A-E9A2-7479782512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046863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11242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75621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2592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E2DB2781-02B7-8F48-880C-0864DAF6A9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024684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5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">
            <a:extLst>
              <a:ext uri="{FF2B5EF4-FFF2-40B4-BE49-F238E27FC236}">
                <a16:creationId xmlns:a16="http://schemas.microsoft.com/office/drawing/2014/main" id="{CF0F75B6-3EDE-F843-4662-8A1F50C18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">
            <a:extLst>
              <a:ext uri="{FF2B5EF4-FFF2-40B4-BE49-F238E27FC236}">
                <a16:creationId xmlns:a16="http://schemas.microsoft.com/office/drawing/2014/main" id="{847B67F7-92A3-77BE-E39C-D6653DB0D1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A607CBA-1A2F-48DC-062D-E74D1128CE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658863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379148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99432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819716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1980000" cy="4680000"/>
          </a:xfrm>
          <a:prstGeom prst="rect">
            <a:avLst/>
          </a:prstGeom>
          <a:noFill/>
        </p:spPr>
        <p:txBody>
          <a:bodyPr vert="horz" lIns="0" tIns="0" rIns="10800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l-NL" noProof="0" dirty="0"/>
            </a:lvl5pPr>
            <a:lvl6pPr>
              <a:defRPr lang="nl-NL" noProof="0" dirty="0"/>
            </a:lvl6pPr>
            <a:lvl7pPr>
              <a:defRPr lang="nl-NL" noProof="0" dirty="0"/>
            </a:lvl7pPr>
            <a:lvl8pPr>
              <a:defRPr lang="nl-NL" noProof="0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5F2144B7-05FA-9A39-1950-AAFC1FABED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660515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6 : 6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71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678EE2D6-D24D-BA37-ABA6-646300685C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">
            <a:extLst>
              <a:ext uri="{FF2B5EF4-FFF2-40B4-BE49-F238E27FC236}">
                <a16:creationId xmlns:a16="http://schemas.microsoft.com/office/drawing/2014/main" id="{DC5969B5-F0D2-CF3A-F4ED-F5344E082E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5F2B97CA-2092-323E-F00E-2C8F8CB8F0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6" name="content 6">
            <a:extLst>
              <a:ext uri="{FF2B5EF4-FFF2-40B4-BE49-F238E27FC236}">
                <a16:creationId xmlns:a16="http://schemas.microsoft.com/office/drawing/2014/main" id="{89C522B1-6801-8B41-4F5D-6C85B8AEBCC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18863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ntent 5">
            <a:extLst>
              <a:ext uri="{FF2B5EF4-FFF2-40B4-BE49-F238E27FC236}">
                <a16:creationId xmlns:a16="http://schemas.microsoft.com/office/drawing/2014/main" id="{38904F9D-F12D-C1A2-7570-9DC56D6DD69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79432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11" name="content 4">
            <a:extLst>
              <a:ext uri="{FF2B5EF4-FFF2-40B4-BE49-F238E27FC236}">
                <a16:creationId xmlns:a16="http://schemas.microsoft.com/office/drawing/2014/main" id="{16D0781B-9A31-08E8-DACA-4F56FD0EAC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0000" y="381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18863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79432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nl-NL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l-NL" noProof="0"/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5998"/>
            <a:ext cx="3420000" cy="234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AFFFFF47-76BE-0C31-FAC0-58FE020C53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717071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7 : 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615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>
            <a:extLst>
              <a:ext uri="{FF2B5EF4-FFF2-40B4-BE49-F238E27FC236}">
                <a16:creationId xmlns:a16="http://schemas.microsoft.com/office/drawing/2014/main" id="{9C2549D5-7902-05C3-BA6E-F3FCE55E3E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B0528374-4148-93BC-40AD-371D0F4E7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B36025A7-E938-A69D-AFCB-12FF43B05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598DE614-BE92-7773-D42B-7B7F203DDC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208144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8 :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0666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A17B63CE-D09A-A5B2-92DE-97357DEAC2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264ABE22-2F6A-7F37-B086-AE7A106AE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7E501AC6-15A5-DC2E-289E-6EB6F31C9B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461664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09 : video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590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ilm">
            <a:extLst>
              <a:ext uri="{FF2B5EF4-FFF2-40B4-BE49-F238E27FC236}">
                <a16:creationId xmlns:a16="http://schemas.microsoft.com/office/drawing/2014/main" id="{0833981F-AEE0-01D6-B2C9-2F71CD5FE813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0" y="0"/>
            <a:ext cx="12204000" cy="6858000"/>
          </a:xfrm>
        </p:spPr>
        <p:txBody>
          <a:bodyPr/>
          <a:lstStyle/>
          <a:p>
            <a:r>
              <a:rPr lang="de-DE"/>
              <a:t>Mediaclip durch Klicken auf Symbol hinzufügen</a:t>
            </a:r>
            <a:endParaRPr lang="en-US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73EA888E-C1BB-D71B-E0FC-835A13A60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960000"/>
            <a:ext cx="11088000" cy="21960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400" dirty="0"/>
            </a:lvl1pPr>
          </a:lstStyle>
          <a:p>
            <a:pPr lvl="0">
              <a:lnSpc>
                <a:spcPct val="100000"/>
              </a:lnSpc>
            </a:pPr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2994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 007 : 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615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>
            <a:extLst>
              <a:ext uri="{FF2B5EF4-FFF2-40B4-BE49-F238E27FC236}">
                <a16:creationId xmlns:a16="http://schemas.microsoft.com/office/drawing/2014/main" id="{9C2549D5-7902-05C3-BA6E-F3FCE55E3E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B0528374-4148-93BC-40AD-371D0F4E7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B36025A7-E938-A69D-AFCB-12FF43B05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598DE614-BE92-7773-D42B-7B7F203DDC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3F47AB9-6DB9-384C-53FE-709A8A8F23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09663" y="1862138"/>
            <a:ext cx="403451" cy="402091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1941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0 : content : picture right 17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DC9BB8-5C94-93DF-D1D1-439A9686E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6238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DC9BB8-5C94-93DF-D1D1-439A9686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right">
            <a:extLst>
              <a:ext uri="{FF2B5EF4-FFF2-40B4-BE49-F238E27FC236}">
                <a16:creationId xmlns:a16="http://schemas.microsoft.com/office/drawing/2014/main" id="{4EC65E8B-7999-AF44-0508-B3DDFC09561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20000" y="0"/>
            <a:ext cx="612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89" name="slide number">
            <a:extLst>
              <a:ext uri="{FF2B5EF4-FFF2-40B4-BE49-F238E27FC236}">
                <a16:creationId xmlns:a16="http://schemas.microsoft.com/office/drawing/2014/main" id="{4A9A79FA-B946-DC94-8CD4-F9781F90A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fld id="{3AB0EB1E-25C5-4740-9782-54CCC0C83B03}" type="slidenum">
              <a:rPr lang="en-US" smtClean="0"/>
              <a:t>‹#›</a:t>
            </a:fld>
            <a:endParaRPr lang="en-US"/>
          </a:p>
        </p:txBody>
      </p:sp>
      <p:sp>
        <p:nvSpPr>
          <p:cNvPr id="90" name="footer">
            <a:extLst>
              <a:ext uri="{FF2B5EF4-FFF2-40B4-BE49-F238E27FC236}">
                <a16:creationId xmlns:a16="http://schemas.microsoft.com/office/drawing/2014/main" id="{CF6B3373-7C3F-A77B-C0D2-AC7E92A6E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70749" y="6379200"/>
            <a:ext cx="4082389" cy="180000"/>
          </a:xfrm>
        </p:spPr>
        <p:txBody>
          <a:bodyPr/>
          <a:lstStyle/>
          <a:p>
            <a:r>
              <a:rPr lang="en-US"/>
              <a:t>valantic layout samples Route B</a:t>
            </a:r>
          </a:p>
        </p:txBody>
      </p:sp>
      <p:sp>
        <p:nvSpPr>
          <p:cNvPr id="91" name="date">
            <a:extLst>
              <a:ext uri="{FF2B5EF4-FFF2-40B4-BE49-F238E27FC236}">
                <a16:creationId xmlns:a16="http://schemas.microsoft.com/office/drawing/2014/main" id="{7D661A03-7125-BDF0-8272-47D38FA50B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0000" y="6379200"/>
            <a:ext cx="2160000" cy="180000"/>
          </a:xfrm>
        </p:spPr>
        <p:txBody>
          <a:bodyPr/>
          <a:lstStyle/>
          <a:p>
            <a:r>
              <a:rPr lang="de-DE"/>
              <a:t>23-09-14</a:t>
            </a:r>
            <a:endParaRPr lang="en-US"/>
          </a:p>
        </p:txBody>
      </p:sp>
      <p:sp>
        <p:nvSpPr>
          <p:cNvPr id="2" name="content">
            <a:extLst>
              <a:ext uri="{FF2B5EF4-FFF2-40B4-BE49-F238E27FC236}">
                <a16:creationId xmlns:a16="http://schemas.microsoft.com/office/drawing/2014/main" id="{705F9221-2C7B-794A-1A1F-B66C5F3FDC5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8" y="2628000"/>
            <a:ext cx="504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42B1C18-F605-0005-B448-E48E1BADD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540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2BCA0C52-1240-1F0B-D3D8-154CFEAF4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76469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1 : content : picture right 11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075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right 11cm">
            <a:extLst>
              <a:ext uri="{FF2B5EF4-FFF2-40B4-BE49-F238E27FC236}">
                <a16:creationId xmlns:a16="http://schemas.microsoft.com/office/drawing/2014/main" id="{BA5DD37E-79B5-4F36-AAD5-9CFEC62428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8000"/>
            <a:ext cx="720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5DB48FB-A4EC-78AE-12A2-F3231AD823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7980745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 012 : 4 colored rows Icons : picture right 11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604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right 11cm">
            <a:extLst>
              <a:ext uri="{FF2B5EF4-FFF2-40B4-BE49-F238E27FC236}">
                <a16:creationId xmlns:a16="http://schemas.microsoft.com/office/drawing/2014/main" id="{88020849-41A9-AE9F-6BFC-C5EFB01C1A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0" name="freeshape 4">
            <a:extLst>
              <a:ext uri="{FF2B5EF4-FFF2-40B4-BE49-F238E27FC236}">
                <a16:creationId xmlns:a16="http://schemas.microsoft.com/office/drawing/2014/main" id="{33BCC3FB-2FA5-F650-2105-F194E41771DE}"/>
              </a:ext>
            </a:extLst>
          </p:cNvPr>
          <p:cNvSpPr/>
          <p:nvPr/>
        </p:nvSpPr>
        <p:spPr>
          <a:xfrm>
            <a:off x="2049812" y="4833000"/>
            <a:ext cx="5184000" cy="648000"/>
          </a:xfrm>
          <a:custGeom>
            <a:avLst/>
            <a:gdLst>
              <a:gd name="connsiteX0" fmla="*/ 324000 w 5184000"/>
              <a:gd name="connsiteY0" fmla="*/ 0 h 648000"/>
              <a:gd name="connsiteX1" fmla="*/ 4860000 w 5184000"/>
              <a:gd name="connsiteY1" fmla="*/ 0 h 648000"/>
              <a:gd name="connsiteX2" fmla="*/ 5184000 w 5184000"/>
              <a:gd name="connsiteY2" fmla="*/ 324000 h 648000"/>
              <a:gd name="connsiteX3" fmla="*/ 4860000 w 5184000"/>
              <a:gd name="connsiteY3" fmla="*/ 648000 h 648000"/>
              <a:gd name="connsiteX4" fmla="*/ 324000 w 5184000"/>
              <a:gd name="connsiteY4" fmla="*/ 648000 h 648000"/>
              <a:gd name="connsiteX5" fmla="*/ 0 w 5184000"/>
              <a:gd name="connsiteY5" fmla="*/ 324000 h 648000"/>
              <a:gd name="connsiteX6" fmla="*/ 324000 w 5184000"/>
              <a:gd name="connsiteY6" fmla="*/ 0 h 648000"/>
              <a:gd name="connsiteX7" fmla="*/ 330105 w 5184000"/>
              <a:gd name="connsiteY7" fmla="*/ 56922 h 648000"/>
              <a:gd name="connsiteX8" fmla="*/ 60105 w 5184000"/>
              <a:gd name="connsiteY8" fmla="*/ 326922 h 648000"/>
              <a:gd name="connsiteX9" fmla="*/ 330105 w 5184000"/>
              <a:gd name="connsiteY9" fmla="*/ 596922 h 648000"/>
              <a:gd name="connsiteX10" fmla="*/ 600105 w 5184000"/>
              <a:gd name="connsiteY10" fmla="*/ 326922 h 648000"/>
              <a:gd name="connsiteX11" fmla="*/ 330105 w 5184000"/>
              <a:gd name="connsiteY11" fmla="*/ 56922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84000" h="648000">
                <a:moveTo>
                  <a:pt x="324000" y="0"/>
                </a:moveTo>
                <a:lnTo>
                  <a:pt x="4860000" y="0"/>
                </a:lnTo>
                <a:cubicBezTo>
                  <a:pt x="5038940" y="0"/>
                  <a:pt x="5184000" y="145060"/>
                  <a:pt x="5184000" y="324000"/>
                </a:cubicBezTo>
                <a:cubicBezTo>
                  <a:pt x="5184000" y="502940"/>
                  <a:pt x="5038940" y="648000"/>
                  <a:pt x="4860000" y="648000"/>
                </a:cubicBezTo>
                <a:lnTo>
                  <a:pt x="324000" y="648000"/>
                </a:lnTo>
                <a:cubicBezTo>
                  <a:pt x="145060" y="648000"/>
                  <a:pt x="0" y="502940"/>
                  <a:pt x="0" y="324000"/>
                </a:cubicBezTo>
                <a:cubicBezTo>
                  <a:pt x="0" y="145060"/>
                  <a:pt x="145060" y="0"/>
                  <a:pt x="324000" y="0"/>
                </a:cubicBezTo>
                <a:close/>
                <a:moveTo>
                  <a:pt x="330105" y="56922"/>
                </a:moveTo>
                <a:cubicBezTo>
                  <a:pt x="180988" y="56922"/>
                  <a:pt x="60105" y="177805"/>
                  <a:pt x="60105" y="326922"/>
                </a:cubicBezTo>
                <a:cubicBezTo>
                  <a:pt x="60105" y="476039"/>
                  <a:pt x="180988" y="596922"/>
                  <a:pt x="330105" y="596922"/>
                </a:cubicBezTo>
                <a:cubicBezTo>
                  <a:pt x="479222" y="596922"/>
                  <a:pt x="600105" y="476039"/>
                  <a:pt x="600105" y="326922"/>
                </a:cubicBezTo>
                <a:cubicBezTo>
                  <a:pt x="600105" y="177805"/>
                  <a:pt x="479222" y="56922"/>
                  <a:pt x="330105" y="56922"/>
                </a:cubicBezTo>
                <a:close/>
              </a:path>
            </a:pathLst>
          </a:cu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 vert="horz" lIns="792000" tIns="36000" rIns="180000" bIns="36000" rtlCol="0" anchor="ctr">
            <a:noAutofit/>
          </a:bodyPr>
          <a:lstStyle/>
          <a:p>
            <a:pPr lvl="0" indent="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 sz="1400" b="0" baseline="0" noProof="0">
              <a:solidFill>
                <a:schemeClr val="bg1"/>
              </a:solidFill>
            </a:endParaRPr>
          </a:p>
        </p:txBody>
      </p:sp>
      <p:sp>
        <p:nvSpPr>
          <p:cNvPr id="11" name="text 4">
            <a:extLst>
              <a:ext uri="{FF2B5EF4-FFF2-40B4-BE49-F238E27FC236}">
                <a16:creationId xmlns:a16="http://schemas.microsoft.com/office/drawing/2014/main" id="{4D36156F-1552-11A4-A067-BB03795DBAB0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2800900" y="4887522"/>
            <a:ext cx="4140000" cy="540000"/>
          </a:xfrm>
        </p:spPr>
        <p:txBody>
          <a:bodyPr anchor="ctr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con 4">
            <a:extLst>
              <a:ext uri="{FF2B5EF4-FFF2-40B4-BE49-F238E27FC236}">
                <a16:creationId xmlns:a16="http://schemas.microsoft.com/office/drawing/2014/main" id="{15138CA9-B5BC-DBD4-B39A-1998E54EECD9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158306" y="4946892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freeshape 3">
            <a:extLst>
              <a:ext uri="{FF2B5EF4-FFF2-40B4-BE49-F238E27FC236}">
                <a16:creationId xmlns:a16="http://schemas.microsoft.com/office/drawing/2014/main" id="{BD8E9F08-BC14-BE41-C746-109C08D66386}"/>
              </a:ext>
            </a:extLst>
          </p:cNvPr>
          <p:cNvSpPr/>
          <p:nvPr/>
        </p:nvSpPr>
        <p:spPr>
          <a:xfrm>
            <a:off x="1510906" y="4009044"/>
            <a:ext cx="5184000" cy="648000"/>
          </a:xfrm>
          <a:custGeom>
            <a:avLst/>
            <a:gdLst>
              <a:gd name="connsiteX0" fmla="*/ 324000 w 5184000"/>
              <a:gd name="connsiteY0" fmla="*/ 0 h 648000"/>
              <a:gd name="connsiteX1" fmla="*/ 4860000 w 5184000"/>
              <a:gd name="connsiteY1" fmla="*/ 0 h 648000"/>
              <a:gd name="connsiteX2" fmla="*/ 5184000 w 5184000"/>
              <a:gd name="connsiteY2" fmla="*/ 324000 h 648000"/>
              <a:gd name="connsiteX3" fmla="*/ 4860000 w 5184000"/>
              <a:gd name="connsiteY3" fmla="*/ 648000 h 648000"/>
              <a:gd name="connsiteX4" fmla="*/ 324000 w 5184000"/>
              <a:gd name="connsiteY4" fmla="*/ 648000 h 648000"/>
              <a:gd name="connsiteX5" fmla="*/ 0 w 5184000"/>
              <a:gd name="connsiteY5" fmla="*/ 324000 h 648000"/>
              <a:gd name="connsiteX6" fmla="*/ 324000 w 5184000"/>
              <a:gd name="connsiteY6" fmla="*/ 0 h 648000"/>
              <a:gd name="connsiteX7" fmla="*/ 330105 w 5184000"/>
              <a:gd name="connsiteY7" fmla="*/ 56922 h 648000"/>
              <a:gd name="connsiteX8" fmla="*/ 60105 w 5184000"/>
              <a:gd name="connsiteY8" fmla="*/ 326922 h 648000"/>
              <a:gd name="connsiteX9" fmla="*/ 330105 w 5184000"/>
              <a:gd name="connsiteY9" fmla="*/ 596922 h 648000"/>
              <a:gd name="connsiteX10" fmla="*/ 600105 w 5184000"/>
              <a:gd name="connsiteY10" fmla="*/ 326922 h 648000"/>
              <a:gd name="connsiteX11" fmla="*/ 330105 w 5184000"/>
              <a:gd name="connsiteY11" fmla="*/ 56922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84000" h="648000">
                <a:moveTo>
                  <a:pt x="324000" y="0"/>
                </a:moveTo>
                <a:lnTo>
                  <a:pt x="4860000" y="0"/>
                </a:lnTo>
                <a:cubicBezTo>
                  <a:pt x="5038940" y="0"/>
                  <a:pt x="5184000" y="145060"/>
                  <a:pt x="5184000" y="324000"/>
                </a:cubicBezTo>
                <a:cubicBezTo>
                  <a:pt x="5184000" y="502940"/>
                  <a:pt x="5038940" y="648000"/>
                  <a:pt x="4860000" y="648000"/>
                </a:cubicBezTo>
                <a:lnTo>
                  <a:pt x="324000" y="648000"/>
                </a:lnTo>
                <a:cubicBezTo>
                  <a:pt x="145060" y="648000"/>
                  <a:pt x="0" y="502940"/>
                  <a:pt x="0" y="324000"/>
                </a:cubicBezTo>
                <a:cubicBezTo>
                  <a:pt x="0" y="145060"/>
                  <a:pt x="145060" y="0"/>
                  <a:pt x="324000" y="0"/>
                </a:cubicBezTo>
                <a:close/>
                <a:moveTo>
                  <a:pt x="330105" y="56922"/>
                </a:moveTo>
                <a:cubicBezTo>
                  <a:pt x="180988" y="56922"/>
                  <a:pt x="60105" y="177805"/>
                  <a:pt x="60105" y="326922"/>
                </a:cubicBezTo>
                <a:cubicBezTo>
                  <a:pt x="60105" y="476039"/>
                  <a:pt x="180988" y="596922"/>
                  <a:pt x="330105" y="596922"/>
                </a:cubicBezTo>
                <a:cubicBezTo>
                  <a:pt x="479222" y="596922"/>
                  <a:pt x="600105" y="476039"/>
                  <a:pt x="600105" y="326922"/>
                </a:cubicBezTo>
                <a:cubicBezTo>
                  <a:pt x="600105" y="177805"/>
                  <a:pt x="479222" y="56922"/>
                  <a:pt x="330105" y="56922"/>
                </a:cubicBezTo>
                <a:close/>
              </a:path>
            </a:pathLst>
          </a:cu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 vert="horz" lIns="792000" tIns="36000" rIns="180000" bIns="36000" rtlCol="0" anchor="ctr">
            <a:noAutofit/>
          </a:bodyPr>
          <a:lstStyle/>
          <a:p>
            <a:pPr lvl="0" indent="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 sz="1400" b="0" baseline="0" noProof="0">
              <a:solidFill>
                <a:schemeClr val="bg1"/>
              </a:solidFill>
            </a:endParaRPr>
          </a:p>
        </p:txBody>
      </p:sp>
      <p:sp>
        <p:nvSpPr>
          <p:cNvPr id="15" name="text 3">
            <a:extLst>
              <a:ext uri="{FF2B5EF4-FFF2-40B4-BE49-F238E27FC236}">
                <a16:creationId xmlns:a16="http://schemas.microsoft.com/office/drawing/2014/main" id="{44E94427-31D3-ED48-178D-8E33F47006BD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2265887" y="4063608"/>
            <a:ext cx="4140000" cy="540000"/>
          </a:xfrm>
        </p:spPr>
        <p:txBody>
          <a:bodyPr anchor="ctr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con 3">
            <a:extLst>
              <a:ext uri="{FF2B5EF4-FFF2-40B4-BE49-F238E27FC236}">
                <a16:creationId xmlns:a16="http://schemas.microsoft.com/office/drawing/2014/main" id="{2DA4F3EF-3FA8-3DB5-E571-2DD70EBCB67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1617812" y="4120820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freeshape 2">
            <a:extLst>
              <a:ext uri="{FF2B5EF4-FFF2-40B4-BE49-F238E27FC236}">
                <a16:creationId xmlns:a16="http://schemas.microsoft.com/office/drawing/2014/main" id="{B00C8122-BABB-E6B5-C4DC-B896FEC69659}"/>
              </a:ext>
            </a:extLst>
          </p:cNvPr>
          <p:cNvSpPr/>
          <p:nvPr/>
        </p:nvSpPr>
        <p:spPr>
          <a:xfrm>
            <a:off x="972000" y="3185089"/>
            <a:ext cx="5184000" cy="648000"/>
          </a:xfrm>
          <a:custGeom>
            <a:avLst/>
            <a:gdLst>
              <a:gd name="connsiteX0" fmla="*/ 324000 w 5184000"/>
              <a:gd name="connsiteY0" fmla="*/ 0 h 648000"/>
              <a:gd name="connsiteX1" fmla="*/ 4860000 w 5184000"/>
              <a:gd name="connsiteY1" fmla="*/ 0 h 648000"/>
              <a:gd name="connsiteX2" fmla="*/ 5184000 w 5184000"/>
              <a:gd name="connsiteY2" fmla="*/ 324000 h 648000"/>
              <a:gd name="connsiteX3" fmla="*/ 4860000 w 5184000"/>
              <a:gd name="connsiteY3" fmla="*/ 648000 h 648000"/>
              <a:gd name="connsiteX4" fmla="*/ 324000 w 5184000"/>
              <a:gd name="connsiteY4" fmla="*/ 648000 h 648000"/>
              <a:gd name="connsiteX5" fmla="*/ 0 w 5184000"/>
              <a:gd name="connsiteY5" fmla="*/ 324000 h 648000"/>
              <a:gd name="connsiteX6" fmla="*/ 324000 w 5184000"/>
              <a:gd name="connsiteY6" fmla="*/ 0 h 648000"/>
              <a:gd name="connsiteX7" fmla="*/ 330105 w 5184000"/>
              <a:gd name="connsiteY7" fmla="*/ 56922 h 648000"/>
              <a:gd name="connsiteX8" fmla="*/ 60105 w 5184000"/>
              <a:gd name="connsiteY8" fmla="*/ 326922 h 648000"/>
              <a:gd name="connsiteX9" fmla="*/ 330105 w 5184000"/>
              <a:gd name="connsiteY9" fmla="*/ 596922 h 648000"/>
              <a:gd name="connsiteX10" fmla="*/ 600105 w 5184000"/>
              <a:gd name="connsiteY10" fmla="*/ 326922 h 648000"/>
              <a:gd name="connsiteX11" fmla="*/ 330105 w 5184000"/>
              <a:gd name="connsiteY11" fmla="*/ 56922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84000" h="648000">
                <a:moveTo>
                  <a:pt x="324000" y="0"/>
                </a:moveTo>
                <a:lnTo>
                  <a:pt x="4860000" y="0"/>
                </a:lnTo>
                <a:cubicBezTo>
                  <a:pt x="5038940" y="0"/>
                  <a:pt x="5184000" y="145060"/>
                  <a:pt x="5184000" y="324000"/>
                </a:cubicBezTo>
                <a:cubicBezTo>
                  <a:pt x="5184000" y="502940"/>
                  <a:pt x="5038940" y="648000"/>
                  <a:pt x="4860000" y="648000"/>
                </a:cubicBezTo>
                <a:lnTo>
                  <a:pt x="324000" y="648000"/>
                </a:lnTo>
                <a:cubicBezTo>
                  <a:pt x="145060" y="648000"/>
                  <a:pt x="0" y="502940"/>
                  <a:pt x="0" y="324000"/>
                </a:cubicBezTo>
                <a:cubicBezTo>
                  <a:pt x="0" y="145060"/>
                  <a:pt x="145060" y="0"/>
                  <a:pt x="324000" y="0"/>
                </a:cubicBezTo>
                <a:close/>
                <a:moveTo>
                  <a:pt x="330105" y="56922"/>
                </a:moveTo>
                <a:cubicBezTo>
                  <a:pt x="180988" y="56922"/>
                  <a:pt x="60105" y="177805"/>
                  <a:pt x="60105" y="326922"/>
                </a:cubicBezTo>
                <a:cubicBezTo>
                  <a:pt x="60105" y="476039"/>
                  <a:pt x="180988" y="596922"/>
                  <a:pt x="330105" y="596922"/>
                </a:cubicBezTo>
                <a:cubicBezTo>
                  <a:pt x="479222" y="596922"/>
                  <a:pt x="600105" y="476039"/>
                  <a:pt x="600105" y="326922"/>
                </a:cubicBezTo>
                <a:cubicBezTo>
                  <a:pt x="600105" y="177805"/>
                  <a:pt x="479222" y="56922"/>
                  <a:pt x="330105" y="56922"/>
                </a:cubicBezTo>
                <a:close/>
              </a:path>
            </a:pathLst>
          </a:cu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 vert="horz" lIns="792000" tIns="36000" rIns="180000" bIns="36000" rtlCol="0" anchor="ctr">
            <a:noAutofit/>
          </a:bodyPr>
          <a:lstStyle/>
          <a:p>
            <a:pPr lvl="0" indent="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 sz="1400" b="0" baseline="0" noProof="0">
              <a:solidFill>
                <a:schemeClr val="bg1"/>
              </a:solidFill>
            </a:endParaRPr>
          </a:p>
        </p:txBody>
      </p:sp>
      <p:sp>
        <p:nvSpPr>
          <p:cNvPr id="25" name="text 2">
            <a:extLst>
              <a:ext uri="{FF2B5EF4-FFF2-40B4-BE49-F238E27FC236}">
                <a16:creationId xmlns:a16="http://schemas.microsoft.com/office/drawing/2014/main" id="{F15A23C6-FF19-68C4-E8B1-80E8580B2DF2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1763453" y="3234092"/>
            <a:ext cx="4140000" cy="540000"/>
          </a:xfrm>
        </p:spPr>
        <p:txBody>
          <a:bodyPr anchor="ctr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icon 2">
            <a:extLst>
              <a:ext uri="{FF2B5EF4-FFF2-40B4-BE49-F238E27FC236}">
                <a16:creationId xmlns:a16="http://schemas.microsoft.com/office/drawing/2014/main" id="{04CEDE73-7F99-B73F-1D58-6D8D1F4D3B16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1078906" y="3294748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freeshape 1">
            <a:extLst>
              <a:ext uri="{FF2B5EF4-FFF2-40B4-BE49-F238E27FC236}">
                <a16:creationId xmlns:a16="http://schemas.microsoft.com/office/drawing/2014/main" id="{50AC87C5-3284-6E75-C0E5-CA69A39338F8}"/>
              </a:ext>
            </a:extLst>
          </p:cNvPr>
          <p:cNvSpPr/>
          <p:nvPr/>
        </p:nvSpPr>
        <p:spPr>
          <a:xfrm>
            <a:off x="540000" y="2361134"/>
            <a:ext cx="5184000" cy="648000"/>
          </a:xfrm>
          <a:custGeom>
            <a:avLst/>
            <a:gdLst>
              <a:gd name="connsiteX0" fmla="*/ 324000 w 5184000"/>
              <a:gd name="connsiteY0" fmla="*/ 0 h 648000"/>
              <a:gd name="connsiteX1" fmla="*/ 4860000 w 5184000"/>
              <a:gd name="connsiteY1" fmla="*/ 0 h 648000"/>
              <a:gd name="connsiteX2" fmla="*/ 5184000 w 5184000"/>
              <a:gd name="connsiteY2" fmla="*/ 324000 h 648000"/>
              <a:gd name="connsiteX3" fmla="*/ 4860000 w 5184000"/>
              <a:gd name="connsiteY3" fmla="*/ 648000 h 648000"/>
              <a:gd name="connsiteX4" fmla="*/ 324000 w 5184000"/>
              <a:gd name="connsiteY4" fmla="*/ 648000 h 648000"/>
              <a:gd name="connsiteX5" fmla="*/ 0 w 5184000"/>
              <a:gd name="connsiteY5" fmla="*/ 324000 h 648000"/>
              <a:gd name="connsiteX6" fmla="*/ 324000 w 5184000"/>
              <a:gd name="connsiteY6" fmla="*/ 0 h 648000"/>
              <a:gd name="connsiteX7" fmla="*/ 330105 w 5184000"/>
              <a:gd name="connsiteY7" fmla="*/ 56922 h 648000"/>
              <a:gd name="connsiteX8" fmla="*/ 60105 w 5184000"/>
              <a:gd name="connsiteY8" fmla="*/ 326922 h 648000"/>
              <a:gd name="connsiteX9" fmla="*/ 330105 w 5184000"/>
              <a:gd name="connsiteY9" fmla="*/ 596922 h 648000"/>
              <a:gd name="connsiteX10" fmla="*/ 600105 w 5184000"/>
              <a:gd name="connsiteY10" fmla="*/ 326922 h 648000"/>
              <a:gd name="connsiteX11" fmla="*/ 330105 w 5184000"/>
              <a:gd name="connsiteY11" fmla="*/ 56922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84000" h="648000">
                <a:moveTo>
                  <a:pt x="324000" y="0"/>
                </a:moveTo>
                <a:lnTo>
                  <a:pt x="4860000" y="0"/>
                </a:lnTo>
                <a:cubicBezTo>
                  <a:pt x="5038940" y="0"/>
                  <a:pt x="5184000" y="145060"/>
                  <a:pt x="5184000" y="324000"/>
                </a:cubicBezTo>
                <a:cubicBezTo>
                  <a:pt x="5184000" y="502940"/>
                  <a:pt x="5038940" y="648000"/>
                  <a:pt x="4860000" y="648000"/>
                </a:cubicBezTo>
                <a:lnTo>
                  <a:pt x="324000" y="648000"/>
                </a:lnTo>
                <a:cubicBezTo>
                  <a:pt x="145060" y="648000"/>
                  <a:pt x="0" y="502940"/>
                  <a:pt x="0" y="324000"/>
                </a:cubicBezTo>
                <a:cubicBezTo>
                  <a:pt x="0" y="145060"/>
                  <a:pt x="145060" y="0"/>
                  <a:pt x="324000" y="0"/>
                </a:cubicBezTo>
                <a:close/>
                <a:moveTo>
                  <a:pt x="330105" y="56922"/>
                </a:moveTo>
                <a:cubicBezTo>
                  <a:pt x="180988" y="56922"/>
                  <a:pt x="60105" y="177805"/>
                  <a:pt x="60105" y="326922"/>
                </a:cubicBezTo>
                <a:cubicBezTo>
                  <a:pt x="60105" y="476039"/>
                  <a:pt x="180988" y="596922"/>
                  <a:pt x="330105" y="596922"/>
                </a:cubicBezTo>
                <a:cubicBezTo>
                  <a:pt x="479222" y="596922"/>
                  <a:pt x="600105" y="476039"/>
                  <a:pt x="600105" y="326922"/>
                </a:cubicBezTo>
                <a:cubicBezTo>
                  <a:pt x="600105" y="177805"/>
                  <a:pt x="479222" y="56922"/>
                  <a:pt x="330105" y="56922"/>
                </a:cubicBezTo>
                <a:close/>
              </a:path>
            </a:pathLst>
          </a:cu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 vert="horz" lIns="792000" tIns="36000" rIns="180000" bIns="36000" rtlCol="0" anchor="ctr">
            <a:noAutofit/>
          </a:bodyPr>
          <a:lstStyle/>
          <a:p>
            <a:pPr lvl="0" indent="0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</a:pPr>
            <a:endParaRPr lang="en-US" sz="1400" b="0" baseline="0" noProof="0">
              <a:solidFill>
                <a:schemeClr val="bg1"/>
              </a:solidFill>
            </a:endParaRPr>
          </a:p>
        </p:txBody>
      </p:sp>
      <p:sp>
        <p:nvSpPr>
          <p:cNvPr id="33" name="text 1">
            <a:extLst>
              <a:ext uri="{FF2B5EF4-FFF2-40B4-BE49-F238E27FC236}">
                <a16:creationId xmlns:a16="http://schemas.microsoft.com/office/drawing/2014/main" id="{D6FC1170-8BB4-AABD-B741-2C58269AACFC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337820" y="2417650"/>
            <a:ext cx="4140000" cy="540000"/>
          </a:xfrm>
        </p:spPr>
        <p:txBody>
          <a:bodyPr anchor="ctr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icon 1">
            <a:extLst>
              <a:ext uri="{FF2B5EF4-FFF2-40B4-BE49-F238E27FC236}">
                <a16:creationId xmlns:a16="http://schemas.microsoft.com/office/drawing/2014/main" id="{5DE15324-D075-A2BF-BE5B-052880D503AD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46906" y="2468676"/>
            <a:ext cx="432000" cy="432000"/>
          </a:xfrm>
          <a:prstGeom prst="ellipse">
            <a:avLst/>
          </a:prstGeom>
        </p:spPr>
        <p:txBody>
          <a:bodyPr wrap="none" anchor="ctr" anchorCtr="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navigation">
            <a:extLst>
              <a:ext uri="{FF2B5EF4-FFF2-40B4-BE49-F238E27FC236}">
                <a16:creationId xmlns:a16="http://schemas.microsoft.com/office/drawing/2014/main" id="{4871BBE7-625C-CDD4-5985-F918ED91B1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81400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3 : content : 2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08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" name="picture below">
            <a:extLst>
              <a:ext uri="{FF2B5EF4-FFF2-40B4-BE49-F238E27FC236}">
                <a16:creationId xmlns:a16="http://schemas.microsoft.com/office/drawing/2014/main" id="{64B5A92D-5A2D-40C8-EC14-0A74FFA043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64424" y="2636838"/>
            <a:ext cx="4176713" cy="2592387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0" name="picture top">
            <a:extLst>
              <a:ext uri="{FF2B5EF4-FFF2-40B4-BE49-F238E27FC236}">
                <a16:creationId xmlns:a16="http://schemas.microsoft.com/office/drawing/2014/main" id="{1B4CD723-14EE-5CF9-C037-07B25FC9BA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51162" y="-143606"/>
            <a:ext cx="3617045" cy="2635981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7999"/>
            <a:ext cx="6120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504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navigation">
            <a:extLst>
              <a:ext uri="{FF2B5EF4-FFF2-40B4-BE49-F238E27FC236}">
                <a16:creationId xmlns:a16="http://schemas.microsoft.com/office/drawing/2014/main" id="{6A77231E-06C6-10F9-814A-EBF83BBE4C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504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97782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66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4 : content : 2 pictures right : color-text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2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picture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64424" y="3780000"/>
            <a:ext cx="4176713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" name="picture top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20000" y="1476000"/>
            <a:ext cx="2880000" cy="2196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5" name="color-text-box">
            <a:extLst>
              <a:ext uri="{FF2B5EF4-FFF2-40B4-BE49-F238E27FC236}">
                <a16:creationId xmlns:a16="http://schemas.microsoft.com/office/drawing/2014/main" id="{6103A93F-ED21-3458-4157-6CA989FA5CA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791575" y="3218400"/>
            <a:ext cx="2448000" cy="900000"/>
          </a:xfrm>
          <a:prstGeom prst="roundRect">
            <a:avLst>
              <a:gd name="adj" fmla="val 9259"/>
            </a:avLst>
          </a:prstGeom>
          <a:solidFill>
            <a:schemeClr val="accent1"/>
          </a:solidFill>
        </p:spPr>
        <p:txBody>
          <a:bodyPr lIns="108000" tIns="72000" rIns="72000"/>
          <a:lstStyle>
            <a:lvl1pPr>
              <a:defRPr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accent4"/>
                </a:solidFill>
                <a:latin typeface="+mj-lt"/>
              </a:defRPr>
            </a:lvl2pPr>
            <a:lvl3pPr>
              <a:defRPr>
                <a:solidFill>
                  <a:schemeClr val="accent4"/>
                </a:solidFill>
                <a:latin typeface="+mj-lt"/>
              </a:defRPr>
            </a:lvl3pPr>
            <a:lvl4pPr>
              <a:defRPr>
                <a:solidFill>
                  <a:schemeClr val="accent4"/>
                </a:solidFill>
                <a:latin typeface="+mj-lt"/>
              </a:defRPr>
            </a:lvl4pPr>
            <a:lvl5pPr>
              <a:defRPr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7999"/>
            <a:ext cx="5544000" cy="352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D8BCFDF7-1D5B-8DAC-DC2F-D54BF2A365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8358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66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5 : 2 contents :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346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right 11cm">
            <a:extLst>
              <a:ext uri="{FF2B5EF4-FFF2-40B4-BE49-F238E27FC236}">
                <a16:creationId xmlns:a16="http://schemas.microsoft.com/office/drawing/2014/main" id="{5CD7E801-2CA0-914E-7C58-8A9BA829F6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2628000"/>
            <a:ext cx="3600000" cy="352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720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A01F8A8C-5D5A-9E22-C97F-06DCBAFD563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140000" y="2628000"/>
            <a:ext cx="3600000" cy="352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7FDF0AB8-4A72-DBED-E3BA-57CD35D7F5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720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0438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6 : content top : 2 picture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2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>
            <a:extLst>
              <a:ext uri="{FF2B5EF4-FFF2-40B4-BE49-F238E27FC236}">
                <a16:creationId xmlns:a16="http://schemas.microsoft.com/office/drawing/2014/main" id="{42826565-22D1-A6D9-E69E-FC3884F2F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29835EC-9E23-87A7-80E6-A5CEE24E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B18CB97-40F3-25CD-59A6-30585954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picture right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0000" y="3798472"/>
            <a:ext cx="5112000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" name="picture left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0" y="3798472"/>
            <a:ext cx="5112000" cy="2376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800000" y="1476000"/>
            <a:ext cx="9864000" cy="2160000"/>
          </a:xfrm>
          <a:noFill/>
        </p:spPr>
        <p:txBody>
          <a:bodyPr vert="horz" lIns="0" tIns="0" rIns="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BE41499E-F5BE-DBF3-BAC3-92C32C627C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61185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7 : 2 contents : 2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2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>
            <a:extLst>
              <a:ext uri="{FF2B5EF4-FFF2-40B4-BE49-F238E27FC236}">
                <a16:creationId xmlns:a16="http://schemas.microsoft.com/office/drawing/2014/main" id="{20BD20B0-44FC-5A88-79A0-DCADC338C2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D861FB85-24E1-52B5-92C3-DFCDDD4C7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9C40A435-687C-A3A2-46E3-09D4D87E58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picture right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00000" y="3798472"/>
            <a:ext cx="5112000" cy="2376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4" name="picture left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00000" y="3798472"/>
            <a:ext cx="5112000" cy="2376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" name="content right">
            <a:extLst>
              <a:ext uri="{FF2B5EF4-FFF2-40B4-BE49-F238E27FC236}">
                <a16:creationId xmlns:a16="http://schemas.microsoft.com/office/drawing/2014/main" id="{7AE5D198-395E-4863-A7A5-07680FA32CD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400000" y="1476000"/>
            <a:ext cx="6264000" cy="1800000"/>
          </a:xfrm>
          <a:noFill/>
        </p:spPr>
        <p:txBody>
          <a:bodyPr vert="horz" lIns="0" tIns="0" rIns="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content lef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800000" y="1476000"/>
            <a:ext cx="3240000" cy="1800000"/>
          </a:xfrm>
          <a:noFill/>
        </p:spPr>
        <p:txBody>
          <a:bodyPr vert="horz" lIns="0" tIns="0" rIns="360000" bIns="0" rtlCol="0" anchor="b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19CB1578-86A9-0BDA-D183-9BADBB4E4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9845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8 : title small : 3 pictures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034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>
            <a:extLst>
              <a:ext uri="{FF2B5EF4-FFF2-40B4-BE49-F238E27FC236}">
                <a16:creationId xmlns:a16="http://schemas.microsoft.com/office/drawing/2014/main" id="{43A8C717-4722-397F-A0C8-433FF5FE6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2FBD8772-FE66-8FDF-84A4-30F5BE97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E99FB28A-22AA-994E-7043-22AAEC7A3A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4" name="content">
            <a:extLst>
              <a:ext uri="{FF2B5EF4-FFF2-40B4-BE49-F238E27FC236}">
                <a16:creationId xmlns:a16="http://schemas.microsoft.com/office/drawing/2014/main" id="{BAD52ADE-440B-F73C-8384-4062C1392F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939478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3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34972" y="-180000"/>
            <a:ext cx="2700000" cy="32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3" name="content">
            <a:extLst>
              <a:ext uri="{FF2B5EF4-FFF2-40B4-BE49-F238E27FC236}">
                <a16:creationId xmlns:a16="http://schemas.microsoft.com/office/drawing/2014/main" id="{36EDB524-3828-3196-B148-EA4D6A28C4C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79652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picture 2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87486" y="-180000"/>
            <a:ext cx="2700000" cy="32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19825" y="3240001"/>
            <a:ext cx="2700000" cy="291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picture 1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0000" y="-180000"/>
            <a:ext cx="2700000" cy="3240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1" name="subtitle colored">
            <a:extLst>
              <a:ext uri="{FF2B5EF4-FFF2-40B4-BE49-F238E27FC236}">
                <a16:creationId xmlns:a16="http://schemas.microsoft.com/office/drawing/2014/main" id="{EE4F1825-9269-3164-D5CF-9080D1FE03C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9999" y="3148551"/>
            <a:ext cx="2520000" cy="300745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lang="en-US" sz="2400" spc="0" baseline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ts val="2800"/>
              </a:lnSpc>
              <a:spcBef>
                <a:spcPct val="0"/>
              </a:spcBef>
              <a:tabLst>
                <a:tab pos="10760075" algn="r"/>
              </a:tabLst>
            </a:pPr>
            <a:r>
              <a:rPr lang="de-DE"/>
              <a:t>Mastertextformat bearbeiten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54BCACE-F7FE-E7F5-8B89-3D95049E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2519999" cy="2507398"/>
          </a:xfrm>
        </p:spPr>
        <p:txBody>
          <a:bodyPr vert="horz" anchor="b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AD6AF56D-58A3-40A6-7508-E33636848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25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4013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19 : 4 pictures top :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325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">
            <a:extLst>
              <a:ext uri="{FF2B5EF4-FFF2-40B4-BE49-F238E27FC236}">
                <a16:creationId xmlns:a16="http://schemas.microsoft.com/office/drawing/2014/main" id="{63D2B20F-0609-55E7-7FB3-B5EE7402F6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15CFD07B-B345-C5CF-102F-714DA927D2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629EB2D1-84A0-2CF1-B415-FC5E5FD76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4" name="content">
            <a:extLst>
              <a:ext uri="{FF2B5EF4-FFF2-40B4-BE49-F238E27FC236}">
                <a16:creationId xmlns:a16="http://schemas.microsoft.com/office/drawing/2014/main" id="{BAD52ADE-440B-F73C-8384-4062C1392F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108292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4">
            <a:extLst>
              <a:ext uri="{FF2B5EF4-FFF2-40B4-BE49-F238E27FC236}">
                <a16:creationId xmlns:a16="http://schemas.microsoft.com/office/drawing/2014/main" id="{16D161C1-5395-1A70-B6E9-DDB636142C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08292" y="1476000"/>
            <a:ext cx="2520000" cy="14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3" name="content">
            <a:extLst>
              <a:ext uri="{FF2B5EF4-FFF2-40B4-BE49-F238E27FC236}">
                <a16:creationId xmlns:a16="http://schemas.microsoft.com/office/drawing/2014/main" id="{36EDB524-3828-3196-B148-EA4D6A28C4C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60098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picture 3">
            <a:extLst>
              <a:ext uri="{FF2B5EF4-FFF2-40B4-BE49-F238E27FC236}">
                <a16:creationId xmlns:a16="http://schemas.microsoft.com/office/drawing/2014/main" id="{1D0F5D2A-81FE-3833-2907-78B51B326D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52194" y="1476000"/>
            <a:ext cx="2520000" cy="1440000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438C11ED-D1E2-4D8E-7E92-53DCAC4E4B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11904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picture 2">
            <a:extLst>
              <a:ext uri="{FF2B5EF4-FFF2-40B4-BE49-F238E27FC236}">
                <a16:creationId xmlns:a16="http://schemas.microsoft.com/office/drawing/2014/main" id="{9DC2B4CA-1091-CD31-C625-B499A7922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96097" y="1476000"/>
            <a:ext cx="2520000" cy="1440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40482FD8-4BA0-D9DD-B70D-CF60E58832E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63710" y="3176472"/>
            <a:ext cx="2520000" cy="2988000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6D4F5E74-E4BC-26A1-6B3C-B594169526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0000" y="1476000"/>
            <a:ext cx="2520000" cy="1440000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754094-CFF9-5176-ADA0-C7C302BF1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navigation">
            <a:extLst>
              <a:ext uri="{FF2B5EF4-FFF2-40B4-BE49-F238E27FC236}">
                <a16:creationId xmlns:a16="http://schemas.microsoft.com/office/drawing/2014/main" id="{285D18D8-AB0C-71A7-8522-08C65978C7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81185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08 :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0666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A17B63CE-D09A-A5B2-92DE-97357DEAC2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264ABE22-2F6A-7F37-B086-AE7A106AE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7E501AC6-15A5-DC2E-289E-6EB6F31C9B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801809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0 : picture left : 4 textbox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BBD0F61-C6BE-1EDD-E4BB-7009D5ED50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350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BBD0F61-C6BE-1EDD-E4BB-7009D5ED5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>
            <a:extLst>
              <a:ext uri="{FF2B5EF4-FFF2-40B4-BE49-F238E27FC236}">
                <a16:creationId xmlns:a16="http://schemas.microsoft.com/office/drawing/2014/main" id="{BEB57DBE-63B8-E581-3096-F2652E6BC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A0884F85-B37A-46FC-CACB-D048B0C1E0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C36A1B14-05F1-8B1B-20DA-31A9A97A78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2" name="oval">
            <a:extLst>
              <a:ext uri="{FF2B5EF4-FFF2-40B4-BE49-F238E27FC236}">
                <a16:creationId xmlns:a16="http://schemas.microsoft.com/office/drawing/2014/main" id="{9A44537D-B68D-942D-AA58-F0F816A94AE7}"/>
              </a:ext>
            </a:extLst>
          </p:cNvPr>
          <p:cNvSpPr/>
          <p:nvPr/>
        </p:nvSpPr>
        <p:spPr>
          <a:xfrm>
            <a:off x="4308272" y="1125538"/>
            <a:ext cx="900000" cy="900000"/>
          </a:xfrm>
          <a:prstGeom prst="ellipse">
            <a:avLst/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>
            <a:noFill/>
          </a:ln>
          <a:effectLst>
            <a:outerShdw blurRad="63500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>
              <a:solidFill>
                <a:schemeClr val="bg1"/>
              </a:solidFill>
            </a:endParaRPr>
          </a:p>
        </p:txBody>
      </p:sp>
      <p:sp>
        <p:nvSpPr>
          <p:cNvPr id="28" name="icon-placeholder">
            <a:extLst>
              <a:ext uri="{FF2B5EF4-FFF2-40B4-BE49-F238E27FC236}">
                <a16:creationId xmlns:a16="http://schemas.microsoft.com/office/drawing/2014/main" id="{7A046E54-CAF8-82C1-9111-5F55CCBA55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452272" y="1269538"/>
            <a:ext cx="612000" cy="612000"/>
          </a:xfrm>
          <a:prstGeom prst="ellipse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picture left 11cm">
            <a:extLst>
              <a:ext uri="{FF2B5EF4-FFF2-40B4-BE49-F238E27FC236}">
                <a16:creationId xmlns:a16="http://schemas.microsoft.com/office/drawing/2014/main" id="{74ED0BBF-0E8C-44D4-921F-066BA5C9B1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960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E318E77B-CFEA-5F69-2552-9B3EE92ACF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833138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text 3">
            <a:extLst>
              <a:ext uri="{FF2B5EF4-FFF2-40B4-BE49-F238E27FC236}">
                <a16:creationId xmlns:a16="http://schemas.microsoft.com/office/drawing/2014/main" id="{759DB7E1-A1AC-4FE8-5983-602E59EB1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080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CAE3D3F0-664E-ABBC-3640-50F182DB9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33138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292821D-E361-102A-F29E-3F6CA54EC1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80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logo placeholder">
            <a:extLst>
              <a:ext uri="{FF2B5EF4-FFF2-40B4-BE49-F238E27FC236}">
                <a16:creationId xmlns:a16="http://schemas.microsoft.com/office/drawing/2014/main" id="{1F75B0BC-6C5A-1CD1-854C-F1D8676D772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A7461C7-A592-D8D9-0006-53F1781C6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0" y="622301"/>
            <a:ext cx="612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C0586414-654D-FD5A-5B01-5890021AF4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2103" y="396000"/>
            <a:ext cx="61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36256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1 : 4 textboxes left :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BBD0F61-C6BE-1EDD-E4BB-7009D5ED50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321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BBD0F61-C6BE-1EDD-E4BB-7009D5ED5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">
            <a:extLst>
              <a:ext uri="{FF2B5EF4-FFF2-40B4-BE49-F238E27FC236}">
                <a16:creationId xmlns:a16="http://schemas.microsoft.com/office/drawing/2014/main" id="{61C22490-789B-BFF9-B222-ED971D27A7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DBF89A56-A523-E8FD-12B8-C64B68EC9D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413D237B-B50A-AE37-8CA0-41A8F798B5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" name="picture right 11cm">
            <a:extLst>
              <a:ext uri="{FF2B5EF4-FFF2-40B4-BE49-F238E27FC236}">
                <a16:creationId xmlns:a16="http://schemas.microsoft.com/office/drawing/2014/main" id="{A5FFCE91-6216-65F0-E99E-12B1B5E936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44000" y="0"/>
            <a:ext cx="3960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12" name="oval">
            <a:extLst>
              <a:ext uri="{FF2B5EF4-FFF2-40B4-BE49-F238E27FC236}">
                <a16:creationId xmlns:a16="http://schemas.microsoft.com/office/drawing/2014/main" id="{9A44537D-B68D-942D-AA58-F0F816A94AE7}"/>
              </a:ext>
            </a:extLst>
          </p:cNvPr>
          <p:cNvSpPr/>
          <p:nvPr/>
        </p:nvSpPr>
        <p:spPr>
          <a:xfrm>
            <a:off x="7038000" y="1125538"/>
            <a:ext cx="900000" cy="900000"/>
          </a:xfrm>
          <a:prstGeom prst="ellipse">
            <a:avLst/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>
            <a:noFill/>
          </a:ln>
          <a:effectLst>
            <a:outerShdw blurRad="63500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D">
              <a:solidFill>
                <a:schemeClr val="bg1"/>
              </a:solidFill>
            </a:endParaRPr>
          </a:p>
        </p:txBody>
      </p:sp>
      <p:sp>
        <p:nvSpPr>
          <p:cNvPr id="28" name="icon-placeholder">
            <a:extLst>
              <a:ext uri="{FF2B5EF4-FFF2-40B4-BE49-F238E27FC236}">
                <a16:creationId xmlns:a16="http://schemas.microsoft.com/office/drawing/2014/main" id="{7A046E54-CAF8-82C1-9111-5F55CCBA550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182000" y="1269538"/>
            <a:ext cx="612000" cy="612000"/>
          </a:xfrm>
          <a:prstGeom prst="ellipse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E318E77B-CFEA-5F69-2552-9B3EE92ACF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664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text 3">
            <a:extLst>
              <a:ext uri="{FF2B5EF4-FFF2-40B4-BE49-F238E27FC236}">
                <a16:creationId xmlns:a16="http://schemas.microsoft.com/office/drawing/2014/main" id="{759DB7E1-A1AC-4FE8-5983-602E59EB1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360863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CAE3D3F0-664E-ABBC-3640-50F182DB9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664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0292821D-E361-102A-F29E-3F6CA54EC1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0000" y="1980000"/>
            <a:ext cx="2808000" cy="1800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7A7461C7-A592-D8D9-0006-53F1781C6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6862" y="1493156"/>
            <a:ext cx="2880000" cy="3600000"/>
          </a:xfrm>
        </p:spPr>
        <p:txBody>
          <a:bodyPr vert="horz"/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tabLst>
                <a:tab pos="10760075" algn="r"/>
              </a:tabLst>
              <a:defRPr lang="en-US" sz="2400" b="1" i="0" kern="1200" spc="100" baseline="0" noProof="0" dirty="0">
                <a:solidFill>
                  <a:schemeClr val="bg2"/>
                </a:solidFill>
                <a:latin typeface="Segoe UI Semibold" panose="020B0502040204020203" pitchFamily="34" charset="0"/>
                <a:ea typeface="Segoe UI Black" panose="020B0A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navigation">
            <a:extLst>
              <a:ext uri="{FF2B5EF4-FFF2-40B4-BE49-F238E27FC236}">
                <a16:creationId xmlns:a16="http://schemas.microsoft.com/office/drawing/2014/main" id="{2C29F309-EA97-F8D7-B9E5-7F0D7433E6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612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09776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2 : reference cases :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BBD0F61-C6BE-1EDD-E4BB-7009D5ED50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1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BBD0F61-C6BE-1EDD-E4BB-7009D5ED5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lide number">
            <a:extLst>
              <a:ext uri="{FF2B5EF4-FFF2-40B4-BE49-F238E27FC236}">
                <a16:creationId xmlns:a16="http://schemas.microsoft.com/office/drawing/2014/main" id="{510E1623-0FB3-4CAA-AA07-9A7D9031E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footer">
            <a:extLst>
              <a:ext uri="{FF2B5EF4-FFF2-40B4-BE49-F238E27FC236}">
                <a16:creationId xmlns:a16="http://schemas.microsoft.com/office/drawing/2014/main" id="{49604D60-FCC4-CCFA-5276-DE554E07F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7" name="date">
            <a:extLst>
              <a:ext uri="{FF2B5EF4-FFF2-40B4-BE49-F238E27FC236}">
                <a16:creationId xmlns:a16="http://schemas.microsoft.com/office/drawing/2014/main" id="{BBD4F2A4-4116-0C13-BADB-B5DA26C3F0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5" name="picture left 11cm">
            <a:extLst>
              <a:ext uri="{FF2B5EF4-FFF2-40B4-BE49-F238E27FC236}">
                <a16:creationId xmlns:a16="http://schemas.microsoft.com/office/drawing/2014/main" id="{74ED0BBF-0E8C-44D4-921F-066BA5C9B1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960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26" name="valantic logo placeholder">
            <a:extLst>
              <a:ext uri="{FF2B5EF4-FFF2-40B4-BE49-F238E27FC236}">
                <a16:creationId xmlns:a16="http://schemas.microsoft.com/office/drawing/2014/main" id="{47872EE8-C68D-BC59-A721-F66202B67D9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15887" y="6218848"/>
            <a:ext cx="1169231" cy="450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shadow 3">
            <a:extLst>
              <a:ext uri="{FF2B5EF4-FFF2-40B4-BE49-F238E27FC236}">
                <a16:creationId xmlns:a16="http://schemas.microsoft.com/office/drawing/2014/main" id="{8EBFEA4E-22B0-23AC-878B-EC066E1F702D}"/>
              </a:ext>
            </a:extLst>
          </p:cNvPr>
          <p:cNvSpPr/>
          <p:nvPr/>
        </p:nvSpPr>
        <p:spPr>
          <a:xfrm>
            <a:off x="8233134" y="5663804"/>
            <a:ext cx="3420000" cy="504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r"/>
            <a:endParaRPr lang="en-US" sz="1200" b="0">
              <a:solidFill>
                <a:schemeClr val="tx1"/>
              </a:solidFill>
              <a:latin typeface="Segoe UI Semibold" panose="020B0702040204020203" pitchFamily="34" charset="0"/>
              <a:ea typeface="Open Sans" charset="0"/>
              <a:cs typeface="Segoe UI Semibold" panose="020B0702040204020203" pitchFamily="34" charset="0"/>
            </a:endParaRPr>
          </a:p>
        </p:txBody>
      </p:sp>
      <p:sp>
        <p:nvSpPr>
          <p:cNvPr id="19" name="shadow 2">
            <a:extLst>
              <a:ext uri="{FF2B5EF4-FFF2-40B4-BE49-F238E27FC236}">
                <a16:creationId xmlns:a16="http://schemas.microsoft.com/office/drawing/2014/main" id="{A16AB38D-9AA6-EE4D-B113-D3EA2E8EF7E1}"/>
              </a:ext>
            </a:extLst>
          </p:cNvPr>
          <p:cNvSpPr/>
          <p:nvPr/>
        </p:nvSpPr>
        <p:spPr>
          <a:xfrm>
            <a:off x="8233134" y="4928515"/>
            <a:ext cx="3420000" cy="504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r"/>
            <a:endParaRPr lang="en-US" sz="1200" b="0">
              <a:solidFill>
                <a:schemeClr val="tx1"/>
              </a:solidFill>
              <a:latin typeface="Segoe UI Semibold" panose="020B0702040204020203" pitchFamily="34" charset="0"/>
              <a:ea typeface="Open Sans" charset="0"/>
              <a:cs typeface="Segoe UI Semibold" panose="020B0702040204020203" pitchFamily="34" charset="0"/>
            </a:endParaRPr>
          </a:p>
        </p:txBody>
      </p:sp>
      <p:sp>
        <p:nvSpPr>
          <p:cNvPr id="11" name="shadow 1">
            <a:extLst>
              <a:ext uri="{FF2B5EF4-FFF2-40B4-BE49-F238E27FC236}">
                <a16:creationId xmlns:a16="http://schemas.microsoft.com/office/drawing/2014/main" id="{6FCDA2C9-BD22-9CC6-8A5D-8A9BBCB0B024}"/>
              </a:ext>
            </a:extLst>
          </p:cNvPr>
          <p:cNvSpPr/>
          <p:nvPr/>
        </p:nvSpPr>
        <p:spPr>
          <a:xfrm>
            <a:off x="8233134" y="4193225"/>
            <a:ext cx="3420000" cy="504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algn="tl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r"/>
            <a:endParaRPr lang="en-US" sz="1200" b="0">
              <a:solidFill>
                <a:schemeClr val="tx1"/>
              </a:solidFill>
              <a:latin typeface="Segoe UI Semibold" panose="020B0702040204020203" pitchFamily="34" charset="0"/>
              <a:ea typeface="Open Sans" charset="0"/>
              <a:cs typeface="Segoe UI Semibold" panose="020B0702040204020203" pitchFamily="34" charset="0"/>
            </a:endParaRPr>
          </a:p>
        </p:txBody>
      </p:sp>
      <p:sp>
        <p:nvSpPr>
          <p:cNvPr id="41" name="text 3">
            <a:extLst>
              <a:ext uri="{FF2B5EF4-FFF2-40B4-BE49-F238E27FC236}">
                <a16:creationId xmlns:a16="http://schemas.microsoft.com/office/drawing/2014/main" id="{5805B240-CB9A-3652-5158-56A6403F552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477136" y="4185850"/>
            <a:ext cx="3420000" cy="1980000"/>
          </a:xfrm>
          <a:prstGeom prst="roundRect">
            <a:avLst>
              <a:gd name="adj" fmla="val 3067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subhead 3">
            <a:extLst>
              <a:ext uri="{FF2B5EF4-FFF2-40B4-BE49-F238E27FC236}">
                <a16:creationId xmlns:a16="http://schemas.microsoft.com/office/drawing/2014/main" id="{1A3805B4-1757-B667-9F63-389E966CCAE7}"/>
              </a:ext>
            </a:extLst>
          </p:cNvPr>
          <p:cNvSpPr>
            <a:spLocks noGrp="1"/>
          </p:cNvSpPr>
          <p:nvPr>
            <p:ph type="body" idx="64"/>
          </p:nvPr>
        </p:nvSpPr>
        <p:spPr>
          <a:xfrm>
            <a:off x="5470730" y="4266000"/>
            <a:ext cx="2340000" cy="540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en-US" cap="none" spc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+mj-lt"/>
              </a:defRPr>
            </a:lvl1pPr>
          </a:lstStyle>
          <a:p>
            <a:pPr lvl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de-DE"/>
              <a:t>Mastertextformat bearbeiten</a:t>
            </a:r>
          </a:p>
        </p:txBody>
      </p:sp>
      <p:sp>
        <p:nvSpPr>
          <p:cNvPr id="42" name="icon-placeholder 3">
            <a:extLst>
              <a:ext uri="{FF2B5EF4-FFF2-40B4-BE49-F238E27FC236}">
                <a16:creationId xmlns:a16="http://schemas.microsoft.com/office/drawing/2014/main" id="{52B3D3E3-8B97-6623-661F-B0B44C26001A}"/>
              </a:ext>
            </a:extLst>
          </p:cNvPr>
          <p:cNvSpPr>
            <a:spLocks noGrp="1"/>
          </p:cNvSpPr>
          <p:nvPr>
            <p:ph sz="quarter" idx="51"/>
          </p:nvPr>
        </p:nvSpPr>
        <p:spPr>
          <a:xfrm>
            <a:off x="4784937" y="426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tx2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tripe 3">
            <a:extLst>
              <a:ext uri="{FF2B5EF4-FFF2-40B4-BE49-F238E27FC236}">
                <a16:creationId xmlns:a16="http://schemas.microsoft.com/office/drawing/2014/main" id="{72E4CA30-C83F-4C16-1585-25F6F975A98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 rot="16200000">
            <a:off x="3537451" y="5129226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8" name="text 2">
            <a:extLst>
              <a:ext uri="{FF2B5EF4-FFF2-40B4-BE49-F238E27FC236}">
                <a16:creationId xmlns:a16="http://schemas.microsoft.com/office/drawing/2014/main" id="{B074B0AF-2315-4A47-C407-6E7D6B0DB83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233134" y="1926596"/>
            <a:ext cx="3420000" cy="1980000"/>
          </a:xfrm>
          <a:prstGeom prst="roundRect">
            <a:avLst>
              <a:gd name="adj" fmla="val 3067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subhead 2">
            <a:extLst>
              <a:ext uri="{FF2B5EF4-FFF2-40B4-BE49-F238E27FC236}">
                <a16:creationId xmlns:a16="http://schemas.microsoft.com/office/drawing/2014/main" id="{A6AF40C2-F261-5709-1FAA-D4028A134E58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9179337" y="2016000"/>
            <a:ext cx="2340000" cy="540000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en-US" cap="none" spc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+mj-lt"/>
              </a:defRPr>
            </a:lvl1pPr>
          </a:lstStyle>
          <a:p>
            <a:pPr lvl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de-DE"/>
              <a:t>Mastertextformat bearbeiten</a:t>
            </a:r>
          </a:p>
        </p:txBody>
      </p:sp>
      <p:sp>
        <p:nvSpPr>
          <p:cNvPr id="39" name="Icon-placeholder 2">
            <a:extLst>
              <a:ext uri="{FF2B5EF4-FFF2-40B4-BE49-F238E27FC236}">
                <a16:creationId xmlns:a16="http://schemas.microsoft.com/office/drawing/2014/main" id="{B20C0320-FF4E-1583-D91F-C15663F93106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8540937" y="201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tx2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0" name="stripe 2">
            <a:extLst>
              <a:ext uri="{FF2B5EF4-FFF2-40B4-BE49-F238E27FC236}">
                <a16:creationId xmlns:a16="http://schemas.microsoft.com/office/drawing/2014/main" id="{B9629636-BB88-9050-8712-CF8FDD1E1E3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 rot="16200000">
            <a:off x="7290000" y="2862595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A6334294-CCC0-79F2-C813-421FC0FA75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77136" y="1926596"/>
            <a:ext cx="3420000" cy="1980000"/>
          </a:xfrm>
          <a:prstGeom prst="roundRect">
            <a:avLst>
              <a:gd name="adj" fmla="val 3067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10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subhead 1">
            <a:extLst>
              <a:ext uri="{FF2B5EF4-FFF2-40B4-BE49-F238E27FC236}">
                <a16:creationId xmlns:a16="http://schemas.microsoft.com/office/drawing/2014/main" id="{0811692C-FDE3-D9DF-6FA3-FE3E82FDFC2E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5470730" y="2016000"/>
            <a:ext cx="2340000" cy="540000"/>
          </a:xfrm>
        </p:spPr>
        <p:txBody>
          <a:bodyPr anchor="ctr" anchorCtr="0"/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400" b="0" cap="none" spc="0" baseline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1"/>
                </a:gra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icon-placeholder 1">
            <a:extLst>
              <a:ext uri="{FF2B5EF4-FFF2-40B4-BE49-F238E27FC236}">
                <a16:creationId xmlns:a16="http://schemas.microsoft.com/office/drawing/2014/main" id="{F1D1C10A-BB11-D409-0AD3-F582888BF7A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84937" y="2016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tx2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stripe 1">
            <a:extLst>
              <a:ext uri="{FF2B5EF4-FFF2-40B4-BE49-F238E27FC236}">
                <a16:creationId xmlns:a16="http://schemas.microsoft.com/office/drawing/2014/main" id="{804BCFDC-A99A-3221-8B3E-D2BC171DEEA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 rot="16200000">
            <a:off x="3537451" y="2862595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0" name="title">
            <a:extLst>
              <a:ext uri="{FF2B5EF4-FFF2-40B4-BE49-F238E27FC236}">
                <a16:creationId xmlns:a16="http://schemas.microsoft.com/office/drawing/2014/main" id="{056A1DE5-F8D7-8F63-CBB0-8753E289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7137" y="622301"/>
            <a:ext cx="7164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navigation">
            <a:extLst>
              <a:ext uri="{FF2B5EF4-FFF2-40B4-BE49-F238E27FC236}">
                <a16:creationId xmlns:a16="http://schemas.microsoft.com/office/drawing/2014/main" id="{0562870E-7EF0-488A-6AF4-5A6D7121CE4F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4478400" y="396000"/>
            <a:ext cx="7164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2" name="industry">
            <a:extLst>
              <a:ext uri="{FF2B5EF4-FFF2-40B4-BE49-F238E27FC236}">
                <a16:creationId xmlns:a16="http://schemas.microsoft.com/office/drawing/2014/main" id="{9AAD24EA-AB8B-9098-74BE-FFD5BFA584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507551"/>
            <a:ext cx="2880000" cy="36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="0" cap="all" spc="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logo placeholder white">
            <a:extLst>
              <a:ext uri="{FF2B5EF4-FFF2-40B4-BE49-F238E27FC236}">
                <a16:creationId xmlns:a16="http://schemas.microsoft.com/office/drawing/2014/main" id="{8BBA3821-ACB9-E9D2-C9FB-931ADAD798C0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549237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 </a:t>
            </a:r>
          </a:p>
        </p:txBody>
      </p:sp>
      <p:sp>
        <p:nvSpPr>
          <p:cNvPr id="13" name="customer logo">
            <a:extLst>
              <a:ext uri="{FF2B5EF4-FFF2-40B4-BE49-F238E27FC236}">
                <a16:creationId xmlns:a16="http://schemas.microsoft.com/office/drawing/2014/main" id="{0A13CD6F-ADB1-7D9B-48B3-9AE26D5187A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765237" y="603936"/>
            <a:ext cx="1728000" cy="576000"/>
          </a:xfrm>
          <a:prstGeom prst="roundRect">
            <a:avLst>
              <a:gd name="adj" fmla="val 7414"/>
            </a:avLst>
          </a:prstGeom>
          <a:noFill/>
        </p:spPr>
        <p:txBody>
          <a:bodyPr anchor="ctr" anchorCtr="1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 CUSTOMER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97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orient="horz" pos="120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3 : content left : picture right : citia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BBD0F61-C6BE-1EDD-E4BB-7009D5ED50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04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BBD0F61-C6BE-1EDD-E4BB-7009D5ED5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">
            <a:extLst>
              <a:ext uri="{FF2B5EF4-FFF2-40B4-BE49-F238E27FC236}">
                <a16:creationId xmlns:a16="http://schemas.microsoft.com/office/drawing/2014/main" id="{0005317A-714E-6129-0C03-108F88B10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bg1"/>
                </a:solidFill>
              </a:defRPr>
            </a:lvl1pPr>
          </a:lstStyle>
          <a:p>
            <a:fld id="{FA573BCF-C0F1-4720-B5E7-944FE630E6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21C5E44E-70EA-7058-57E6-01C1C0DC51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D6B2871C-75F6-A225-CE39-62007A0863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5" name="picture left 11cm">
            <a:extLst>
              <a:ext uri="{FF2B5EF4-FFF2-40B4-BE49-F238E27FC236}">
                <a16:creationId xmlns:a16="http://schemas.microsoft.com/office/drawing/2014/main" id="{07669673-F448-1693-0028-5B9E6376EC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79375" y="0"/>
            <a:ext cx="3312000" cy="6858000"/>
          </a:xfrm>
          <a:custGeom>
            <a:avLst/>
            <a:gdLst>
              <a:gd name="connsiteX0" fmla="*/ 0 w 4370389"/>
              <a:gd name="connsiteY0" fmla="*/ 0 h 6858000"/>
              <a:gd name="connsiteX1" fmla="*/ 4370389 w 4370389"/>
              <a:gd name="connsiteY1" fmla="*/ 0 h 6858000"/>
              <a:gd name="connsiteX2" fmla="*/ 4370389 w 4370389"/>
              <a:gd name="connsiteY2" fmla="*/ 6858000 h 6858000"/>
              <a:gd name="connsiteX3" fmla="*/ 0 w 43703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0389" h="6858000">
                <a:moveTo>
                  <a:pt x="0" y="0"/>
                </a:moveTo>
                <a:lnTo>
                  <a:pt x="4370389" y="0"/>
                </a:lnTo>
                <a:lnTo>
                  <a:pt x="437038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marL="0" lvl="0" algn="ctr" defTabSz="457074"/>
            <a:r>
              <a:rPr lang="de-DE"/>
              <a:t>Bild durch Klicken auf Symbol hinzufügen</a:t>
            </a:r>
            <a:endParaRPr lang="en-ID"/>
          </a:p>
        </p:txBody>
      </p:sp>
      <p:sp>
        <p:nvSpPr>
          <p:cNvPr id="39" name="bg gradient">
            <a:extLst>
              <a:ext uri="{FF2B5EF4-FFF2-40B4-BE49-F238E27FC236}">
                <a16:creationId xmlns:a16="http://schemas.microsoft.com/office/drawing/2014/main" id="{D64A880E-B408-A8EF-1752-56090A7E900C}"/>
              </a:ext>
            </a:extLst>
          </p:cNvPr>
          <p:cNvSpPr/>
          <p:nvPr/>
        </p:nvSpPr>
        <p:spPr>
          <a:xfrm>
            <a:off x="8881524" y="0"/>
            <a:ext cx="3310475" cy="6858000"/>
          </a:xfrm>
          <a:prstGeom prst="rect">
            <a:avLst/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endParaRPr lang="en-DE" sz="1600" b="1" i="0" noProof="0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8" name="text box">
            <a:extLst>
              <a:ext uri="{FF2B5EF4-FFF2-40B4-BE49-F238E27FC236}">
                <a16:creationId xmlns:a16="http://schemas.microsoft.com/office/drawing/2014/main" id="{6FA9A6C5-711D-0B6D-55AB-5E4C59811D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3445" y="1476000"/>
            <a:ext cx="2520000" cy="4680000"/>
          </a:xfrm>
          <a:prstGeom prst="roundRect">
            <a:avLst>
              <a:gd name="adj" fmla="val 0"/>
            </a:avLst>
          </a:prstGeom>
          <a:noFill/>
          <a:effectLst/>
        </p:spPr>
        <p:txBody>
          <a:bodyPr lIns="540000" tIns="360000" rIns="540000" bIns="3600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quote sign">
            <a:extLst>
              <a:ext uri="{FF2B5EF4-FFF2-40B4-BE49-F238E27FC236}">
                <a16:creationId xmlns:a16="http://schemas.microsoft.com/office/drawing/2014/main" id="{360CD8C4-DDA3-F69A-4DF6-7FC09596E4A0}"/>
              </a:ext>
            </a:extLst>
          </p:cNvPr>
          <p:cNvSpPr/>
          <p:nvPr/>
        </p:nvSpPr>
        <p:spPr>
          <a:xfrm>
            <a:off x="9151827" y="608889"/>
            <a:ext cx="681460" cy="576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06" y="12830"/>
                </a:moveTo>
                <a:cubicBezTo>
                  <a:pt x="9906" y="18677"/>
                  <a:pt x="9906" y="18677"/>
                  <a:pt x="9906" y="18677"/>
                </a:cubicBezTo>
                <a:cubicBezTo>
                  <a:pt x="9906" y="19489"/>
                  <a:pt x="9631" y="20301"/>
                  <a:pt x="9218" y="20788"/>
                </a:cubicBezTo>
                <a:cubicBezTo>
                  <a:pt x="8668" y="21438"/>
                  <a:pt x="8117" y="21600"/>
                  <a:pt x="7429" y="21600"/>
                </a:cubicBezTo>
                <a:cubicBezTo>
                  <a:pt x="2476" y="21600"/>
                  <a:pt x="2476" y="21600"/>
                  <a:pt x="2476" y="21600"/>
                </a:cubicBezTo>
                <a:cubicBezTo>
                  <a:pt x="1789" y="21600"/>
                  <a:pt x="1101" y="21438"/>
                  <a:pt x="688" y="20788"/>
                </a:cubicBezTo>
                <a:cubicBezTo>
                  <a:pt x="138" y="20301"/>
                  <a:pt x="0" y="19489"/>
                  <a:pt x="0" y="18677"/>
                </a:cubicBezTo>
                <a:cubicBezTo>
                  <a:pt x="0" y="7958"/>
                  <a:pt x="0" y="7958"/>
                  <a:pt x="0" y="7958"/>
                </a:cubicBezTo>
                <a:cubicBezTo>
                  <a:pt x="0" y="6821"/>
                  <a:pt x="138" y="5847"/>
                  <a:pt x="413" y="4872"/>
                </a:cubicBezTo>
                <a:cubicBezTo>
                  <a:pt x="825" y="3898"/>
                  <a:pt x="1238" y="3086"/>
                  <a:pt x="1926" y="2274"/>
                </a:cubicBezTo>
                <a:cubicBezTo>
                  <a:pt x="2476" y="1624"/>
                  <a:pt x="3164" y="1137"/>
                  <a:pt x="3990" y="650"/>
                </a:cubicBezTo>
                <a:cubicBezTo>
                  <a:pt x="4815" y="325"/>
                  <a:pt x="5641" y="0"/>
                  <a:pt x="6604" y="0"/>
                </a:cubicBezTo>
                <a:cubicBezTo>
                  <a:pt x="7429" y="0"/>
                  <a:pt x="7429" y="0"/>
                  <a:pt x="7429" y="0"/>
                </a:cubicBezTo>
                <a:cubicBezTo>
                  <a:pt x="7704" y="0"/>
                  <a:pt x="7842" y="162"/>
                  <a:pt x="7980" y="325"/>
                </a:cubicBezTo>
                <a:cubicBezTo>
                  <a:pt x="8255" y="487"/>
                  <a:pt x="8255" y="812"/>
                  <a:pt x="8255" y="974"/>
                </a:cubicBezTo>
                <a:cubicBezTo>
                  <a:pt x="8255" y="2923"/>
                  <a:pt x="8255" y="2923"/>
                  <a:pt x="8255" y="2923"/>
                </a:cubicBezTo>
                <a:cubicBezTo>
                  <a:pt x="8255" y="3248"/>
                  <a:pt x="8255" y="3573"/>
                  <a:pt x="7980" y="3735"/>
                </a:cubicBezTo>
                <a:cubicBezTo>
                  <a:pt x="7842" y="3898"/>
                  <a:pt x="7704" y="4060"/>
                  <a:pt x="7429" y="4060"/>
                </a:cubicBezTo>
                <a:cubicBezTo>
                  <a:pt x="6604" y="4060"/>
                  <a:pt x="6604" y="4060"/>
                  <a:pt x="6604" y="4060"/>
                </a:cubicBezTo>
                <a:cubicBezTo>
                  <a:pt x="5641" y="4060"/>
                  <a:pt x="4953" y="4385"/>
                  <a:pt x="4265" y="5197"/>
                </a:cubicBezTo>
                <a:cubicBezTo>
                  <a:pt x="3577" y="5847"/>
                  <a:pt x="3302" y="6821"/>
                  <a:pt x="3302" y="7958"/>
                </a:cubicBezTo>
                <a:cubicBezTo>
                  <a:pt x="3302" y="8445"/>
                  <a:pt x="3302" y="8445"/>
                  <a:pt x="3302" y="8445"/>
                </a:cubicBezTo>
                <a:cubicBezTo>
                  <a:pt x="3302" y="8770"/>
                  <a:pt x="3439" y="9095"/>
                  <a:pt x="3577" y="9420"/>
                </a:cubicBezTo>
                <a:cubicBezTo>
                  <a:pt x="3852" y="9744"/>
                  <a:pt x="4127" y="9907"/>
                  <a:pt x="4540" y="9907"/>
                </a:cubicBezTo>
                <a:cubicBezTo>
                  <a:pt x="7429" y="9907"/>
                  <a:pt x="7429" y="9907"/>
                  <a:pt x="7429" y="9907"/>
                </a:cubicBezTo>
                <a:cubicBezTo>
                  <a:pt x="8117" y="9907"/>
                  <a:pt x="8668" y="10232"/>
                  <a:pt x="9218" y="10719"/>
                </a:cubicBezTo>
                <a:cubicBezTo>
                  <a:pt x="9631" y="11368"/>
                  <a:pt x="9906" y="12018"/>
                  <a:pt x="9906" y="12830"/>
                </a:cubicBezTo>
                <a:close/>
                <a:moveTo>
                  <a:pt x="21600" y="12830"/>
                </a:moveTo>
                <a:cubicBezTo>
                  <a:pt x="21600" y="18677"/>
                  <a:pt x="21600" y="18677"/>
                  <a:pt x="21600" y="18677"/>
                </a:cubicBezTo>
                <a:cubicBezTo>
                  <a:pt x="21600" y="19489"/>
                  <a:pt x="21325" y="20301"/>
                  <a:pt x="20912" y="20788"/>
                </a:cubicBezTo>
                <a:cubicBezTo>
                  <a:pt x="20362" y="21438"/>
                  <a:pt x="19811" y="21600"/>
                  <a:pt x="19124" y="21600"/>
                </a:cubicBezTo>
                <a:cubicBezTo>
                  <a:pt x="14033" y="21600"/>
                  <a:pt x="14033" y="21600"/>
                  <a:pt x="14033" y="21600"/>
                </a:cubicBezTo>
                <a:cubicBezTo>
                  <a:pt x="13345" y="21600"/>
                  <a:pt x="12795" y="21438"/>
                  <a:pt x="12382" y="20788"/>
                </a:cubicBezTo>
                <a:cubicBezTo>
                  <a:pt x="11832" y="20301"/>
                  <a:pt x="11557" y="19489"/>
                  <a:pt x="11557" y="18677"/>
                </a:cubicBezTo>
                <a:cubicBezTo>
                  <a:pt x="11557" y="7958"/>
                  <a:pt x="11557" y="7958"/>
                  <a:pt x="11557" y="7958"/>
                </a:cubicBezTo>
                <a:cubicBezTo>
                  <a:pt x="11557" y="6821"/>
                  <a:pt x="11832" y="5847"/>
                  <a:pt x="12107" y="4872"/>
                </a:cubicBezTo>
                <a:cubicBezTo>
                  <a:pt x="12520" y="3898"/>
                  <a:pt x="12932" y="3086"/>
                  <a:pt x="13620" y="2274"/>
                </a:cubicBezTo>
                <a:cubicBezTo>
                  <a:pt x="14171" y="1624"/>
                  <a:pt x="14859" y="1137"/>
                  <a:pt x="15684" y="650"/>
                </a:cubicBezTo>
                <a:cubicBezTo>
                  <a:pt x="16510" y="325"/>
                  <a:pt x="17335" y="0"/>
                  <a:pt x="18298" y="0"/>
                </a:cubicBezTo>
                <a:cubicBezTo>
                  <a:pt x="19124" y="0"/>
                  <a:pt x="19124" y="0"/>
                  <a:pt x="19124" y="0"/>
                </a:cubicBezTo>
                <a:cubicBezTo>
                  <a:pt x="19261" y="0"/>
                  <a:pt x="19536" y="162"/>
                  <a:pt x="19674" y="325"/>
                </a:cubicBezTo>
                <a:cubicBezTo>
                  <a:pt x="19811" y="487"/>
                  <a:pt x="19949" y="812"/>
                  <a:pt x="19949" y="974"/>
                </a:cubicBezTo>
                <a:cubicBezTo>
                  <a:pt x="19949" y="2923"/>
                  <a:pt x="19949" y="2923"/>
                  <a:pt x="19949" y="2923"/>
                </a:cubicBezTo>
                <a:cubicBezTo>
                  <a:pt x="19949" y="3248"/>
                  <a:pt x="19811" y="3573"/>
                  <a:pt x="19674" y="3735"/>
                </a:cubicBezTo>
                <a:cubicBezTo>
                  <a:pt x="19536" y="3898"/>
                  <a:pt x="19261" y="4060"/>
                  <a:pt x="19124" y="4060"/>
                </a:cubicBezTo>
                <a:cubicBezTo>
                  <a:pt x="18298" y="4060"/>
                  <a:pt x="18298" y="4060"/>
                  <a:pt x="18298" y="4060"/>
                </a:cubicBezTo>
                <a:cubicBezTo>
                  <a:pt x="17335" y="4060"/>
                  <a:pt x="16510" y="4385"/>
                  <a:pt x="15959" y="5197"/>
                </a:cubicBezTo>
                <a:cubicBezTo>
                  <a:pt x="15271" y="5847"/>
                  <a:pt x="14996" y="6821"/>
                  <a:pt x="14996" y="7958"/>
                </a:cubicBezTo>
                <a:cubicBezTo>
                  <a:pt x="14996" y="8445"/>
                  <a:pt x="14996" y="8445"/>
                  <a:pt x="14996" y="8445"/>
                </a:cubicBezTo>
                <a:cubicBezTo>
                  <a:pt x="14996" y="8770"/>
                  <a:pt x="14996" y="9095"/>
                  <a:pt x="15271" y="9420"/>
                </a:cubicBezTo>
                <a:cubicBezTo>
                  <a:pt x="15546" y="9744"/>
                  <a:pt x="15822" y="9907"/>
                  <a:pt x="16234" y="9907"/>
                </a:cubicBezTo>
                <a:cubicBezTo>
                  <a:pt x="19124" y="9907"/>
                  <a:pt x="19124" y="9907"/>
                  <a:pt x="19124" y="9907"/>
                </a:cubicBezTo>
                <a:cubicBezTo>
                  <a:pt x="19811" y="9907"/>
                  <a:pt x="20362" y="10232"/>
                  <a:pt x="20912" y="10719"/>
                </a:cubicBezTo>
                <a:cubicBezTo>
                  <a:pt x="21325" y="11368"/>
                  <a:pt x="21600" y="12018"/>
                  <a:pt x="21600" y="1283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sz="1224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industry">
            <a:extLst>
              <a:ext uri="{FF2B5EF4-FFF2-40B4-BE49-F238E27FC236}">
                <a16:creationId xmlns:a16="http://schemas.microsoft.com/office/drawing/2014/main" id="{59A98800-DA0A-0FA8-DBD9-591CCB872EF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5891927" y="1507551"/>
            <a:ext cx="2880000" cy="360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1200" b="0" cap="all" spc="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logo placeholder white">
            <a:extLst>
              <a:ext uri="{FF2B5EF4-FFF2-40B4-BE49-F238E27FC236}">
                <a16:creationId xmlns:a16="http://schemas.microsoft.com/office/drawing/2014/main" id="{3DE755F3-9F3D-FA53-9A94-CFFA43974D1C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5890302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en-US"/>
              <a:t> </a:t>
            </a:r>
          </a:p>
        </p:txBody>
      </p:sp>
      <p:sp>
        <p:nvSpPr>
          <p:cNvPr id="13" name="customer logo">
            <a:extLst>
              <a:ext uri="{FF2B5EF4-FFF2-40B4-BE49-F238E27FC236}">
                <a16:creationId xmlns:a16="http://schemas.microsoft.com/office/drawing/2014/main" id="{9FF0D743-933C-8EB2-55C0-BB3DD8567E31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6106302" y="603936"/>
            <a:ext cx="1728000" cy="576000"/>
          </a:xfrm>
          <a:prstGeom prst="roundRect">
            <a:avLst>
              <a:gd name="adj" fmla="val 7414"/>
            </a:avLst>
          </a:prstGeom>
          <a:noFill/>
        </p:spPr>
        <p:txBody>
          <a:bodyPr anchor="ctr" anchorCtr="1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/>
              <a:defRPr/>
            </a:pPr>
            <a:r>
              <a:rPr lang="de-DE"/>
              <a:t> CUSTOMER LOGO</a:t>
            </a:r>
            <a:endParaRPr lang="en-US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55460CD8-7F20-3092-8A14-190F979D779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9999" y="1989138"/>
            <a:ext cx="4680000" cy="4166862"/>
          </a:xfrm>
          <a:noFill/>
        </p:spPr>
        <p:txBody>
          <a:bodyPr vert="horz" lIns="0" tIns="0" rIns="36000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24D79DE1-5191-A9D7-9EAB-2EC78ABF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4680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6" name="navigation">
            <a:extLst>
              <a:ext uri="{FF2B5EF4-FFF2-40B4-BE49-F238E27FC236}">
                <a16:creationId xmlns:a16="http://schemas.microsoft.com/office/drawing/2014/main" id="{756EB541-0893-E536-3461-F1B4F0BC3B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4680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98843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25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4 : 3 icon-circles :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675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">
            <a:extLst>
              <a:ext uri="{FF2B5EF4-FFF2-40B4-BE49-F238E27FC236}">
                <a16:creationId xmlns:a16="http://schemas.microsoft.com/office/drawing/2014/main" id="{D9B987B5-FC87-07A0-EE60-B25D4CECC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">
            <a:extLst>
              <a:ext uri="{FF2B5EF4-FFF2-40B4-BE49-F238E27FC236}">
                <a16:creationId xmlns:a16="http://schemas.microsoft.com/office/drawing/2014/main" id="{0E22014F-C60E-A5F2-3D35-B99352051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B9DDA708-6115-B505-1604-CB18C57492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6" name="content 3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29989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ircle 3">
            <a:extLst>
              <a:ext uri="{FF2B5EF4-FFF2-40B4-BE49-F238E27FC236}">
                <a16:creationId xmlns:a16="http://schemas.microsoft.com/office/drawing/2014/main" id="{03E6616D-6BE5-1F0D-0C0A-EDEE8E74F894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903789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Icon-placeholder 3">
            <a:extLst>
              <a:ext uri="{FF2B5EF4-FFF2-40B4-BE49-F238E27FC236}">
                <a16:creationId xmlns:a16="http://schemas.microsoft.com/office/drawing/2014/main" id="{C60ADAF8-2C7E-52B4-A639-798B1160C64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39789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2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72800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ircle 2">
            <a:extLst>
              <a:ext uri="{FF2B5EF4-FFF2-40B4-BE49-F238E27FC236}">
                <a16:creationId xmlns:a16="http://schemas.microsoft.com/office/drawing/2014/main" id="{734287B7-FF2C-081C-D1AE-E5AAC79579AE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546600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Icon-placeholder 2">
            <a:extLst>
              <a:ext uri="{FF2B5EF4-FFF2-40B4-BE49-F238E27FC236}">
                <a16:creationId xmlns:a16="http://schemas.microsoft.com/office/drawing/2014/main" id="{2E85AA86-5649-E89A-22E5-F7FE994FA4CF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582600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1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156110" y="3420000"/>
            <a:ext cx="2736000" cy="27365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400" dirty="0"/>
            </a:lvl1pPr>
            <a:lvl2pPr algn="l">
              <a:defRPr lang="en-US" sz="1400" dirty="0"/>
            </a:lvl2pPr>
            <a:lvl3pPr algn="l">
              <a:defRPr lang="en-US" sz="1400" dirty="0"/>
            </a:lvl3pPr>
            <a:lvl4pPr algn="l">
              <a:defRPr lang="en-US" sz="1400" dirty="0"/>
            </a:lvl4pPr>
            <a:lvl5pPr algn="l">
              <a:defRPr lang="nl-NL" sz="1400" noProof="0" dirty="0"/>
            </a:lvl5pPr>
            <a:lvl6pPr algn="l">
              <a:defRPr lang="nl-NL" sz="1400" noProof="0" dirty="0"/>
            </a:lvl6pPr>
            <a:lvl7pPr algn="l">
              <a:defRPr lang="nl-NL" sz="1400" noProof="0" dirty="0"/>
            </a:lvl7pPr>
            <a:lvl8pPr algn="l">
              <a:defRPr lang="nl-NL" sz="1400" noProof="0" dirty="0"/>
            </a:lvl8pPr>
            <a:lvl9pPr algn="l"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circle 1">
            <a:extLst>
              <a:ext uri="{FF2B5EF4-FFF2-40B4-BE49-F238E27FC236}">
                <a16:creationId xmlns:a16="http://schemas.microsoft.com/office/drawing/2014/main" id="{CF9B3468-8D83-E9F3-7B03-E73CD41ECE15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1894110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1" name="Icon-placeholder 1">
            <a:extLst>
              <a:ext uri="{FF2B5EF4-FFF2-40B4-BE49-F238E27FC236}">
                <a16:creationId xmlns:a16="http://schemas.microsoft.com/office/drawing/2014/main" id="{58129E42-8DEF-4ABF-4EC7-0503FD82023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254110" y="207965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navigation">
            <a:extLst>
              <a:ext uri="{FF2B5EF4-FFF2-40B4-BE49-F238E27FC236}">
                <a16:creationId xmlns:a16="http://schemas.microsoft.com/office/drawing/2014/main" id="{7A299E29-D08F-1AB7-8A5E-A0AE864F90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88891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5 : 4 text box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9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>
            <a:extLst>
              <a:ext uri="{FF2B5EF4-FFF2-40B4-BE49-F238E27FC236}">
                <a16:creationId xmlns:a16="http://schemas.microsoft.com/office/drawing/2014/main" id="{C9BA3CE1-F4C3-2C3D-C372-01096BC0A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9C96A835-E90E-5839-1566-B47381500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61BC8F3A-DE2E-C831-0500-7FA96995AB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A1FE09D6-F50B-58D0-9D25-2A26AF1045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4530" y="1476000"/>
            <a:ext cx="11083470" cy="1440000"/>
          </a:xfrm>
          <a:prstGeom prst="roundRect">
            <a:avLst>
              <a:gd name="adj" fmla="val 5828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288000" rIns="0" bIns="0" rtlCol="0" anchor="t" anchorCtr="1">
            <a:noAutofit/>
          </a:bodyPr>
          <a:lstStyle>
            <a:lvl1pPr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729180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5" name="Icon-placeholder">
            <a:extLst>
              <a:ext uri="{FF2B5EF4-FFF2-40B4-BE49-F238E27FC236}">
                <a16:creationId xmlns:a16="http://schemas.microsoft.com/office/drawing/2014/main" id="{A69C5009-BBB2-3F4E-2F00-D126B2AA56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928610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03454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4" name="Icon-placeholder">
            <a:extLst>
              <a:ext uri="{FF2B5EF4-FFF2-40B4-BE49-F238E27FC236}">
                <a16:creationId xmlns:a16="http://schemas.microsoft.com/office/drawing/2014/main" id="{59748B2D-BB1C-8085-B717-CE69ADE160F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07294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77727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>
              <a:defRPr lang="en-US" sz="1000" dirty="0" smtClean="0"/>
            </a:lvl1pPr>
            <a:lvl2pPr>
              <a:defRPr lang="en-US" sz="1000" dirty="0" smtClean="0"/>
            </a:lvl2pPr>
            <a:lvl3pPr>
              <a:defRPr lang="en-US" sz="1000" dirty="0" smtClean="0"/>
            </a:lvl3pPr>
            <a:lvl4pPr>
              <a:defRPr lang="en-US" sz="1000" dirty="0" smtClean="0">
                <a:solidFill>
                  <a:schemeClr val="tx2"/>
                </a:solidFill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dirty="0" smtClean="0">
                <a:solidFill>
                  <a:schemeClr val="tx2"/>
                </a:solidFill>
                <a:ea typeface="+mn-ea"/>
                <a:cs typeface="+mn-cs"/>
              </a:defRPr>
            </a:lvl6pPr>
            <a:lvl7pPr>
              <a:defRPr lang="en-US" sz="1000" b="0" baseline="0" dirty="0" smtClean="0"/>
            </a:lvl7pPr>
            <a:lvl8pPr>
              <a:defRPr lang="en-US" sz="1000" b="0" baseline="0" dirty="0" smtClean="0"/>
            </a:lvl8pPr>
            <a:lvl9pPr>
              <a:defRPr lang="en-US" sz="1000" b="0" dirty="0" smtClean="0">
                <a:latin typeface="+mn-lt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Icon-placeholder">
            <a:extLst>
              <a:ext uri="{FF2B5EF4-FFF2-40B4-BE49-F238E27FC236}">
                <a16:creationId xmlns:a16="http://schemas.microsoft.com/office/drawing/2014/main" id="{EAC3B973-5857-335C-D82C-09706AD0D92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885978" y="2628000"/>
            <a:ext cx="540000" cy="540000"/>
          </a:xfrm>
        </p:spPr>
        <p:txBody>
          <a:bodyPr/>
          <a:lstStyle>
            <a:lvl1pPr>
              <a:lnSpc>
                <a:spcPts val="1400"/>
              </a:lnSpc>
              <a:defRPr lang="en-US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152000" y="2412000"/>
            <a:ext cx="234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180000" tIns="1044000" rIns="108000"/>
          <a:lstStyle>
            <a:lvl1pPr>
              <a:defRPr sz="10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solidFill>
                  <a:schemeClr val="tx2"/>
                </a:solidFill>
                <a:latin typeface="+mn-lt"/>
              </a:defRPr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Icon-placeholder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364662" y="2628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lang="en-DE" sz="1000" b="0" kern="1200" baseline="0" noProof="0" dirty="0">
                <a:ln>
                  <a:solidFill>
                    <a:srgbClr val="FF4B4B"/>
                  </a:solidFill>
                </a:ln>
                <a:solidFill>
                  <a:srgbClr val="FF4B4B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navigation">
            <a:extLst>
              <a:ext uri="{FF2B5EF4-FFF2-40B4-BE49-F238E27FC236}">
                <a16:creationId xmlns:a16="http://schemas.microsoft.com/office/drawing/2014/main" id="{BC82E269-B945-9E98-D88A-B9E0B906B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2153715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6 : 4 text boxes : stripes :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022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">
            <a:extLst>
              <a:ext uri="{FF2B5EF4-FFF2-40B4-BE49-F238E27FC236}">
                <a16:creationId xmlns:a16="http://schemas.microsoft.com/office/drawing/2014/main" id="{68DA1A13-8D13-4B2B-713D-126B871F2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">
            <a:extLst>
              <a:ext uri="{FF2B5EF4-FFF2-40B4-BE49-F238E27FC236}">
                <a16:creationId xmlns:a16="http://schemas.microsoft.com/office/drawing/2014/main" id="{A4E184A2-8E83-E028-E053-0741914CB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EEB58672-5C8C-98C6-6BF1-81FA11EF3A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72200" y="409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stripe 4">
            <a:extLst>
              <a:ext uri="{FF2B5EF4-FFF2-40B4-BE49-F238E27FC236}">
                <a16:creationId xmlns:a16="http://schemas.microsoft.com/office/drawing/2014/main" id="{B083A90B-BA65-DE34-FD88-6D9B6076812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16200000">
            <a:off x="5220000" y="5034844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14" name="Icon-placeholder 4">
            <a:extLst>
              <a:ext uri="{FF2B5EF4-FFF2-40B4-BE49-F238E27FC236}">
                <a16:creationId xmlns:a16="http://schemas.microsoft.com/office/drawing/2014/main" id="{A9B14E53-0A29-DC6D-5E5B-C26B98579E86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480000" y="421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 3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72200" y="409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Icon-placeholder 3">
            <a:extLst>
              <a:ext uri="{FF2B5EF4-FFF2-40B4-BE49-F238E27FC236}">
                <a16:creationId xmlns:a16="http://schemas.microsoft.com/office/drawing/2014/main" id="{49A6B266-7DA1-A0D2-8985-DEA29D0B305D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1076900" y="421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tripe 3">
            <a:extLst>
              <a:ext uri="{FF2B5EF4-FFF2-40B4-BE49-F238E27FC236}">
                <a16:creationId xmlns:a16="http://schemas.microsoft.com/office/drawing/2014/main" id="{896C88AE-CDA6-2778-4D8F-217FF29DFFB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16200000">
            <a:off x="-161110" y="5034844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37" name="text 2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72200" y="193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stripe 2">
            <a:extLst>
              <a:ext uri="{FF2B5EF4-FFF2-40B4-BE49-F238E27FC236}">
                <a16:creationId xmlns:a16="http://schemas.microsoft.com/office/drawing/2014/main" id="{4BBD5651-6876-8008-DE62-ECF20E454E6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 rot="16200000">
            <a:off x="5220000" y="2862666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DE" dirty="0"/>
            </a:lvl1pPr>
          </a:lstStyle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13" name="Icon-placeholder 2">
            <a:extLst>
              <a:ext uri="{FF2B5EF4-FFF2-40B4-BE49-F238E27FC236}">
                <a16:creationId xmlns:a16="http://schemas.microsoft.com/office/drawing/2014/main" id="{17A2DFA9-CAF3-9122-B3B4-2A81162C706D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80000" y="205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2200" y="1933350"/>
            <a:ext cx="5184000" cy="198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288000" tIns="720000" rIns="28800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8" name="Icon-placeholder 1">
            <a:extLst>
              <a:ext uri="{FF2B5EF4-FFF2-40B4-BE49-F238E27FC236}">
                <a16:creationId xmlns:a16="http://schemas.microsoft.com/office/drawing/2014/main" id="{BF2DF158-C122-E218-BDE2-5E6595D1B8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80000" y="20520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stripe 1">
            <a:extLst>
              <a:ext uri="{FF2B5EF4-FFF2-40B4-BE49-F238E27FC236}">
                <a16:creationId xmlns:a16="http://schemas.microsoft.com/office/drawing/2014/main" id="{4B1368A1-F8E3-A666-10EC-9578E6615D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6200000">
            <a:off x="-161110" y="2862665"/>
            <a:ext cx="1980000" cy="108000"/>
          </a:xfrm>
          <a:prstGeom prst="round2SameRect">
            <a:avLst>
              <a:gd name="adj1" fmla="val 35379"/>
              <a:gd name="adj2" fmla="val 0"/>
            </a:avLst>
          </a:pr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</p:spPr>
        <p:txBody>
          <a:bodyPr/>
          <a:lstStyle/>
          <a:p>
            <a:pPr lvl="0"/>
            <a:r>
              <a:rPr lang="en-US"/>
              <a:t> </a:t>
            </a:r>
            <a:endParaRPr lang="en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6" name="navigation">
            <a:extLst>
              <a:ext uri="{FF2B5EF4-FFF2-40B4-BE49-F238E27FC236}">
                <a16:creationId xmlns:a16="http://schemas.microsoft.com/office/drawing/2014/main" id="{05A7132E-42F4-2481-78AD-C847933B13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23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7 : 5 content-circle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85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>
            <a:extLst>
              <a:ext uri="{FF2B5EF4-FFF2-40B4-BE49-F238E27FC236}">
                <a16:creationId xmlns:a16="http://schemas.microsoft.com/office/drawing/2014/main" id="{3D9D7E91-9080-9BA5-E306-8933FE0F0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E45A1343-BD59-81CA-3D94-C6FF528BD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E8E2844F-60D7-0998-FD9D-47B82960A1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658863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0" name="circle 5">
            <a:extLst>
              <a:ext uri="{FF2B5EF4-FFF2-40B4-BE49-F238E27FC236}">
                <a16:creationId xmlns:a16="http://schemas.microsoft.com/office/drawing/2014/main" id="{9B320BE7-2C37-0A5C-A03A-78FDCDE8E160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9605567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3" name="Icon-placeholder 5">
            <a:extLst>
              <a:ext uri="{FF2B5EF4-FFF2-40B4-BE49-F238E27FC236}">
                <a16:creationId xmlns:a16="http://schemas.microsoft.com/office/drawing/2014/main" id="{B808016F-4B16-4650-0C2E-264DB5011B3F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965568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379148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9" name="circle 4">
            <a:extLst>
              <a:ext uri="{FF2B5EF4-FFF2-40B4-BE49-F238E27FC236}">
                <a16:creationId xmlns:a16="http://schemas.microsoft.com/office/drawing/2014/main" id="{B384D12F-6EC3-A163-D4A1-06E336F9D48C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7337453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Icon-placeholder 4">
            <a:extLst>
              <a:ext uri="{FF2B5EF4-FFF2-40B4-BE49-F238E27FC236}">
                <a16:creationId xmlns:a16="http://schemas.microsoft.com/office/drawing/2014/main" id="{785B09EF-B8C5-9434-9255-D57FC85E64E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7697453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99432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8" name="circle 3">
            <a:extLst>
              <a:ext uri="{FF2B5EF4-FFF2-40B4-BE49-F238E27FC236}">
                <a16:creationId xmlns:a16="http://schemas.microsoft.com/office/drawing/2014/main" id="{89F90057-16C4-BBA7-D79B-D697902D98B6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5069339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Icon-placeholder 3">
            <a:extLst>
              <a:ext uri="{FF2B5EF4-FFF2-40B4-BE49-F238E27FC236}">
                <a16:creationId xmlns:a16="http://schemas.microsoft.com/office/drawing/2014/main" id="{FF7919E9-EC30-DE68-47FE-20E3D3DB9A12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5429339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819716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7" name="circle 2">
            <a:extLst>
              <a:ext uri="{FF2B5EF4-FFF2-40B4-BE49-F238E27FC236}">
                <a16:creationId xmlns:a16="http://schemas.microsoft.com/office/drawing/2014/main" id="{188DCCB7-D30D-6A78-25B3-813B9C6565C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2795041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Icon-placeholder 2">
            <a:extLst>
              <a:ext uri="{FF2B5EF4-FFF2-40B4-BE49-F238E27FC236}">
                <a16:creationId xmlns:a16="http://schemas.microsoft.com/office/drawing/2014/main" id="{C9CB027B-6FB1-929F-2755-CF600835D96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161225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3429000"/>
            <a:ext cx="2160000" cy="2736500"/>
          </a:xfrm>
          <a:prstGeom prst="rect">
            <a:avLst/>
          </a:prstGeom>
          <a:noFill/>
        </p:spPr>
        <p:txBody>
          <a:bodyPr vert="horz" lIns="0" tIns="0" rIns="360000" bIns="0" rtlCol="0" anchor="t" anchorCtr="0">
            <a:no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nl-NL" sz="1400" noProof="0" dirty="0"/>
            </a:lvl5pPr>
            <a:lvl6pPr>
              <a:defRPr lang="nl-NL" sz="1400" noProof="0" dirty="0"/>
            </a:lvl6pPr>
            <a:lvl7pPr>
              <a:defRPr lang="nl-NL" sz="1400" noProof="0" dirty="0"/>
            </a:lvl7pPr>
            <a:lvl8pPr>
              <a:defRPr lang="nl-NL" sz="1400" noProof="0" dirty="0"/>
            </a:lvl8pPr>
            <a:lvl9pPr>
              <a:defRPr lang="nl-NL" sz="1400" noProof="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5" name="circle 1">
            <a:extLst>
              <a:ext uri="{FF2B5EF4-FFF2-40B4-BE49-F238E27FC236}">
                <a16:creationId xmlns:a16="http://schemas.microsoft.com/office/drawing/2014/main" id="{C3CDCE4D-5523-DB5C-6233-DE77CE958ED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3688" y="1719500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anchor="ctr"/>
          <a:lstStyle>
            <a:lvl1pPr marL="0" indent="0"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Icon-placeholder 1">
            <a:extLst>
              <a:ext uri="{FF2B5EF4-FFF2-40B4-BE49-F238E27FC236}">
                <a16:creationId xmlns:a16="http://schemas.microsoft.com/office/drawing/2014/main" id="{EA206033-AF1D-4F6B-EBBB-9E451AFAC80E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13688" y="2079500"/>
            <a:ext cx="540000" cy="540000"/>
          </a:xfrm>
        </p:spPr>
        <p:txBody>
          <a:bodyPr rIns="108000"/>
          <a:lstStyle>
            <a:lvl1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1pPr>
            <a:lvl2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2pPr>
            <a:lvl3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3pPr>
            <a:lvl4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4pPr>
            <a:lvl5pPr>
              <a:lnSpc>
                <a:spcPts val="1400"/>
              </a:lnSpc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navigation">
            <a:extLst>
              <a:ext uri="{FF2B5EF4-FFF2-40B4-BE49-F238E27FC236}">
                <a16:creationId xmlns:a16="http://schemas.microsoft.com/office/drawing/2014/main" id="{5625633C-7FB0-A4CD-BAD7-50BBD6F55F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86276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8 : 5 circles : 5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8BAD3777-8CEA-B48C-2AEE-F9C58CF2B9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">
            <a:extLst>
              <a:ext uri="{FF2B5EF4-FFF2-40B4-BE49-F238E27FC236}">
                <a16:creationId xmlns:a16="http://schemas.microsoft.com/office/drawing/2014/main" id="{13AFAD36-E203-AFE3-95B6-80326D424B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D3778A2E-0F42-B2F4-D98B-BAC1B3FD2D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5" name="content 5">
            <a:extLst>
              <a:ext uri="{FF2B5EF4-FFF2-40B4-BE49-F238E27FC236}">
                <a16:creationId xmlns:a16="http://schemas.microsoft.com/office/drawing/2014/main" id="{2A0D5407-F643-F9E8-6739-DC94AEDEB3C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475500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4" name="text circle">
            <a:extLst>
              <a:ext uri="{FF2B5EF4-FFF2-40B4-BE49-F238E27FC236}">
                <a16:creationId xmlns:a16="http://schemas.microsoft.com/office/drawing/2014/main" id="{FD4675FD-4A8E-9235-3FD4-47FD3C37A810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9553138" y="1805799"/>
            <a:ext cx="1800000" cy="1800000"/>
          </a:xfrm>
          <a:prstGeom prst="flowChartConnector">
            <a:avLst/>
          </a:prstGeom>
          <a:solidFill>
            <a:schemeClr val="accent2"/>
          </a:solidFill>
          <a:effectLst/>
        </p:spPr>
        <p:txBody>
          <a:bodyPr vert="horz" lIns="108000" tIns="432000" rIns="0" bIns="0" rtlCol="0" anchor="ctr" anchorCtr="1">
            <a:noAutofit/>
          </a:bodyPr>
          <a:lstStyle>
            <a:lvl1pPr>
              <a:defRPr lang="en-US" sz="4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x</a:t>
            </a:r>
          </a:p>
        </p:txBody>
      </p:sp>
      <p:sp>
        <p:nvSpPr>
          <p:cNvPr id="6" name="content 4">
            <a:extLst>
              <a:ext uri="{FF2B5EF4-FFF2-40B4-BE49-F238E27FC236}">
                <a16:creationId xmlns:a16="http://schemas.microsoft.com/office/drawing/2014/main" id="{B5886103-0D8E-5D01-3B87-1FDDA2E05BE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241625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3" name="text circle">
            <a:extLst>
              <a:ext uri="{FF2B5EF4-FFF2-40B4-BE49-F238E27FC236}">
                <a16:creationId xmlns:a16="http://schemas.microsoft.com/office/drawing/2014/main" id="{738E42BE-60E4-A207-F932-E4C0D977BF38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7241625" y="2117199"/>
            <a:ext cx="1260000" cy="1260000"/>
          </a:xfrm>
          <a:prstGeom prst="flowChartConnector">
            <a:avLst/>
          </a:prstGeom>
          <a:solidFill>
            <a:srgbClr val="FFFFFF"/>
          </a:solidFill>
          <a:ln w="22225"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432000" rIns="0" bIns="72000" rtlCol="0" anchor="t" anchorCtr="0">
            <a:noAutofit/>
          </a:bodyPr>
          <a:lstStyle>
            <a:lvl1pPr>
              <a:defRPr kumimoji="0" lang="en-US" sz="3200" b="1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R="0" lvl="0" algn="ctr" defTabSz="914330" fontAlgn="auto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x</a:t>
            </a:r>
          </a:p>
        </p:txBody>
      </p:sp>
      <p:sp>
        <p:nvSpPr>
          <p:cNvPr id="4" name="content 3">
            <a:extLst>
              <a:ext uri="{FF2B5EF4-FFF2-40B4-BE49-F238E27FC236}">
                <a16:creationId xmlns:a16="http://schemas.microsoft.com/office/drawing/2014/main" id="{0F189F99-D754-4356-5E4B-0F553CC9C35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07750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 circle">
            <a:extLst>
              <a:ext uri="{FF2B5EF4-FFF2-40B4-BE49-F238E27FC236}">
                <a16:creationId xmlns:a16="http://schemas.microsoft.com/office/drawing/2014/main" id="{31A0DEB0-F29F-1B24-2604-AC3A4FE8A667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011371" y="2131962"/>
            <a:ext cx="1260000" cy="1260000"/>
          </a:xfrm>
          <a:prstGeom prst="flowChartConnector">
            <a:avLst/>
          </a:prstGeom>
          <a:solidFill>
            <a:srgbClr val="FFFFFF"/>
          </a:solidFill>
          <a:ln w="22225"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432000" rIns="0" bIns="72000" rtlCol="0" anchor="t" anchorCtr="0">
            <a:noAutofit/>
          </a:bodyPr>
          <a:lstStyle>
            <a:lvl1pPr>
              <a:defRPr kumimoji="0" lang="en-US" sz="3200" b="1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R="0" lvl="0" algn="ctr" defTabSz="914330" fontAlgn="auto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x</a:t>
            </a:r>
          </a:p>
        </p:txBody>
      </p:sp>
      <p:sp>
        <p:nvSpPr>
          <p:cNvPr id="3" name="content 2">
            <a:extLst>
              <a:ext uri="{FF2B5EF4-FFF2-40B4-BE49-F238E27FC236}">
                <a16:creationId xmlns:a16="http://schemas.microsoft.com/office/drawing/2014/main" id="{77A29EE5-2B1C-3EC4-6F36-6ECBC9D69F2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773875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 circle">
            <a:extLst>
              <a:ext uri="{FF2B5EF4-FFF2-40B4-BE49-F238E27FC236}">
                <a16:creationId xmlns:a16="http://schemas.microsoft.com/office/drawing/2014/main" id="{E35B51C2-1268-8F36-C4B9-7E08FC0E57B3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2781117" y="2131962"/>
            <a:ext cx="1260000" cy="1260000"/>
          </a:xfrm>
          <a:prstGeom prst="flowChartConnector">
            <a:avLst/>
          </a:prstGeom>
          <a:solidFill>
            <a:srgbClr val="FFFFFF"/>
          </a:solidFill>
          <a:ln w="22225"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432000" rIns="0" bIns="72000" rtlCol="0" anchor="t" anchorCtr="0">
            <a:noAutofit/>
          </a:bodyPr>
          <a:lstStyle>
            <a:lvl1pPr>
              <a:defRPr kumimoji="0" lang="en-US" sz="3200" b="1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R="0" lvl="0" algn="ctr" defTabSz="914330" fontAlgn="auto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x</a:t>
            </a:r>
          </a:p>
        </p:txBody>
      </p:sp>
      <p:sp>
        <p:nvSpPr>
          <p:cNvPr id="2" name="content 1">
            <a:extLst>
              <a:ext uri="{FF2B5EF4-FFF2-40B4-BE49-F238E27FC236}">
                <a16:creationId xmlns:a16="http://schemas.microsoft.com/office/drawing/2014/main" id="{AAB7126B-7125-3526-12AF-41ED677371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4005850"/>
            <a:ext cx="2160000" cy="216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text circle">
            <a:extLst>
              <a:ext uri="{FF2B5EF4-FFF2-40B4-BE49-F238E27FC236}">
                <a16:creationId xmlns:a16="http://schemas.microsoft.com/office/drawing/2014/main" id="{73670A57-F5B2-BA34-5084-3C22ED17AE6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0863" y="2131962"/>
            <a:ext cx="1260000" cy="1260000"/>
          </a:xfrm>
          <a:prstGeom prst="flowChartConnector">
            <a:avLst/>
          </a:prstGeom>
          <a:solidFill>
            <a:srgbClr val="FFFFFF"/>
          </a:solidFill>
          <a:ln w="22225"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432000" rIns="0" bIns="72000" rtlCol="0" anchor="t" anchorCtr="0">
            <a:noAutofit/>
          </a:bodyPr>
          <a:lstStyle>
            <a:lvl1pPr>
              <a:defRPr kumimoji="0" lang="en-US" sz="3200" b="1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R="0" lvl="0" algn="ctr" defTabSz="914330" fontAlgn="auto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x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DA9AEB7-373A-2A58-CE17-39ED790C8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navigation">
            <a:extLst>
              <a:ext uri="{FF2B5EF4-FFF2-40B4-BE49-F238E27FC236}">
                <a16:creationId xmlns:a16="http://schemas.microsoft.com/office/drawing/2014/main" id="{EED496C5-9EA2-8D08-B2D5-EF1155F63A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699834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  029 : 5 circles : 5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E9DA65-164B-6676-E7BE-8F537D3A62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867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E9DA65-164B-6676-E7BE-8F537D3A6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2547E716-1E2F-7B05-A5D1-24DF5138F7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123DC91-7626-7AF2-A09B-DCBEE2B689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79200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4B0EC5C0-E138-9864-2A63-A77E96EF66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2" name="text">
            <a:extLst>
              <a:ext uri="{FF2B5EF4-FFF2-40B4-BE49-F238E27FC236}">
                <a16:creationId xmlns:a16="http://schemas.microsoft.com/office/drawing/2014/main" id="{AFFFB742-B10B-0D15-44C8-E99A247A66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4000" y="1476000"/>
            <a:ext cx="10080000" cy="144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0" tIns="144000" rIns="0" bIns="0" rtlCol="0" anchor="t" anchorCtr="1">
            <a:noAutofit/>
          </a:bodyPr>
          <a:lstStyle>
            <a:lvl1pPr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20" name="text 5">
            <a:extLst>
              <a:ext uri="{FF2B5EF4-FFF2-40B4-BE49-F238E27FC236}">
                <a16:creationId xmlns:a16="http://schemas.microsoft.com/office/drawing/2014/main" id="{490285F5-769C-25E4-69C8-C5E988F71DD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6526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9" name="text circle 5">
            <a:extLst>
              <a:ext uri="{FF2B5EF4-FFF2-40B4-BE49-F238E27FC236}">
                <a16:creationId xmlns:a16="http://schemas.microsoft.com/office/drawing/2014/main" id="{CA3D1B8F-67FE-C968-DC81-8D84990DEA68}"/>
              </a:ext>
            </a:extLst>
          </p:cNvPr>
          <p:cNvSpPr>
            <a:spLocks noGrp="1"/>
          </p:cNvSpPr>
          <p:nvPr>
            <p:ph type="body" idx="50"/>
          </p:nvPr>
        </p:nvSpPr>
        <p:spPr>
          <a:xfrm>
            <a:off x="8411943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8" name="text 4">
            <a:extLst>
              <a:ext uri="{FF2B5EF4-FFF2-40B4-BE49-F238E27FC236}">
                <a16:creationId xmlns:a16="http://schemas.microsoft.com/office/drawing/2014/main" id="{766A6541-969C-FB7D-0491-0D3E07636CF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143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8" name="text circle 4">
            <a:extLst>
              <a:ext uri="{FF2B5EF4-FFF2-40B4-BE49-F238E27FC236}">
                <a16:creationId xmlns:a16="http://schemas.microsoft.com/office/drawing/2014/main" id="{7CEECBFC-F2D4-D868-B591-E190AF18578E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6737182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7" name="text 3">
            <a:extLst>
              <a:ext uri="{FF2B5EF4-FFF2-40B4-BE49-F238E27FC236}">
                <a16:creationId xmlns:a16="http://schemas.microsoft.com/office/drawing/2014/main" id="{4C7A74BA-677D-44AF-0C2A-FDAE4A7E81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3640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7" name="text circle 3">
            <a:extLst>
              <a:ext uri="{FF2B5EF4-FFF2-40B4-BE49-F238E27FC236}">
                <a16:creationId xmlns:a16="http://schemas.microsoft.com/office/drawing/2014/main" id="{DDB5B333-AC00-BC75-0498-87B7E32D06AA}"/>
              </a:ext>
            </a:extLst>
          </p:cNvPr>
          <p:cNvSpPr>
            <a:spLocks noGrp="1"/>
          </p:cNvSpPr>
          <p:nvPr>
            <p:ph type="body" idx="48"/>
          </p:nvPr>
        </p:nvSpPr>
        <p:spPr>
          <a:xfrm>
            <a:off x="5200088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45F2037-8D7A-7190-BD39-9CDAA24711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377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6" name="text circle 2">
            <a:extLst>
              <a:ext uri="{FF2B5EF4-FFF2-40B4-BE49-F238E27FC236}">
                <a16:creationId xmlns:a16="http://schemas.microsoft.com/office/drawing/2014/main" id="{7CBFAABC-429B-E5B8-8933-E07DCC4B26EA}"/>
              </a:ext>
            </a:extLst>
          </p:cNvPr>
          <p:cNvSpPr>
            <a:spLocks noGrp="1"/>
          </p:cNvSpPr>
          <p:nvPr>
            <p:ph type="body" idx="47"/>
          </p:nvPr>
        </p:nvSpPr>
        <p:spPr>
          <a:xfrm>
            <a:off x="3525327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927C191B-A08F-85D5-D2F2-99828DB99C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099400" y="4320000"/>
            <a:ext cx="1440000" cy="1873250"/>
          </a:xfrm>
          <a:prstGeom prst="roundRect">
            <a:avLst>
              <a:gd name="adj" fmla="val 2115"/>
            </a:avLst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text circle 1">
            <a:extLst>
              <a:ext uri="{FF2B5EF4-FFF2-40B4-BE49-F238E27FC236}">
                <a16:creationId xmlns:a16="http://schemas.microsoft.com/office/drawing/2014/main" id="{199577DA-8B05-55BA-D6BD-A9F30591F4E5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1919400" y="2419187"/>
            <a:ext cx="1800000" cy="1800000"/>
          </a:xfrm>
          <a:prstGeom prst="flowChartConnector">
            <a:avLst/>
          </a:prstGeom>
          <a:solidFill>
            <a:schemeClr val="bg1"/>
          </a:solidFill>
          <a:ln w="3175">
            <a:solidFill>
              <a:schemeClr val="accent4">
                <a:lumMod val="90000"/>
              </a:schemeClr>
            </a:solidFill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kumimoji="0" lang="en-US" sz="160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 algn="ctr"/>
            <a:r>
              <a:rPr lang="de-DE"/>
              <a:t>Mastertextformat bearbeiten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A40CDE67-43E3-2705-8865-2677F3CF4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1" name="navigation">
            <a:extLst>
              <a:ext uri="{FF2B5EF4-FFF2-40B4-BE49-F238E27FC236}">
                <a16:creationId xmlns:a16="http://schemas.microsoft.com/office/drawing/2014/main" id="{B3E5848C-38B7-C489-C91D-BB9E80947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10766425" algn="r"/>
              </a:tabLst>
              <a:defRPr lang="nl-NL" sz="800" cap="all" spc="150" baseline="0" dirty="0">
                <a:solidFill>
                  <a:schemeClr val="accent4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26905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oleObject" Target="../embeddings/oleObject1.bin"/><Relationship Id="rId5" Type="http://schemas.openxmlformats.org/officeDocument/2006/relationships/tags" Target="../tags/tag68.xml"/><Relationship Id="rId4" Type="http://schemas.openxmlformats.org/officeDocument/2006/relationships/theme" Target="../theme/theme2.xml"/><Relationship Id="rId9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111.xml"/><Relationship Id="rId47" Type="http://schemas.openxmlformats.org/officeDocument/2006/relationships/slideLayout" Target="../slideLayouts/slideLayout116.xml"/><Relationship Id="rId63" Type="http://schemas.openxmlformats.org/officeDocument/2006/relationships/slideLayout" Target="../slideLayouts/slideLayout132.xml"/><Relationship Id="rId68" Type="http://schemas.openxmlformats.org/officeDocument/2006/relationships/image" Target="../media/image2.png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slideLayout" Target="../slideLayouts/slideLayout106.xml"/><Relationship Id="rId40" Type="http://schemas.openxmlformats.org/officeDocument/2006/relationships/slideLayout" Target="../slideLayouts/slideLayout109.xml"/><Relationship Id="rId45" Type="http://schemas.openxmlformats.org/officeDocument/2006/relationships/slideLayout" Target="../slideLayouts/slideLayout114.xml"/><Relationship Id="rId53" Type="http://schemas.openxmlformats.org/officeDocument/2006/relationships/slideLayout" Target="../slideLayouts/slideLayout122.xml"/><Relationship Id="rId58" Type="http://schemas.openxmlformats.org/officeDocument/2006/relationships/slideLayout" Target="../slideLayouts/slideLayout127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74.xml"/><Relationship Id="rId61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Relationship Id="rId43" Type="http://schemas.openxmlformats.org/officeDocument/2006/relationships/slideLayout" Target="../slideLayouts/slideLayout112.xml"/><Relationship Id="rId48" Type="http://schemas.openxmlformats.org/officeDocument/2006/relationships/slideLayout" Target="../slideLayouts/slideLayout117.xml"/><Relationship Id="rId56" Type="http://schemas.openxmlformats.org/officeDocument/2006/relationships/slideLayout" Target="../slideLayouts/slideLayout125.xml"/><Relationship Id="rId64" Type="http://schemas.openxmlformats.org/officeDocument/2006/relationships/theme" Target="../theme/theme3.xml"/><Relationship Id="rId69" Type="http://schemas.openxmlformats.org/officeDocument/2006/relationships/image" Target="../media/image3.svg"/><Relationship Id="rId8" Type="http://schemas.openxmlformats.org/officeDocument/2006/relationships/slideLayout" Target="../slideLayouts/slideLayout77.xml"/><Relationship Id="rId51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slideLayout" Target="../slideLayouts/slideLayout107.xml"/><Relationship Id="rId46" Type="http://schemas.openxmlformats.org/officeDocument/2006/relationships/slideLayout" Target="../slideLayouts/slideLayout115.xml"/><Relationship Id="rId59" Type="http://schemas.openxmlformats.org/officeDocument/2006/relationships/slideLayout" Target="../slideLayouts/slideLayout128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89.xml"/><Relationship Id="rId41" Type="http://schemas.openxmlformats.org/officeDocument/2006/relationships/slideLayout" Target="../slideLayouts/slideLayout110.xml"/><Relationship Id="rId54" Type="http://schemas.openxmlformats.org/officeDocument/2006/relationships/slideLayout" Target="../slideLayouts/slideLayout123.xml"/><Relationship Id="rId6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49" Type="http://schemas.openxmlformats.org/officeDocument/2006/relationships/slideLayout" Target="../slideLayouts/slideLayout118.xml"/><Relationship Id="rId57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100.xml"/><Relationship Id="rId44" Type="http://schemas.openxmlformats.org/officeDocument/2006/relationships/slideLayout" Target="../slideLayouts/slideLayout113.xml"/><Relationship Id="rId52" Type="http://schemas.openxmlformats.org/officeDocument/2006/relationships/slideLayout" Target="../slideLayouts/slideLayout121.xml"/><Relationship Id="rId60" Type="http://schemas.openxmlformats.org/officeDocument/2006/relationships/slideLayout" Target="../slideLayouts/slideLayout129.xml"/><Relationship Id="rId65" Type="http://schemas.openxmlformats.org/officeDocument/2006/relationships/tags" Target="../tags/tag72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03.xml"/><Relationship Id="rId50" Type="http://schemas.openxmlformats.org/officeDocument/2006/relationships/slideLayout" Target="../slideLayouts/slideLayout119.xml"/><Relationship Id="rId55" Type="http://schemas.openxmlformats.org/officeDocument/2006/relationships/slideLayout" Target="../slideLayouts/slideLayout124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53.xml"/><Relationship Id="rId42" Type="http://schemas.openxmlformats.org/officeDocument/2006/relationships/slideLayout" Target="../slideLayouts/slideLayout174.xml"/><Relationship Id="rId47" Type="http://schemas.openxmlformats.org/officeDocument/2006/relationships/slideLayout" Target="../slideLayouts/slideLayout179.xml"/><Relationship Id="rId63" Type="http://schemas.openxmlformats.org/officeDocument/2006/relationships/slideLayout" Target="../slideLayouts/slideLayout195.xml"/><Relationship Id="rId68" Type="http://schemas.openxmlformats.org/officeDocument/2006/relationships/slideLayout" Target="../slideLayouts/slideLayout200.xml"/><Relationship Id="rId84" Type="http://schemas.openxmlformats.org/officeDocument/2006/relationships/slideLayout" Target="../slideLayouts/slideLayout216.xml"/><Relationship Id="rId89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43.xml"/><Relationship Id="rId32" Type="http://schemas.openxmlformats.org/officeDocument/2006/relationships/slideLayout" Target="../slideLayouts/slideLayout164.xml"/><Relationship Id="rId37" Type="http://schemas.openxmlformats.org/officeDocument/2006/relationships/slideLayout" Target="../slideLayouts/slideLayout169.xml"/><Relationship Id="rId53" Type="http://schemas.openxmlformats.org/officeDocument/2006/relationships/slideLayout" Target="../slideLayouts/slideLayout185.xml"/><Relationship Id="rId58" Type="http://schemas.openxmlformats.org/officeDocument/2006/relationships/slideLayout" Target="../slideLayouts/slideLayout190.xml"/><Relationship Id="rId74" Type="http://schemas.openxmlformats.org/officeDocument/2006/relationships/slideLayout" Target="../slideLayouts/slideLayout206.xml"/><Relationship Id="rId79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37.xml"/><Relationship Id="rId90" Type="http://schemas.openxmlformats.org/officeDocument/2006/relationships/slideLayout" Target="../slideLayouts/slideLayout222.xml"/><Relationship Id="rId95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154.xml"/><Relationship Id="rId27" Type="http://schemas.openxmlformats.org/officeDocument/2006/relationships/slideLayout" Target="../slideLayouts/slideLayout159.xml"/><Relationship Id="rId43" Type="http://schemas.openxmlformats.org/officeDocument/2006/relationships/slideLayout" Target="../slideLayouts/slideLayout175.xml"/><Relationship Id="rId48" Type="http://schemas.openxmlformats.org/officeDocument/2006/relationships/slideLayout" Target="../slideLayouts/slideLayout180.xml"/><Relationship Id="rId64" Type="http://schemas.openxmlformats.org/officeDocument/2006/relationships/slideLayout" Target="../slideLayouts/slideLayout196.xml"/><Relationship Id="rId69" Type="http://schemas.openxmlformats.org/officeDocument/2006/relationships/slideLayout" Target="../slideLayouts/slideLayout201.xml"/><Relationship Id="rId80" Type="http://schemas.openxmlformats.org/officeDocument/2006/relationships/slideLayout" Target="../slideLayouts/slideLayout212.xml"/><Relationship Id="rId85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slideLayout" Target="../slideLayouts/slideLayout157.xml"/><Relationship Id="rId33" Type="http://schemas.openxmlformats.org/officeDocument/2006/relationships/slideLayout" Target="../slideLayouts/slideLayout165.xml"/><Relationship Id="rId38" Type="http://schemas.openxmlformats.org/officeDocument/2006/relationships/slideLayout" Target="../slideLayouts/slideLayout170.xml"/><Relationship Id="rId46" Type="http://schemas.openxmlformats.org/officeDocument/2006/relationships/slideLayout" Target="../slideLayouts/slideLayout178.xml"/><Relationship Id="rId59" Type="http://schemas.openxmlformats.org/officeDocument/2006/relationships/slideLayout" Target="../slideLayouts/slideLayout191.xml"/><Relationship Id="rId67" Type="http://schemas.openxmlformats.org/officeDocument/2006/relationships/slideLayout" Target="../slideLayouts/slideLayout199.xml"/><Relationship Id="rId20" Type="http://schemas.openxmlformats.org/officeDocument/2006/relationships/slideLayout" Target="../slideLayouts/slideLayout152.xml"/><Relationship Id="rId41" Type="http://schemas.openxmlformats.org/officeDocument/2006/relationships/slideLayout" Target="../slideLayouts/slideLayout173.xml"/><Relationship Id="rId54" Type="http://schemas.openxmlformats.org/officeDocument/2006/relationships/slideLayout" Target="../slideLayouts/slideLayout186.xml"/><Relationship Id="rId62" Type="http://schemas.openxmlformats.org/officeDocument/2006/relationships/slideLayout" Target="../slideLayouts/slideLayout194.xml"/><Relationship Id="rId70" Type="http://schemas.openxmlformats.org/officeDocument/2006/relationships/slideLayout" Target="../slideLayouts/slideLayout202.xml"/><Relationship Id="rId75" Type="http://schemas.openxmlformats.org/officeDocument/2006/relationships/slideLayout" Target="../slideLayouts/slideLayout207.xml"/><Relationship Id="rId83" Type="http://schemas.openxmlformats.org/officeDocument/2006/relationships/slideLayout" Target="../slideLayouts/slideLayout215.xml"/><Relationship Id="rId88" Type="http://schemas.openxmlformats.org/officeDocument/2006/relationships/slideLayout" Target="../slideLayouts/slideLayout220.xml"/><Relationship Id="rId91" Type="http://schemas.openxmlformats.org/officeDocument/2006/relationships/slideLayout" Target="../slideLayouts/slideLayout223.xml"/><Relationship Id="rId96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28" Type="http://schemas.openxmlformats.org/officeDocument/2006/relationships/slideLayout" Target="../slideLayouts/slideLayout160.xml"/><Relationship Id="rId36" Type="http://schemas.openxmlformats.org/officeDocument/2006/relationships/slideLayout" Target="../slideLayouts/slideLayout168.xml"/><Relationship Id="rId49" Type="http://schemas.openxmlformats.org/officeDocument/2006/relationships/slideLayout" Target="../slideLayouts/slideLayout181.xml"/><Relationship Id="rId57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42.xml"/><Relationship Id="rId31" Type="http://schemas.openxmlformats.org/officeDocument/2006/relationships/slideLayout" Target="../slideLayouts/slideLayout163.xml"/><Relationship Id="rId44" Type="http://schemas.openxmlformats.org/officeDocument/2006/relationships/slideLayout" Target="../slideLayouts/slideLayout176.xml"/><Relationship Id="rId52" Type="http://schemas.openxmlformats.org/officeDocument/2006/relationships/slideLayout" Target="../slideLayouts/slideLayout184.xml"/><Relationship Id="rId60" Type="http://schemas.openxmlformats.org/officeDocument/2006/relationships/slideLayout" Target="../slideLayouts/slideLayout192.xml"/><Relationship Id="rId65" Type="http://schemas.openxmlformats.org/officeDocument/2006/relationships/slideLayout" Target="../slideLayouts/slideLayout197.xml"/><Relationship Id="rId73" Type="http://schemas.openxmlformats.org/officeDocument/2006/relationships/slideLayout" Target="../slideLayouts/slideLayout205.xml"/><Relationship Id="rId78" Type="http://schemas.openxmlformats.org/officeDocument/2006/relationships/slideLayout" Target="../slideLayouts/slideLayout210.xml"/><Relationship Id="rId81" Type="http://schemas.openxmlformats.org/officeDocument/2006/relationships/slideLayout" Target="../slideLayouts/slideLayout213.xml"/><Relationship Id="rId86" Type="http://schemas.openxmlformats.org/officeDocument/2006/relationships/slideLayout" Target="../slideLayouts/slideLayout218.xml"/><Relationship Id="rId94" Type="http://schemas.openxmlformats.org/officeDocument/2006/relationships/slideLayout" Target="../slideLayouts/slideLayout226.xml"/><Relationship Id="rId99" Type="http://schemas.openxmlformats.org/officeDocument/2006/relationships/theme" Target="../theme/theme4.xml"/><Relationship Id="rId101" Type="http://schemas.openxmlformats.org/officeDocument/2006/relationships/image" Target="../media/image3.svg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9" Type="http://schemas.openxmlformats.org/officeDocument/2006/relationships/slideLayout" Target="../slideLayouts/slideLayout171.xml"/><Relationship Id="rId34" Type="http://schemas.openxmlformats.org/officeDocument/2006/relationships/slideLayout" Target="../slideLayouts/slideLayout166.xml"/><Relationship Id="rId50" Type="http://schemas.openxmlformats.org/officeDocument/2006/relationships/slideLayout" Target="../slideLayouts/slideLayout182.xml"/><Relationship Id="rId55" Type="http://schemas.openxmlformats.org/officeDocument/2006/relationships/slideLayout" Target="../slideLayouts/slideLayout187.xml"/><Relationship Id="rId76" Type="http://schemas.openxmlformats.org/officeDocument/2006/relationships/slideLayout" Target="../slideLayouts/slideLayout208.xml"/><Relationship Id="rId97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139.xml"/><Relationship Id="rId71" Type="http://schemas.openxmlformats.org/officeDocument/2006/relationships/slideLayout" Target="../slideLayouts/slideLayout203.xml"/><Relationship Id="rId92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134.xml"/><Relationship Id="rId29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56.xml"/><Relationship Id="rId40" Type="http://schemas.openxmlformats.org/officeDocument/2006/relationships/slideLayout" Target="../slideLayouts/slideLayout172.xml"/><Relationship Id="rId45" Type="http://schemas.openxmlformats.org/officeDocument/2006/relationships/slideLayout" Target="../slideLayouts/slideLayout177.xml"/><Relationship Id="rId66" Type="http://schemas.openxmlformats.org/officeDocument/2006/relationships/slideLayout" Target="../slideLayouts/slideLayout198.xml"/><Relationship Id="rId87" Type="http://schemas.openxmlformats.org/officeDocument/2006/relationships/slideLayout" Target="../slideLayouts/slideLayout219.xml"/><Relationship Id="rId61" Type="http://schemas.openxmlformats.org/officeDocument/2006/relationships/slideLayout" Target="../slideLayouts/slideLayout193.xml"/><Relationship Id="rId82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46.xml"/><Relationship Id="rId30" Type="http://schemas.openxmlformats.org/officeDocument/2006/relationships/slideLayout" Target="../slideLayouts/slideLayout162.xml"/><Relationship Id="rId35" Type="http://schemas.openxmlformats.org/officeDocument/2006/relationships/slideLayout" Target="../slideLayouts/slideLayout167.xml"/><Relationship Id="rId56" Type="http://schemas.openxmlformats.org/officeDocument/2006/relationships/slideLayout" Target="../slideLayouts/slideLayout188.xml"/><Relationship Id="rId77" Type="http://schemas.openxmlformats.org/officeDocument/2006/relationships/slideLayout" Target="../slideLayouts/slideLayout209.xml"/><Relationship Id="rId100" Type="http://schemas.openxmlformats.org/officeDocument/2006/relationships/image" Target="../media/image2.png"/><Relationship Id="rId8" Type="http://schemas.openxmlformats.org/officeDocument/2006/relationships/slideLayout" Target="../slideLayouts/slideLayout140.xml"/><Relationship Id="rId51" Type="http://schemas.openxmlformats.org/officeDocument/2006/relationships/slideLayout" Target="../slideLayouts/slideLayout183.xml"/><Relationship Id="rId72" Type="http://schemas.openxmlformats.org/officeDocument/2006/relationships/slideLayout" Target="../slideLayouts/slideLayout204.xml"/><Relationship Id="rId93" Type="http://schemas.openxmlformats.org/officeDocument/2006/relationships/slideLayout" Target="../slideLayouts/slideLayout225.xml"/><Relationship Id="rId98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13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3.xml"/><Relationship Id="rId18" Type="http://schemas.openxmlformats.org/officeDocument/2006/relationships/slideLayout" Target="../slideLayouts/slideLayout248.xml"/><Relationship Id="rId26" Type="http://schemas.openxmlformats.org/officeDocument/2006/relationships/slideLayout" Target="../slideLayouts/slideLayout256.xml"/><Relationship Id="rId39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51.xml"/><Relationship Id="rId34" Type="http://schemas.openxmlformats.org/officeDocument/2006/relationships/slideLayout" Target="../slideLayouts/slideLayout264.xml"/><Relationship Id="rId42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37.xml"/><Relationship Id="rId2" Type="http://schemas.openxmlformats.org/officeDocument/2006/relationships/slideLayout" Target="../slideLayouts/slideLayout232.xml"/><Relationship Id="rId16" Type="http://schemas.openxmlformats.org/officeDocument/2006/relationships/slideLayout" Target="../slideLayouts/slideLayout246.xml"/><Relationship Id="rId20" Type="http://schemas.openxmlformats.org/officeDocument/2006/relationships/slideLayout" Target="../slideLayouts/slideLayout250.xml"/><Relationship Id="rId29" Type="http://schemas.openxmlformats.org/officeDocument/2006/relationships/slideLayout" Target="../slideLayouts/slideLayout259.xml"/><Relationship Id="rId41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slideLayout" Target="../slideLayouts/slideLayout241.xml"/><Relationship Id="rId24" Type="http://schemas.openxmlformats.org/officeDocument/2006/relationships/slideLayout" Target="../slideLayouts/slideLayout254.xml"/><Relationship Id="rId32" Type="http://schemas.openxmlformats.org/officeDocument/2006/relationships/slideLayout" Target="../slideLayouts/slideLayout262.xml"/><Relationship Id="rId37" Type="http://schemas.openxmlformats.org/officeDocument/2006/relationships/slideLayout" Target="../slideLayouts/slideLayout267.xml"/><Relationship Id="rId40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35.xml"/><Relationship Id="rId15" Type="http://schemas.openxmlformats.org/officeDocument/2006/relationships/slideLayout" Target="../slideLayouts/slideLayout245.xml"/><Relationship Id="rId23" Type="http://schemas.openxmlformats.org/officeDocument/2006/relationships/slideLayout" Target="../slideLayouts/slideLayout253.xml"/><Relationship Id="rId28" Type="http://schemas.openxmlformats.org/officeDocument/2006/relationships/slideLayout" Target="../slideLayouts/slideLayout258.xml"/><Relationship Id="rId36" Type="http://schemas.openxmlformats.org/officeDocument/2006/relationships/slideLayout" Target="../slideLayouts/slideLayout266.xml"/><Relationship Id="rId10" Type="http://schemas.openxmlformats.org/officeDocument/2006/relationships/slideLayout" Target="../slideLayouts/slideLayout240.xml"/><Relationship Id="rId19" Type="http://schemas.openxmlformats.org/officeDocument/2006/relationships/slideLayout" Target="../slideLayouts/slideLayout249.xml"/><Relationship Id="rId31" Type="http://schemas.openxmlformats.org/officeDocument/2006/relationships/slideLayout" Target="../slideLayouts/slideLayout261.xml"/><Relationship Id="rId44" Type="http://schemas.openxmlformats.org/officeDocument/2006/relationships/image" Target="../media/image9.png"/><Relationship Id="rId4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44.xml"/><Relationship Id="rId22" Type="http://schemas.openxmlformats.org/officeDocument/2006/relationships/slideLayout" Target="../slideLayouts/slideLayout252.xml"/><Relationship Id="rId27" Type="http://schemas.openxmlformats.org/officeDocument/2006/relationships/slideLayout" Target="../slideLayouts/slideLayout257.xml"/><Relationship Id="rId30" Type="http://schemas.openxmlformats.org/officeDocument/2006/relationships/slideLayout" Target="../slideLayouts/slideLayout260.xml"/><Relationship Id="rId35" Type="http://schemas.openxmlformats.org/officeDocument/2006/relationships/slideLayout" Target="../slideLayouts/slideLayout265.xml"/><Relationship Id="rId43" Type="http://schemas.openxmlformats.org/officeDocument/2006/relationships/theme" Target="../theme/theme5.xml"/><Relationship Id="rId8" Type="http://schemas.openxmlformats.org/officeDocument/2006/relationships/slideLayout" Target="../slideLayouts/slideLayout238.xml"/><Relationship Id="rId3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42.xml"/><Relationship Id="rId17" Type="http://schemas.openxmlformats.org/officeDocument/2006/relationships/slideLayout" Target="../slideLayouts/slideLayout247.xml"/><Relationship Id="rId25" Type="http://schemas.openxmlformats.org/officeDocument/2006/relationships/slideLayout" Target="../slideLayouts/slideLayout255.xml"/><Relationship Id="rId33" Type="http://schemas.openxmlformats.org/officeDocument/2006/relationships/slideLayout" Target="../slideLayouts/slideLayout263.xml"/><Relationship Id="rId38" Type="http://schemas.openxmlformats.org/officeDocument/2006/relationships/slideLayout" Target="../slideLayouts/slideLayout2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C0AA4E-CFE3-7583-F6BA-1466B1EEB282}"/>
              </a:ext>
            </a:extLst>
          </p:cNvPr>
          <p:cNvGraphicFramePr>
            <a:graphicFrameLocks noChangeAspect="1"/>
          </p:cNvGraphicFramePr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408115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360" imgH="360" progId="TCLayout.ActiveDocument.1">
                  <p:embed/>
                </p:oleObj>
              </mc:Choice>
              <mc:Fallback>
                <p:oleObj name="think-cell Slide" r:id="rId69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C0AA4E-CFE3-7583-F6BA-1466B1EEB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>
            <a:extLst>
              <a:ext uri="{FF2B5EF4-FFF2-40B4-BE49-F238E27FC236}">
                <a16:creationId xmlns:a16="http://schemas.microsoft.com/office/drawing/2014/main" id="{1A73C806-0471-0C57-7626-9F1DB61EE0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8577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93B2B64-2362-45C8-9E78-5ECAAAF34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85775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2CC0954C-56F0-4481-AEFC-476FD5516A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85775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061B9A90-182E-49A3-8BF5-04F322881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19B37A3-82F2-45D5-868F-F00F93F6E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nl-NL" noProof="0"/>
          </a:p>
        </p:txBody>
      </p:sp>
      <p:pic>
        <p:nvPicPr>
          <p:cNvPr id="6" name="valantic logo">
            <a:extLst>
              <a:ext uri="{FF2B5EF4-FFF2-40B4-BE49-F238E27FC236}">
                <a16:creationId xmlns:a16="http://schemas.microsoft.com/office/drawing/2014/main" id="{DF3AD36A-3B2E-689C-EDF4-3DB24CF96DB1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415887" y="6218848"/>
            <a:ext cx="1169231" cy="45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684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1" r:id="rId1"/>
    <p:sldLayoutId id="2147484902" r:id="rId2"/>
    <p:sldLayoutId id="2147484903" r:id="rId3"/>
    <p:sldLayoutId id="2147484904" r:id="rId4"/>
    <p:sldLayoutId id="2147484905" r:id="rId5"/>
    <p:sldLayoutId id="2147484906" r:id="rId6"/>
    <p:sldLayoutId id="2147484907" r:id="rId7"/>
    <p:sldLayoutId id="2147484908" r:id="rId8"/>
    <p:sldLayoutId id="2147484909" r:id="rId9"/>
    <p:sldLayoutId id="2147484910" r:id="rId10"/>
    <p:sldLayoutId id="2147484911" r:id="rId11"/>
    <p:sldLayoutId id="2147484912" r:id="rId12"/>
    <p:sldLayoutId id="2147484913" r:id="rId13"/>
    <p:sldLayoutId id="2147484914" r:id="rId14"/>
    <p:sldLayoutId id="2147484915" r:id="rId15"/>
    <p:sldLayoutId id="2147484916" r:id="rId16"/>
    <p:sldLayoutId id="2147484917" r:id="rId17"/>
    <p:sldLayoutId id="2147484918" r:id="rId18"/>
    <p:sldLayoutId id="2147484919" r:id="rId19"/>
    <p:sldLayoutId id="2147484920" r:id="rId20"/>
    <p:sldLayoutId id="2147484921" r:id="rId21"/>
    <p:sldLayoutId id="2147484922" r:id="rId22"/>
    <p:sldLayoutId id="2147484923" r:id="rId23"/>
    <p:sldLayoutId id="2147484924" r:id="rId24"/>
    <p:sldLayoutId id="2147484925" r:id="rId25"/>
    <p:sldLayoutId id="2147484926" r:id="rId26"/>
    <p:sldLayoutId id="2147484927" r:id="rId27"/>
    <p:sldLayoutId id="2147484928" r:id="rId28"/>
    <p:sldLayoutId id="2147484929" r:id="rId29"/>
    <p:sldLayoutId id="2147484930" r:id="rId30"/>
    <p:sldLayoutId id="2147484931" r:id="rId31"/>
    <p:sldLayoutId id="2147484932" r:id="rId32"/>
    <p:sldLayoutId id="2147484933" r:id="rId33"/>
    <p:sldLayoutId id="2147484934" r:id="rId34"/>
    <p:sldLayoutId id="2147484935" r:id="rId35"/>
    <p:sldLayoutId id="2147484936" r:id="rId36"/>
    <p:sldLayoutId id="2147484937" r:id="rId37"/>
    <p:sldLayoutId id="2147484938" r:id="rId38"/>
    <p:sldLayoutId id="2147484939" r:id="rId39"/>
    <p:sldLayoutId id="2147484940" r:id="rId40"/>
    <p:sldLayoutId id="2147484941" r:id="rId41"/>
    <p:sldLayoutId id="2147484942" r:id="rId42"/>
    <p:sldLayoutId id="2147484943" r:id="rId43"/>
    <p:sldLayoutId id="2147484944" r:id="rId44"/>
    <p:sldLayoutId id="2147484945" r:id="rId45"/>
    <p:sldLayoutId id="2147484946" r:id="rId46"/>
    <p:sldLayoutId id="2147484947" r:id="rId47"/>
    <p:sldLayoutId id="2147484948" r:id="rId48"/>
    <p:sldLayoutId id="2147484949" r:id="rId49"/>
    <p:sldLayoutId id="2147484950" r:id="rId50"/>
    <p:sldLayoutId id="2147484951" r:id="rId51"/>
    <p:sldLayoutId id="2147484952" r:id="rId52"/>
    <p:sldLayoutId id="2147484953" r:id="rId53"/>
    <p:sldLayoutId id="2147484954" r:id="rId54"/>
    <p:sldLayoutId id="2147484955" r:id="rId55"/>
    <p:sldLayoutId id="2147484956" r:id="rId56"/>
    <p:sldLayoutId id="2147484957" r:id="rId57"/>
    <p:sldLayoutId id="2147484958" r:id="rId58"/>
    <p:sldLayoutId id="2147484959" r:id="rId59"/>
    <p:sldLayoutId id="2147484960" r:id="rId60"/>
    <p:sldLayoutId id="2147484961" r:id="rId61"/>
    <p:sldLayoutId id="2147484962" r:id="rId62"/>
    <p:sldLayoutId id="2147484963" r:id="rId63"/>
    <p:sldLayoutId id="2147484968" r:id="rId64"/>
    <p:sldLayoutId id="2147484969" r:id="rId65"/>
    <p:sldLayoutId id="2147484970" r:id="rId66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tabLst>
          <a:tab pos="10760075" algn="r"/>
        </a:tabLst>
        <a:defRPr sz="2400" b="0" kern="1200" spc="0" baseline="0">
          <a:solidFill>
            <a:schemeClr val="tx1"/>
          </a:solidFill>
          <a:latin typeface="+mj-lt"/>
          <a:ea typeface="Segoe UI Black" panose="020B0A02040204020203" pitchFamily="34" charset="0"/>
          <a:cs typeface="Segoe UI Light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2"/>
        </a:buClr>
        <a:buSzPct val="100000"/>
        <a:buFont typeface="Verdana" panose="020B0604030504040204" pitchFamily="34" charset="0"/>
        <a:buNone/>
        <a:tabLst>
          <a:tab pos="182563" algn="l"/>
        </a:tabLst>
        <a:defRPr lang="en-US" sz="1400" b="0" kern="1200" baseline="0" noProof="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•"/>
        <a:tabLst>
          <a:tab pos="182563" algn="l"/>
        </a:tabLst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‒"/>
        <a:tabLst>
          <a:tab pos="182563" algn="l"/>
        </a:tabLst>
        <a:defRPr lang="en-US" sz="1400" b="0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−"/>
        <a:tabLst>
          <a:tab pos="182563" algn="l"/>
        </a:tabLst>
        <a:defRPr lang="en-US" sz="1400" b="0" kern="1200" cap="none" spc="10" baseline="0" noProof="0" dirty="0" smtClean="0">
          <a:solidFill>
            <a:schemeClr val="tx1"/>
          </a:solidFill>
          <a:latin typeface="+mn-lt"/>
          <a:ea typeface="+mn-ea"/>
          <a:cs typeface="Segoe UI Light" panose="020B0502040204020203" pitchFamily="34" charset="0"/>
        </a:defRPr>
      </a:lvl4pPr>
      <a:lvl5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tabLst>
          <a:tab pos="182563" algn="l"/>
        </a:tabLst>
        <a:defRPr lang="nl-NL" sz="1400" b="0" kern="1200" spc="40" baseline="0" noProof="0" dirty="0"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atin typeface="+mj-lt"/>
          <a:ea typeface="+mn-ea"/>
          <a:cs typeface="+mn-cs"/>
        </a:defRPr>
      </a:lvl5pPr>
      <a:lvl6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rabicPeriod"/>
        <a:tabLst>
          <a:tab pos="182563" algn="l"/>
        </a:tabLst>
        <a:defRPr lang="en-US" sz="1400" b="0" kern="1200" cap="none" spc="40" baseline="0" noProof="0" dirty="0">
          <a:solidFill>
            <a:schemeClr val="tx1"/>
          </a:solidFill>
          <a:latin typeface="+mn-lt"/>
          <a:ea typeface="Segoe UI Black" panose="020B0A02040204020203" pitchFamily="34" charset="0"/>
          <a:cs typeface="Segoe UI Light" panose="020B0502040204020203" pitchFamily="34" charset="0"/>
        </a:defRPr>
      </a:lvl6pPr>
      <a:lvl7pPr marL="432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lphaLcPeriod"/>
        <a:tabLst>
          <a:tab pos="182563" algn="l"/>
        </a:tabLst>
        <a:defRPr lang="nl-NL" sz="1400" kern="1200" noProof="0" dirty="0">
          <a:solidFill>
            <a:schemeClr val="tx2"/>
          </a:solidFill>
          <a:latin typeface="+mn-lt"/>
          <a:ea typeface="+mn-ea"/>
          <a:cs typeface="+mn-cs"/>
        </a:defRPr>
      </a:lvl7pPr>
      <a:lvl8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tx2"/>
        </a:buClr>
        <a:buFont typeface="Wingdings 3" panose="05040102010807070707" pitchFamily="18" charset="2"/>
        <a:buChar char="g"/>
        <a:tabLst>
          <a:tab pos="182563" algn="l"/>
        </a:tabLst>
        <a:defRPr lang="nl-NL" sz="140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300"/>
        </a:spcAft>
        <a:buClr>
          <a:schemeClr val="accent4"/>
        </a:buClr>
        <a:buFontTx/>
        <a:buNone/>
        <a:tabLst>
          <a:tab pos="182563" algn="l"/>
        </a:tabLst>
        <a:defRPr lang="nl-NL" sz="1400" i="0" kern="1200" cap="all" spc="100" baseline="0" noProof="0" dirty="0" smtClean="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2" pos="347">
          <p15:clr>
            <a:srgbClr val="F26B43"/>
          </p15:clr>
        </p15:guide>
        <p15:guide id="33" orient="horz" pos="391">
          <p15:clr>
            <a:srgbClr val="5ACBF0"/>
          </p15:clr>
        </p15:guide>
        <p15:guide id="35" orient="horz" pos="935">
          <p15:clr>
            <a:srgbClr val="F26B43"/>
          </p15:clr>
        </p15:guide>
        <p15:guide id="36" pos="7333">
          <p15:clr>
            <a:srgbClr val="F26B43"/>
          </p15:clr>
        </p15:guide>
        <p15:guide id="37" orient="horz" pos="3884">
          <p15:clr>
            <a:srgbClr val="F26B43"/>
          </p15:clr>
        </p15:guide>
        <p15:guide id="38" orient="horz" pos="2954">
          <p15:clr>
            <a:srgbClr val="F26B43"/>
          </p15:clr>
        </p15:guide>
        <p15:guide id="39" orient="horz" pos="12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C0AA4E-CFE3-7583-F6BA-1466B1EEB28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C0AA4E-CFE3-7583-F6BA-1466B1EEB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>
            <a:extLst>
              <a:ext uri="{FF2B5EF4-FFF2-40B4-BE49-F238E27FC236}">
                <a16:creationId xmlns:a16="http://schemas.microsoft.com/office/drawing/2014/main" id="{1A73C806-0471-0C57-7626-9F1DB61EE0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8577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93B2B64-2362-45C8-9E78-5ECAAAF34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85775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2CC0954C-56F0-4481-AEFC-476FD5516A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85775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3</a:t>
            </a:r>
            <a:endParaRPr lang="nl-NL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061B9A90-182E-49A3-8BF5-04F322881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19B37A3-82F2-45D5-868F-F00F93F6E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nl-NL" noProof="0"/>
          </a:p>
        </p:txBody>
      </p:sp>
      <p:pic>
        <p:nvPicPr>
          <p:cNvPr id="6" name="valantic logo">
            <a:extLst>
              <a:ext uri="{FF2B5EF4-FFF2-40B4-BE49-F238E27FC236}">
                <a16:creationId xmlns:a16="http://schemas.microsoft.com/office/drawing/2014/main" id="{DF3AD36A-3B2E-689C-EDF4-3DB24CF96D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887" y="6218848"/>
            <a:ext cx="1169231" cy="45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684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7" r:id="rId1"/>
    <p:sldLayoutId id="2147484966" r:id="rId2"/>
    <p:sldLayoutId id="2147484965" r:id="rId3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tabLst>
          <a:tab pos="10760075" algn="r"/>
        </a:tabLst>
        <a:defRPr sz="2400" b="0" kern="1200" spc="0" baseline="0">
          <a:solidFill>
            <a:schemeClr val="tx1"/>
          </a:solidFill>
          <a:latin typeface="+mj-lt"/>
          <a:ea typeface="Segoe UI Black" panose="020B0A02040204020203" pitchFamily="34" charset="0"/>
          <a:cs typeface="Segoe UI Light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2"/>
        </a:buClr>
        <a:buSzPct val="100000"/>
        <a:buFont typeface="Verdana" panose="020B0604030504040204" pitchFamily="34" charset="0"/>
        <a:buNone/>
        <a:tabLst>
          <a:tab pos="182563" algn="l"/>
        </a:tabLst>
        <a:defRPr lang="en-US" sz="1400" b="0" kern="1200" baseline="0" noProof="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•"/>
        <a:tabLst>
          <a:tab pos="182563" algn="l"/>
        </a:tabLst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‒"/>
        <a:tabLst>
          <a:tab pos="182563" algn="l"/>
        </a:tabLst>
        <a:defRPr lang="en-US" sz="1400" b="0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−"/>
        <a:tabLst>
          <a:tab pos="182563" algn="l"/>
        </a:tabLst>
        <a:defRPr lang="en-US" sz="1400" b="0" kern="1200" cap="none" spc="10" baseline="0" noProof="0" dirty="0" smtClean="0">
          <a:solidFill>
            <a:schemeClr val="tx1"/>
          </a:solidFill>
          <a:latin typeface="+mn-lt"/>
          <a:ea typeface="+mn-ea"/>
          <a:cs typeface="Segoe UI Light" panose="020B0502040204020203" pitchFamily="34" charset="0"/>
        </a:defRPr>
      </a:lvl4pPr>
      <a:lvl5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tabLst>
          <a:tab pos="182563" algn="l"/>
        </a:tabLst>
        <a:defRPr lang="nl-NL" sz="1400" b="0" kern="1200" spc="40" baseline="0" noProof="0" dirty="0"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atin typeface="+mj-lt"/>
          <a:ea typeface="+mn-ea"/>
          <a:cs typeface="+mn-cs"/>
        </a:defRPr>
      </a:lvl5pPr>
      <a:lvl6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rabicPeriod"/>
        <a:tabLst>
          <a:tab pos="182563" algn="l"/>
        </a:tabLst>
        <a:defRPr lang="en-US" sz="1400" b="0" kern="1200" cap="none" spc="40" baseline="0" noProof="0" dirty="0">
          <a:solidFill>
            <a:schemeClr val="tx1"/>
          </a:solidFill>
          <a:latin typeface="+mn-lt"/>
          <a:ea typeface="Segoe UI Black" panose="020B0A02040204020203" pitchFamily="34" charset="0"/>
          <a:cs typeface="Segoe UI Light" panose="020B0502040204020203" pitchFamily="34" charset="0"/>
        </a:defRPr>
      </a:lvl6pPr>
      <a:lvl7pPr marL="432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lphaLcPeriod"/>
        <a:tabLst>
          <a:tab pos="182563" algn="l"/>
        </a:tabLst>
        <a:defRPr lang="nl-NL" sz="1400" kern="1200" noProof="0" dirty="0">
          <a:solidFill>
            <a:schemeClr val="tx2"/>
          </a:solidFill>
          <a:latin typeface="+mn-lt"/>
          <a:ea typeface="+mn-ea"/>
          <a:cs typeface="+mn-cs"/>
        </a:defRPr>
      </a:lvl7pPr>
      <a:lvl8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tx2"/>
        </a:buClr>
        <a:buFont typeface="Wingdings 3" panose="05040102010807070707" pitchFamily="18" charset="2"/>
        <a:buChar char="g"/>
        <a:tabLst>
          <a:tab pos="182563" algn="l"/>
        </a:tabLst>
        <a:defRPr lang="nl-NL" sz="140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300"/>
        </a:spcAft>
        <a:buClr>
          <a:schemeClr val="accent4"/>
        </a:buClr>
        <a:buFontTx/>
        <a:buNone/>
        <a:tabLst>
          <a:tab pos="182563" algn="l"/>
        </a:tabLst>
        <a:defRPr lang="nl-NL" sz="1400" i="0" kern="1200" cap="all" spc="100" baseline="0" noProof="0" dirty="0" smtClean="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2" pos="347">
          <p15:clr>
            <a:srgbClr val="F26B43"/>
          </p15:clr>
        </p15:guide>
        <p15:guide id="33" orient="horz" pos="391">
          <p15:clr>
            <a:srgbClr val="5ACBF0"/>
          </p15:clr>
        </p15:guide>
        <p15:guide id="35" orient="horz" pos="935">
          <p15:clr>
            <a:srgbClr val="F26B43"/>
          </p15:clr>
        </p15:guide>
        <p15:guide id="36" pos="7333">
          <p15:clr>
            <a:srgbClr val="F26B43"/>
          </p15:clr>
        </p15:guide>
        <p15:guide id="37" orient="horz" pos="3884">
          <p15:clr>
            <a:srgbClr val="F26B43"/>
          </p15:clr>
        </p15:guide>
        <p15:guide id="38" orient="horz" pos="2954">
          <p15:clr>
            <a:srgbClr val="F26B43"/>
          </p15:clr>
        </p15:guide>
        <p15:guide id="39" orient="horz" pos="125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C0AA4E-CFE3-7583-F6BA-1466B1EEB282}"/>
              </a:ext>
            </a:extLst>
          </p:cNvPr>
          <p:cNvGraphicFramePr>
            <a:graphicFrameLocks noChangeAspect="1"/>
          </p:cNvGraphicFramePr>
          <p:nvPr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4081159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360" imgH="360" progId="TCLayout.ActiveDocument.1">
                  <p:embed/>
                </p:oleObj>
              </mc:Choice>
              <mc:Fallback>
                <p:oleObj name="think-cell Slide" r:id="rId66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C0AA4E-CFE3-7583-F6BA-1466B1EEB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>
            <a:extLst>
              <a:ext uri="{FF2B5EF4-FFF2-40B4-BE49-F238E27FC236}">
                <a16:creationId xmlns:a16="http://schemas.microsoft.com/office/drawing/2014/main" id="{1A73C806-0471-0C57-7626-9F1DB61EE0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8577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93B2B64-2362-45C8-9E78-5ECAAAF34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85775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valantic layout samples Route B</a:t>
            </a:r>
            <a:endParaRPr lang="nl-NL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2CC0954C-56F0-4481-AEFC-476FD5516A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85775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de-DE"/>
              <a:t>23-09-14</a:t>
            </a:r>
            <a:endParaRPr lang="nl-NL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061B9A90-182E-49A3-8BF5-04F322881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19B37A3-82F2-45D5-868F-F00F93F6E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nl-NL" noProof="0"/>
          </a:p>
        </p:txBody>
      </p:sp>
      <p:pic>
        <p:nvPicPr>
          <p:cNvPr id="6" name="valantic logo">
            <a:extLst>
              <a:ext uri="{FF2B5EF4-FFF2-40B4-BE49-F238E27FC236}">
                <a16:creationId xmlns:a16="http://schemas.microsoft.com/office/drawing/2014/main" id="{DF3AD36A-3B2E-689C-EDF4-3DB24CF96DB1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415887" y="6218848"/>
            <a:ext cx="1169231" cy="45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9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3" r:id="rId1"/>
    <p:sldLayoutId id="2147484974" r:id="rId2"/>
    <p:sldLayoutId id="2147484975" r:id="rId3"/>
    <p:sldLayoutId id="2147484976" r:id="rId4"/>
    <p:sldLayoutId id="2147484977" r:id="rId5"/>
    <p:sldLayoutId id="2147484978" r:id="rId6"/>
    <p:sldLayoutId id="2147484979" r:id="rId7"/>
    <p:sldLayoutId id="2147484980" r:id="rId8"/>
    <p:sldLayoutId id="2147484981" r:id="rId9"/>
    <p:sldLayoutId id="2147484982" r:id="rId10"/>
    <p:sldLayoutId id="2147484983" r:id="rId11"/>
    <p:sldLayoutId id="2147484984" r:id="rId12"/>
    <p:sldLayoutId id="2147484985" r:id="rId13"/>
    <p:sldLayoutId id="2147484986" r:id="rId14"/>
    <p:sldLayoutId id="2147484987" r:id="rId15"/>
    <p:sldLayoutId id="2147484988" r:id="rId16"/>
    <p:sldLayoutId id="2147484989" r:id="rId17"/>
    <p:sldLayoutId id="2147484990" r:id="rId18"/>
    <p:sldLayoutId id="2147484991" r:id="rId19"/>
    <p:sldLayoutId id="2147484992" r:id="rId20"/>
    <p:sldLayoutId id="2147484993" r:id="rId21"/>
    <p:sldLayoutId id="2147484994" r:id="rId22"/>
    <p:sldLayoutId id="2147484995" r:id="rId23"/>
    <p:sldLayoutId id="2147484996" r:id="rId24"/>
    <p:sldLayoutId id="2147484997" r:id="rId25"/>
    <p:sldLayoutId id="2147484998" r:id="rId26"/>
    <p:sldLayoutId id="2147484999" r:id="rId27"/>
    <p:sldLayoutId id="2147485000" r:id="rId28"/>
    <p:sldLayoutId id="2147485001" r:id="rId29"/>
    <p:sldLayoutId id="2147485002" r:id="rId30"/>
    <p:sldLayoutId id="2147485003" r:id="rId31"/>
    <p:sldLayoutId id="2147485004" r:id="rId32"/>
    <p:sldLayoutId id="2147485005" r:id="rId33"/>
    <p:sldLayoutId id="2147485006" r:id="rId34"/>
    <p:sldLayoutId id="2147485007" r:id="rId35"/>
    <p:sldLayoutId id="2147485008" r:id="rId36"/>
    <p:sldLayoutId id="2147485009" r:id="rId37"/>
    <p:sldLayoutId id="2147485010" r:id="rId38"/>
    <p:sldLayoutId id="2147485011" r:id="rId39"/>
    <p:sldLayoutId id="2147485012" r:id="rId40"/>
    <p:sldLayoutId id="2147485013" r:id="rId41"/>
    <p:sldLayoutId id="2147485014" r:id="rId42"/>
    <p:sldLayoutId id="2147485015" r:id="rId43"/>
    <p:sldLayoutId id="2147485016" r:id="rId44"/>
    <p:sldLayoutId id="2147485017" r:id="rId45"/>
    <p:sldLayoutId id="2147485018" r:id="rId46"/>
    <p:sldLayoutId id="2147485019" r:id="rId47"/>
    <p:sldLayoutId id="2147485020" r:id="rId48"/>
    <p:sldLayoutId id="2147485021" r:id="rId49"/>
    <p:sldLayoutId id="2147485022" r:id="rId50"/>
    <p:sldLayoutId id="2147485023" r:id="rId51"/>
    <p:sldLayoutId id="2147485024" r:id="rId52"/>
    <p:sldLayoutId id="2147485025" r:id="rId53"/>
    <p:sldLayoutId id="2147485026" r:id="rId54"/>
    <p:sldLayoutId id="2147485027" r:id="rId55"/>
    <p:sldLayoutId id="2147485028" r:id="rId56"/>
    <p:sldLayoutId id="2147485029" r:id="rId57"/>
    <p:sldLayoutId id="2147485030" r:id="rId58"/>
    <p:sldLayoutId id="2147485031" r:id="rId59"/>
    <p:sldLayoutId id="2147485032" r:id="rId60"/>
    <p:sldLayoutId id="2147485033" r:id="rId61"/>
    <p:sldLayoutId id="2147485034" r:id="rId62"/>
    <p:sldLayoutId id="2147485035" r:id="rId63"/>
  </p:sldLayoutIdLst>
  <p:hf sldNum="0" hdr="0" ftr="0" dt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tabLst>
          <a:tab pos="10760075" algn="r"/>
        </a:tabLst>
        <a:defRPr sz="2400" b="0" kern="1200" spc="0" baseline="0">
          <a:solidFill>
            <a:schemeClr val="tx1"/>
          </a:solidFill>
          <a:latin typeface="+mj-lt"/>
          <a:ea typeface="Segoe UI Black" panose="020B0A02040204020203" pitchFamily="34" charset="0"/>
          <a:cs typeface="Segoe UI Light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2"/>
        </a:buClr>
        <a:buSzPct val="100000"/>
        <a:buFont typeface="Verdana" panose="020B0604030504040204" pitchFamily="34" charset="0"/>
        <a:buNone/>
        <a:tabLst>
          <a:tab pos="182563" algn="l"/>
        </a:tabLst>
        <a:defRPr lang="en-US" sz="1400" b="0" kern="1200" baseline="0" noProof="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•"/>
        <a:tabLst>
          <a:tab pos="182563" algn="l"/>
        </a:tabLst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‒"/>
        <a:tabLst>
          <a:tab pos="182563" algn="l"/>
        </a:tabLst>
        <a:defRPr lang="en-US" sz="1400" b="0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−"/>
        <a:tabLst>
          <a:tab pos="182563" algn="l"/>
        </a:tabLst>
        <a:defRPr lang="en-US" sz="1400" b="0" kern="1200" cap="none" spc="10" baseline="0" noProof="0" dirty="0" smtClean="0">
          <a:solidFill>
            <a:schemeClr val="tx1"/>
          </a:solidFill>
          <a:latin typeface="+mn-lt"/>
          <a:ea typeface="+mn-ea"/>
          <a:cs typeface="Segoe UI Light" panose="020B0502040204020203" pitchFamily="34" charset="0"/>
        </a:defRPr>
      </a:lvl4pPr>
      <a:lvl5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tabLst>
          <a:tab pos="182563" algn="l"/>
        </a:tabLst>
        <a:defRPr lang="nl-NL" sz="1400" b="0" kern="1200" spc="40" baseline="0" noProof="0" dirty="0"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atin typeface="+mj-lt"/>
          <a:ea typeface="+mn-ea"/>
          <a:cs typeface="+mn-cs"/>
        </a:defRPr>
      </a:lvl5pPr>
      <a:lvl6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rabicPeriod"/>
        <a:tabLst>
          <a:tab pos="182563" algn="l"/>
        </a:tabLst>
        <a:defRPr lang="en-US" sz="1400" b="0" kern="1200" cap="none" spc="40" baseline="0" noProof="0" dirty="0">
          <a:solidFill>
            <a:schemeClr val="tx1"/>
          </a:solidFill>
          <a:latin typeface="+mn-lt"/>
          <a:ea typeface="Segoe UI Black" panose="020B0A02040204020203" pitchFamily="34" charset="0"/>
          <a:cs typeface="Segoe UI Light" panose="020B0502040204020203" pitchFamily="34" charset="0"/>
        </a:defRPr>
      </a:lvl6pPr>
      <a:lvl7pPr marL="432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lphaLcPeriod"/>
        <a:tabLst>
          <a:tab pos="182563" algn="l"/>
        </a:tabLst>
        <a:defRPr lang="nl-NL" sz="1400" kern="1200" noProof="0" dirty="0">
          <a:solidFill>
            <a:schemeClr val="tx2"/>
          </a:solidFill>
          <a:latin typeface="+mn-lt"/>
          <a:ea typeface="+mn-ea"/>
          <a:cs typeface="+mn-cs"/>
        </a:defRPr>
      </a:lvl7pPr>
      <a:lvl8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tx2"/>
        </a:buClr>
        <a:buFont typeface="Wingdings 3" panose="05040102010807070707" pitchFamily="18" charset="2"/>
        <a:buChar char="g"/>
        <a:tabLst>
          <a:tab pos="182563" algn="l"/>
        </a:tabLst>
        <a:defRPr lang="nl-NL" sz="140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300"/>
        </a:spcAft>
        <a:buClr>
          <a:schemeClr val="accent4"/>
        </a:buClr>
        <a:buFontTx/>
        <a:buNone/>
        <a:tabLst>
          <a:tab pos="182563" algn="l"/>
        </a:tabLst>
        <a:defRPr lang="nl-NL" sz="1400" i="0" kern="1200" cap="all" spc="100" baseline="0" noProof="0" dirty="0" smtClean="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2" pos="347">
          <p15:clr>
            <a:srgbClr val="F26B43"/>
          </p15:clr>
        </p15:guide>
        <p15:guide id="33" orient="horz" pos="391">
          <p15:clr>
            <a:srgbClr val="5ACBF0"/>
          </p15:clr>
        </p15:guide>
        <p15:guide id="35" orient="horz" pos="935">
          <p15:clr>
            <a:srgbClr val="F26B43"/>
          </p15:clr>
        </p15:guide>
        <p15:guide id="36" pos="7333">
          <p15:clr>
            <a:srgbClr val="F26B43"/>
          </p15:clr>
        </p15:guide>
        <p15:guide id="37" orient="horz" pos="3884">
          <p15:clr>
            <a:srgbClr val="F26B43"/>
          </p15:clr>
        </p15:guide>
        <p15:guide id="38" orient="horz" pos="2954">
          <p15:clr>
            <a:srgbClr val="F26B43"/>
          </p15:clr>
        </p15:guide>
        <p15:guide id="39" orient="horz" pos="125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>
            <a:extLst>
              <a:ext uri="{FF2B5EF4-FFF2-40B4-BE49-F238E27FC236}">
                <a16:creationId xmlns:a16="http://schemas.microsoft.com/office/drawing/2014/main" id="{1A73C806-0471-0C57-7626-9F1DB61EE0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8577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800" smtClean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fld id="{FA573BCF-C0F1-4720-B5E7-944FE630E6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93B2B64-2362-45C8-9E78-5ECAAAF34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0749" y="6385775"/>
            <a:ext cx="4082389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valantic layout samples Route B</a:t>
            </a:r>
            <a:endParaRPr lang="nl-NL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2CC0954C-56F0-4481-AEFC-476FD5516A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85775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April 26, 2024</a:t>
            </a:r>
            <a:endParaRPr lang="nl-NL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061B9A90-182E-49A3-8BF5-04F322881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476000"/>
            <a:ext cx="11088000" cy="4680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19B37A3-82F2-45D5-868F-F00F93F6E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nl-NL" noProof="0"/>
          </a:p>
        </p:txBody>
      </p:sp>
      <p:pic>
        <p:nvPicPr>
          <p:cNvPr id="6" name="valantic logo">
            <a:extLst>
              <a:ext uri="{FF2B5EF4-FFF2-40B4-BE49-F238E27FC236}">
                <a16:creationId xmlns:a16="http://schemas.microsoft.com/office/drawing/2014/main" id="{DF3AD36A-3B2E-689C-EDF4-3DB24CF96DB1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415887" y="6218848"/>
            <a:ext cx="1169231" cy="45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781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  <p:sldLayoutId id="2147485055" r:id="rId15"/>
    <p:sldLayoutId id="2147485056" r:id="rId16"/>
    <p:sldLayoutId id="2147485057" r:id="rId17"/>
    <p:sldLayoutId id="2147485058" r:id="rId18"/>
    <p:sldLayoutId id="2147485059" r:id="rId19"/>
    <p:sldLayoutId id="2147485060" r:id="rId20"/>
    <p:sldLayoutId id="2147485061" r:id="rId21"/>
    <p:sldLayoutId id="2147485062" r:id="rId22"/>
    <p:sldLayoutId id="2147485063" r:id="rId23"/>
    <p:sldLayoutId id="2147485064" r:id="rId24"/>
    <p:sldLayoutId id="2147485065" r:id="rId25"/>
    <p:sldLayoutId id="2147485066" r:id="rId26"/>
    <p:sldLayoutId id="2147485067" r:id="rId27"/>
    <p:sldLayoutId id="2147485068" r:id="rId28"/>
    <p:sldLayoutId id="2147485069" r:id="rId29"/>
    <p:sldLayoutId id="2147485070" r:id="rId30"/>
    <p:sldLayoutId id="2147485071" r:id="rId31"/>
    <p:sldLayoutId id="2147485072" r:id="rId32"/>
    <p:sldLayoutId id="2147485073" r:id="rId33"/>
    <p:sldLayoutId id="2147485074" r:id="rId34"/>
    <p:sldLayoutId id="2147485075" r:id="rId35"/>
    <p:sldLayoutId id="2147485076" r:id="rId36"/>
    <p:sldLayoutId id="2147485077" r:id="rId37"/>
    <p:sldLayoutId id="2147485078" r:id="rId38"/>
    <p:sldLayoutId id="2147485079" r:id="rId39"/>
    <p:sldLayoutId id="2147485080" r:id="rId40"/>
    <p:sldLayoutId id="2147485081" r:id="rId41"/>
    <p:sldLayoutId id="2147485082" r:id="rId42"/>
    <p:sldLayoutId id="2147485083" r:id="rId43"/>
    <p:sldLayoutId id="2147485084" r:id="rId44"/>
    <p:sldLayoutId id="2147485085" r:id="rId45"/>
    <p:sldLayoutId id="2147485086" r:id="rId46"/>
    <p:sldLayoutId id="2147485087" r:id="rId47"/>
    <p:sldLayoutId id="2147485088" r:id="rId48"/>
    <p:sldLayoutId id="2147485089" r:id="rId49"/>
    <p:sldLayoutId id="2147485090" r:id="rId50"/>
    <p:sldLayoutId id="2147485091" r:id="rId51"/>
    <p:sldLayoutId id="2147485092" r:id="rId52"/>
    <p:sldLayoutId id="2147485093" r:id="rId53"/>
    <p:sldLayoutId id="2147485094" r:id="rId54"/>
    <p:sldLayoutId id="2147485095" r:id="rId55"/>
    <p:sldLayoutId id="2147485096" r:id="rId56"/>
    <p:sldLayoutId id="2147485097" r:id="rId57"/>
    <p:sldLayoutId id="2147485098" r:id="rId58"/>
    <p:sldLayoutId id="2147485099" r:id="rId59"/>
    <p:sldLayoutId id="2147485100" r:id="rId60"/>
    <p:sldLayoutId id="2147485101" r:id="rId61"/>
    <p:sldLayoutId id="2147485102" r:id="rId62"/>
    <p:sldLayoutId id="2147485103" r:id="rId63"/>
    <p:sldLayoutId id="2147485104" r:id="rId64"/>
    <p:sldLayoutId id="2147485105" r:id="rId65"/>
    <p:sldLayoutId id="2147485106" r:id="rId66"/>
    <p:sldLayoutId id="2147485107" r:id="rId67"/>
    <p:sldLayoutId id="2147485108" r:id="rId68"/>
    <p:sldLayoutId id="2147485109" r:id="rId69"/>
    <p:sldLayoutId id="2147485110" r:id="rId70"/>
    <p:sldLayoutId id="2147485111" r:id="rId71"/>
    <p:sldLayoutId id="2147485112" r:id="rId72"/>
    <p:sldLayoutId id="2147485113" r:id="rId73"/>
    <p:sldLayoutId id="2147485114" r:id="rId74"/>
    <p:sldLayoutId id="2147485115" r:id="rId75"/>
    <p:sldLayoutId id="2147485116" r:id="rId76"/>
    <p:sldLayoutId id="2147485117" r:id="rId77"/>
    <p:sldLayoutId id="2147485118" r:id="rId78"/>
    <p:sldLayoutId id="2147485119" r:id="rId79"/>
    <p:sldLayoutId id="2147485120" r:id="rId80"/>
    <p:sldLayoutId id="2147485121" r:id="rId81"/>
    <p:sldLayoutId id="2147485122" r:id="rId82"/>
    <p:sldLayoutId id="2147485123" r:id="rId83"/>
    <p:sldLayoutId id="2147485124" r:id="rId84"/>
    <p:sldLayoutId id="2147485125" r:id="rId85"/>
    <p:sldLayoutId id="2147485126" r:id="rId86"/>
    <p:sldLayoutId id="2147485127" r:id="rId87"/>
    <p:sldLayoutId id="2147485128" r:id="rId88"/>
    <p:sldLayoutId id="2147485129" r:id="rId89"/>
    <p:sldLayoutId id="2147485130" r:id="rId90"/>
    <p:sldLayoutId id="2147485131" r:id="rId91"/>
    <p:sldLayoutId id="2147485132" r:id="rId92"/>
    <p:sldLayoutId id="2147485133" r:id="rId93"/>
    <p:sldLayoutId id="2147485134" r:id="rId94"/>
    <p:sldLayoutId id="2147485135" r:id="rId95"/>
    <p:sldLayoutId id="2147485136" r:id="rId96"/>
    <p:sldLayoutId id="2147485137" r:id="rId97"/>
    <p:sldLayoutId id="2147485138" r:id="rId98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tabLst>
          <a:tab pos="11034713" algn="r"/>
        </a:tabLst>
        <a:defRPr sz="2400" b="0" kern="1200" spc="0" baseline="0">
          <a:solidFill>
            <a:schemeClr val="tx1"/>
          </a:solidFill>
          <a:latin typeface="+mj-lt"/>
          <a:ea typeface="Segoe UI Black" panose="020B0A02040204020203" pitchFamily="34" charset="0"/>
          <a:cs typeface="Segoe UI Light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2"/>
        </a:buClr>
        <a:buSzPct val="100000"/>
        <a:buFont typeface="Verdana" panose="020B0604030504040204" pitchFamily="34" charset="0"/>
        <a:buNone/>
        <a:tabLst>
          <a:tab pos="182563" algn="l"/>
        </a:tabLst>
        <a:defRPr lang="en-US" sz="1400" b="0" kern="1200" baseline="0" noProof="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•"/>
        <a:tabLst>
          <a:tab pos="182563" algn="l"/>
        </a:tabLst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‒"/>
        <a:tabLst>
          <a:tab pos="182563" algn="l"/>
        </a:tabLst>
        <a:defRPr lang="en-US" sz="1400" b="0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rgbClr val="FF4B4B"/>
        </a:buClr>
        <a:buSzPct val="120000"/>
        <a:buFont typeface="Segoe UI" panose="020B0502040204020203" pitchFamily="34" charset="0"/>
        <a:buChar char="−"/>
        <a:tabLst>
          <a:tab pos="182563" algn="l"/>
        </a:tabLst>
        <a:defRPr lang="en-US" sz="1400" b="0" kern="1200" cap="none" spc="10" baseline="0" noProof="0" dirty="0" smtClean="0">
          <a:solidFill>
            <a:schemeClr val="tx1"/>
          </a:solidFill>
          <a:latin typeface="+mn-lt"/>
          <a:ea typeface="+mn-ea"/>
          <a:cs typeface="Segoe UI Light" panose="020B0502040204020203" pitchFamily="34" charset="0"/>
        </a:defRPr>
      </a:lvl4pPr>
      <a:lvl5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tabLst>
          <a:tab pos="182563" algn="l"/>
        </a:tabLst>
        <a:defRPr lang="nl-NL" sz="1400" b="0" kern="1200" spc="40" baseline="0" noProof="0" dirty="0"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latin typeface="+mj-lt"/>
          <a:ea typeface="+mn-ea"/>
          <a:cs typeface="+mn-cs"/>
        </a:defRPr>
      </a:lvl5pPr>
      <a:lvl6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rabicPeriod"/>
        <a:tabLst>
          <a:tab pos="182563" algn="l"/>
        </a:tabLst>
        <a:defRPr lang="en-US" sz="1400" b="0" kern="1200" cap="none" spc="40" baseline="0" noProof="0" dirty="0">
          <a:solidFill>
            <a:schemeClr val="tx1"/>
          </a:solidFill>
          <a:latin typeface="+mn-lt"/>
          <a:ea typeface="Segoe UI Black" panose="020B0A02040204020203" pitchFamily="34" charset="0"/>
          <a:cs typeface="Segoe UI Light" panose="020B0502040204020203" pitchFamily="34" charset="0"/>
        </a:defRPr>
      </a:lvl6pPr>
      <a:lvl7pPr marL="432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lphaLcPeriod"/>
        <a:tabLst>
          <a:tab pos="182563" algn="l"/>
        </a:tabLst>
        <a:defRPr lang="nl-NL" sz="1400" kern="1200" noProof="0" dirty="0">
          <a:solidFill>
            <a:schemeClr val="tx2"/>
          </a:solidFill>
          <a:latin typeface="+mn-lt"/>
          <a:ea typeface="+mn-ea"/>
          <a:cs typeface="+mn-cs"/>
        </a:defRPr>
      </a:lvl7pPr>
      <a:lvl8pPr marL="216000" indent="-216000" algn="l" defTabSz="914400" rtl="0" eaLnBrk="1" latinLnBrk="0" hangingPunct="1">
        <a:lnSpc>
          <a:spcPts val="1800"/>
        </a:lnSpc>
        <a:spcBef>
          <a:spcPts val="300"/>
        </a:spcBef>
        <a:spcAft>
          <a:spcPts val="300"/>
        </a:spcAft>
        <a:buClr>
          <a:schemeClr val="tx2"/>
        </a:buClr>
        <a:buFont typeface="Wingdings 3" panose="05040102010807070707" pitchFamily="18" charset="2"/>
        <a:buChar char="g"/>
        <a:tabLst>
          <a:tab pos="182563" algn="l"/>
        </a:tabLst>
        <a:defRPr lang="nl-NL" sz="140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300"/>
        </a:spcAft>
        <a:buClr>
          <a:schemeClr val="accent4"/>
        </a:buClr>
        <a:buFontTx/>
        <a:buNone/>
        <a:tabLst>
          <a:tab pos="182563" algn="l"/>
        </a:tabLst>
        <a:defRPr lang="nl-NL" sz="1400" i="0" kern="1200" cap="all" spc="100" baseline="0" noProof="0" dirty="0" smtClean="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2" pos="347">
          <p15:clr>
            <a:srgbClr val="F26B43"/>
          </p15:clr>
        </p15:guide>
        <p15:guide id="33" orient="horz" pos="391">
          <p15:clr>
            <a:srgbClr val="5ACBF0"/>
          </p15:clr>
        </p15:guide>
        <p15:guide id="35" orient="horz" pos="935">
          <p15:clr>
            <a:srgbClr val="F26B43"/>
          </p15:clr>
        </p15:guide>
        <p15:guide id="36" pos="7333">
          <p15:clr>
            <a:srgbClr val="F26B43"/>
          </p15:clr>
        </p15:guide>
        <p15:guide id="37" orient="horz" pos="3884">
          <p15:clr>
            <a:srgbClr val="F26B43"/>
          </p15:clr>
        </p15:guide>
        <p15:guide id="38" orient="horz" pos="2954">
          <p15:clr>
            <a:srgbClr val="F26B43"/>
          </p15:clr>
        </p15:guide>
        <p15:guide id="39" orient="horz" pos="125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A469D32-AF8D-4B41-8B7D-53FBFF6AB3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357718"/>
            <a:ext cx="11425767" cy="76623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e-DE"/>
              <a:t>Master Headlin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 and </a:t>
            </a:r>
            <a:r>
              <a:rPr lang="de-DE" err="1"/>
              <a:t>maybe</a:t>
            </a:r>
            <a:r>
              <a:rPr lang="de-DE"/>
              <a:t> </a:t>
            </a:r>
            <a:r>
              <a:rPr lang="de-DE" err="1"/>
              <a:t>even</a:t>
            </a:r>
            <a:r>
              <a:rPr lang="de-DE"/>
              <a:t> </a:t>
            </a:r>
            <a:r>
              <a:rPr lang="de-DE" err="1"/>
              <a:t>longer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C336D7-47EC-4418-BB76-F51E8CE0C8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17" y="1701802"/>
            <a:ext cx="11425767" cy="43201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en-US" noProof="0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816C9FD8-1852-433C-8112-0F3B1D09F7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1872" y="6064624"/>
            <a:ext cx="685237" cy="168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 b="0">
                <a:solidFill>
                  <a:schemeClr val="accent4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DB97557C-07F1-4F6F-B2A1-37771CCEF5C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CD6216-A2FE-4B6B-833C-021E3D5248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58377" y="6558969"/>
            <a:ext cx="4114800" cy="1896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DE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Footer Text (optional)</a:t>
            </a:r>
          </a:p>
        </p:txBody>
      </p: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4B0378C7-E8E6-4B91-B91F-C787E8A7478D}"/>
              </a:ext>
            </a:extLst>
          </p:cNvPr>
          <p:cNvGrpSpPr/>
          <p:nvPr userDrawn="1"/>
        </p:nvGrpSpPr>
        <p:grpSpPr>
          <a:xfrm>
            <a:off x="-147325" y="-153304"/>
            <a:ext cx="12486649" cy="7159475"/>
            <a:chOff x="-110494" y="-114978"/>
            <a:chExt cx="9364987" cy="5369606"/>
          </a:xfrm>
        </p:grpSpPr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0E851CD5-55A6-4833-9D90-18608651B21F}"/>
                </a:ext>
              </a:extLst>
            </p:cNvPr>
            <p:cNvGrpSpPr/>
            <p:nvPr userDrawn="1"/>
          </p:nvGrpSpPr>
          <p:grpSpPr>
            <a:xfrm>
              <a:off x="-110494" y="268288"/>
              <a:ext cx="92205" cy="4611309"/>
              <a:chOff x="-110494" y="268288"/>
              <a:chExt cx="92205" cy="4611309"/>
            </a:xfrm>
          </p:grpSpPr>
          <p:sp>
            <p:nvSpPr>
              <p:cNvPr id="20" name="Straight Connector 72">
                <a:extLst>
                  <a:ext uri="{FF2B5EF4-FFF2-40B4-BE49-F238E27FC236}">
                    <a16:creationId xmlns:a16="http://schemas.microsoft.com/office/drawing/2014/main" id="{352197D6-7020-414E-84D9-F87750EA6338}"/>
                  </a:ext>
                </a:extLst>
              </p:cNvPr>
              <p:cNvSpPr/>
              <p:nvPr/>
            </p:nvSpPr>
            <p:spPr>
              <a:xfrm flipH="1">
                <a:off x="-110494" y="628646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21" name="Straight Connector 73">
                <a:extLst>
                  <a:ext uri="{FF2B5EF4-FFF2-40B4-BE49-F238E27FC236}">
                    <a16:creationId xmlns:a16="http://schemas.microsoft.com/office/drawing/2014/main" id="{28043259-D99E-439D-98DE-4DFFC58FAE2B}"/>
                  </a:ext>
                </a:extLst>
              </p:cNvPr>
              <p:cNvSpPr/>
              <p:nvPr/>
            </p:nvSpPr>
            <p:spPr>
              <a:xfrm flipH="1">
                <a:off x="-109731" y="1276351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23" name="Straight Connector 74">
                <a:extLst>
                  <a:ext uri="{FF2B5EF4-FFF2-40B4-BE49-F238E27FC236}">
                    <a16:creationId xmlns:a16="http://schemas.microsoft.com/office/drawing/2014/main" id="{EDBF5519-BA12-4C65-9866-F001E0EB43C1}"/>
                  </a:ext>
                </a:extLst>
              </p:cNvPr>
              <p:cNvSpPr/>
              <p:nvPr/>
            </p:nvSpPr>
            <p:spPr>
              <a:xfrm flipH="1">
                <a:off x="-109731" y="1923678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24" name="Straight Connector 75">
                <a:extLst>
                  <a:ext uri="{FF2B5EF4-FFF2-40B4-BE49-F238E27FC236}">
                    <a16:creationId xmlns:a16="http://schemas.microsoft.com/office/drawing/2014/main" id="{143AF42B-332F-4C98-A674-00E8503AD2BA}"/>
                  </a:ext>
                </a:extLst>
              </p:cNvPr>
              <p:cNvSpPr/>
              <p:nvPr/>
            </p:nvSpPr>
            <p:spPr>
              <a:xfrm flipH="1">
                <a:off x="-109731" y="2570989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25" name="Straight Connector 76">
                <a:extLst>
                  <a:ext uri="{FF2B5EF4-FFF2-40B4-BE49-F238E27FC236}">
                    <a16:creationId xmlns:a16="http://schemas.microsoft.com/office/drawing/2014/main" id="{0DB46E5F-5EA9-43B2-B1AA-44700C881367}"/>
                  </a:ext>
                </a:extLst>
              </p:cNvPr>
              <p:cNvSpPr/>
              <p:nvPr/>
            </p:nvSpPr>
            <p:spPr>
              <a:xfrm flipH="1">
                <a:off x="-109731" y="3219450"/>
                <a:ext cx="91442" cy="0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26" name="Straight Connector 77">
                <a:extLst>
                  <a:ext uri="{FF2B5EF4-FFF2-40B4-BE49-F238E27FC236}">
                    <a16:creationId xmlns:a16="http://schemas.microsoft.com/office/drawing/2014/main" id="{A7538835-F904-494F-9D30-97C1B55D2F73}"/>
                  </a:ext>
                </a:extLst>
              </p:cNvPr>
              <p:cNvSpPr/>
              <p:nvPr/>
            </p:nvSpPr>
            <p:spPr>
              <a:xfrm flipH="1">
                <a:off x="-109731" y="3867150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27" name="Straight Connector 78">
                <a:extLst>
                  <a:ext uri="{FF2B5EF4-FFF2-40B4-BE49-F238E27FC236}">
                    <a16:creationId xmlns:a16="http://schemas.microsoft.com/office/drawing/2014/main" id="{6E6F6D5C-8380-420D-99D3-6C1BB50302B9}"/>
                  </a:ext>
                </a:extLst>
              </p:cNvPr>
              <p:cNvSpPr/>
              <p:nvPr/>
            </p:nvSpPr>
            <p:spPr>
              <a:xfrm flipH="1">
                <a:off x="-109731" y="4518090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28" name="Straight Connector 79">
                <a:extLst>
                  <a:ext uri="{FF2B5EF4-FFF2-40B4-BE49-F238E27FC236}">
                    <a16:creationId xmlns:a16="http://schemas.microsoft.com/office/drawing/2014/main" id="{B3944B12-76F5-4275-B79D-D3C8FF403D21}"/>
                  </a:ext>
                </a:extLst>
              </p:cNvPr>
              <p:cNvSpPr/>
              <p:nvPr/>
            </p:nvSpPr>
            <p:spPr>
              <a:xfrm flipH="1" flipV="1">
                <a:off x="-109731" y="268288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29" name="Straight Connector 80">
                <a:extLst>
                  <a:ext uri="{FF2B5EF4-FFF2-40B4-BE49-F238E27FC236}">
                    <a16:creationId xmlns:a16="http://schemas.microsoft.com/office/drawing/2014/main" id="{9892A127-C87D-4E9B-B35F-9E2D71A65ECF}"/>
                  </a:ext>
                </a:extLst>
              </p:cNvPr>
              <p:cNvSpPr/>
              <p:nvPr/>
            </p:nvSpPr>
            <p:spPr>
              <a:xfrm flipH="1">
                <a:off x="-109731" y="4879596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F418D3A7-F467-456B-93C8-FEF1505B0143}"/>
                </a:ext>
              </a:extLst>
            </p:cNvPr>
            <p:cNvGrpSpPr/>
            <p:nvPr userDrawn="1"/>
          </p:nvGrpSpPr>
          <p:grpSpPr>
            <a:xfrm>
              <a:off x="287337" y="5163186"/>
              <a:ext cx="8569327" cy="91442"/>
              <a:chOff x="287337" y="5163186"/>
              <a:chExt cx="8569327" cy="91442"/>
            </a:xfrm>
          </p:grpSpPr>
          <p:sp>
            <p:nvSpPr>
              <p:cNvPr id="30" name="Straight Connector 81">
                <a:extLst>
                  <a:ext uri="{FF2B5EF4-FFF2-40B4-BE49-F238E27FC236}">
                    <a16:creationId xmlns:a16="http://schemas.microsoft.com/office/drawing/2014/main" id="{79799908-9A72-4898-8CE3-FC657B331C5A}"/>
                  </a:ext>
                </a:extLst>
              </p:cNvPr>
              <p:cNvSpPr/>
              <p:nvPr/>
            </p:nvSpPr>
            <p:spPr>
              <a:xfrm flipV="1">
                <a:off x="287337" y="5163186"/>
                <a:ext cx="2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1" name="Straight Connector 82">
                <a:extLst>
                  <a:ext uri="{FF2B5EF4-FFF2-40B4-BE49-F238E27FC236}">
                    <a16:creationId xmlns:a16="http://schemas.microsoft.com/office/drawing/2014/main" id="{49D29190-2AB8-419B-BABB-954145E00BBF}"/>
                  </a:ext>
                </a:extLst>
              </p:cNvPr>
              <p:cNvSpPr/>
              <p:nvPr/>
            </p:nvSpPr>
            <p:spPr>
              <a:xfrm flipV="1">
                <a:off x="1223963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2" name="Straight Connector 83">
                <a:extLst>
                  <a:ext uri="{FF2B5EF4-FFF2-40B4-BE49-F238E27FC236}">
                    <a16:creationId xmlns:a16="http://schemas.microsoft.com/office/drawing/2014/main" id="{8D09914E-CF1C-4F43-A284-23A5BFEC849C}"/>
                  </a:ext>
                </a:extLst>
              </p:cNvPr>
              <p:cNvSpPr/>
              <p:nvPr/>
            </p:nvSpPr>
            <p:spPr>
              <a:xfrm flipV="1">
                <a:off x="2156777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3" name="Straight Connector 84">
                <a:extLst>
                  <a:ext uri="{FF2B5EF4-FFF2-40B4-BE49-F238E27FC236}">
                    <a16:creationId xmlns:a16="http://schemas.microsoft.com/office/drawing/2014/main" id="{DB606FE0-9946-4FDA-841A-EE9F356A558E}"/>
                  </a:ext>
                </a:extLst>
              </p:cNvPr>
              <p:cNvSpPr/>
              <p:nvPr/>
            </p:nvSpPr>
            <p:spPr>
              <a:xfrm flipV="1">
                <a:off x="2524760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4" name="Straight Connector 85">
                <a:extLst>
                  <a:ext uri="{FF2B5EF4-FFF2-40B4-BE49-F238E27FC236}">
                    <a16:creationId xmlns:a16="http://schemas.microsoft.com/office/drawing/2014/main" id="{C41E6B07-EA27-4CBF-B80A-7FDA12C4913B}"/>
                  </a:ext>
                </a:extLst>
              </p:cNvPr>
              <p:cNvSpPr/>
              <p:nvPr/>
            </p:nvSpPr>
            <p:spPr>
              <a:xfrm flipV="1">
                <a:off x="4392613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5" name="Straight Connector 86">
                <a:extLst>
                  <a:ext uri="{FF2B5EF4-FFF2-40B4-BE49-F238E27FC236}">
                    <a16:creationId xmlns:a16="http://schemas.microsoft.com/office/drawing/2014/main" id="{EE947058-32CE-4397-964F-863119E71C0F}"/>
                  </a:ext>
                </a:extLst>
              </p:cNvPr>
              <p:cNvSpPr/>
              <p:nvPr/>
            </p:nvSpPr>
            <p:spPr>
              <a:xfrm flipV="1">
                <a:off x="4571998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6" name="Straight Connector 87">
                <a:extLst>
                  <a:ext uri="{FF2B5EF4-FFF2-40B4-BE49-F238E27FC236}">
                    <a16:creationId xmlns:a16="http://schemas.microsoft.com/office/drawing/2014/main" id="{73738F68-20AC-4F3F-8E84-856AA3C3DAAD}"/>
                  </a:ext>
                </a:extLst>
              </p:cNvPr>
              <p:cNvSpPr/>
              <p:nvPr/>
            </p:nvSpPr>
            <p:spPr>
              <a:xfrm flipV="1">
                <a:off x="4751388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7" name="Straight Connector 88">
                <a:extLst>
                  <a:ext uri="{FF2B5EF4-FFF2-40B4-BE49-F238E27FC236}">
                    <a16:creationId xmlns:a16="http://schemas.microsoft.com/office/drawing/2014/main" id="{CC8C0FF2-E534-436A-A569-DD612F84E106}"/>
                  </a:ext>
                </a:extLst>
              </p:cNvPr>
              <p:cNvSpPr/>
              <p:nvPr/>
            </p:nvSpPr>
            <p:spPr>
              <a:xfrm flipV="1">
                <a:off x="6624638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8" name="Straight Connector 89">
                <a:extLst>
                  <a:ext uri="{FF2B5EF4-FFF2-40B4-BE49-F238E27FC236}">
                    <a16:creationId xmlns:a16="http://schemas.microsoft.com/office/drawing/2014/main" id="{594F2899-7DC9-44A1-B76F-23EF885EAA53}"/>
                  </a:ext>
                </a:extLst>
              </p:cNvPr>
              <p:cNvSpPr/>
              <p:nvPr/>
            </p:nvSpPr>
            <p:spPr>
              <a:xfrm flipV="1">
                <a:off x="6804025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39" name="Straight Connector 90">
                <a:extLst>
                  <a:ext uri="{FF2B5EF4-FFF2-40B4-BE49-F238E27FC236}">
                    <a16:creationId xmlns:a16="http://schemas.microsoft.com/office/drawing/2014/main" id="{8EF94118-D273-4848-A57E-536C53A2C542}"/>
                  </a:ext>
                </a:extLst>
              </p:cNvPr>
              <p:cNvSpPr/>
              <p:nvPr/>
            </p:nvSpPr>
            <p:spPr>
              <a:xfrm flipV="1">
                <a:off x="6983411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40" name="Straight Connector 91">
                <a:extLst>
                  <a:ext uri="{FF2B5EF4-FFF2-40B4-BE49-F238E27FC236}">
                    <a16:creationId xmlns:a16="http://schemas.microsoft.com/office/drawing/2014/main" id="{D9630B3D-8B46-44C6-9670-4E208A8F4A8B}"/>
                  </a:ext>
                </a:extLst>
              </p:cNvPr>
              <p:cNvSpPr/>
              <p:nvPr/>
            </p:nvSpPr>
            <p:spPr>
              <a:xfrm flipV="1">
                <a:off x="8856663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52" name="Straight Connector 83">
                <a:extLst>
                  <a:ext uri="{FF2B5EF4-FFF2-40B4-BE49-F238E27FC236}">
                    <a16:creationId xmlns:a16="http://schemas.microsoft.com/office/drawing/2014/main" id="{CDCAA9AD-B656-4FAE-A832-13CCB91213E9}"/>
                  </a:ext>
                </a:extLst>
              </p:cNvPr>
              <p:cNvSpPr/>
              <p:nvPr userDrawn="1"/>
            </p:nvSpPr>
            <p:spPr>
              <a:xfrm flipV="1">
                <a:off x="2339974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53" name="Straight Connector 83">
                <a:extLst>
                  <a:ext uri="{FF2B5EF4-FFF2-40B4-BE49-F238E27FC236}">
                    <a16:creationId xmlns:a16="http://schemas.microsoft.com/office/drawing/2014/main" id="{4D282B6A-2D14-455A-B5D5-23A9CB2771E4}"/>
                  </a:ext>
                </a:extLst>
              </p:cNvPr>
              <p:cNvSpPr/>
              <p:nvPr userDrawn="1"/>
            </p:nvSpPr>
            <p:spPr>
              <a:xfrm flipV="1">
                <a:off x="3455987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54" name="Straight Connector 83">
                <a:extLst>
                  <a:ext uri="{FF2B5EF4-FFF2-40B4-BE49-F238E27FC236}">
                    <a16:creationId xmlns:a16="http://schemas.microsoft.com/office/drawing/2014/main" id="{8FE0075F-3A3E-456B-A545-9DD43E2BDEF7}"/>
                  </a:ext>
                </a:extLst>
              </p:cNvPr>
              <p:cNvSpPr/>
              <p:nvPr userDrawn="1"/>
            </p:nvSpPr>
            <p:spPr>
              <a:xfrm flipV="1">
                <a:off x="5688012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r>
                  <a:rPr lang="de-DE" sz="2400"/>
                  <a:t> </a:t>
                </a:r>
                <a:endParaRPr sz="2400"/>
              </a:p>
            </p:txBody>
          </p:sp>
          <p:sp>
            <p:nvSpPr>
              <p:cNvPr id="55" name="Straight Connector 91">
                <a:extLst>
                  <a:ext uri="{FF2B5EF4-FFF2-40B4-BE49-F238E27FC236}">
                    <a16:creationId xmlns:a16="http://schemas.microsoft.com/office/drawing/2014/main" id="{FE5B9CB7-8EA8-4048-9A72-9B8240FE6743}"/>
                  </a:ext>
                </a:extLst>
              </p:cNvPr>
              <p:cNvSpPr/>
              <p:nvPr userDrawn="1"/>
            </p:nvSpPr>
            <p:spPr>
              <a:xfrm flipV="1">
                <a:off x="7920036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</p:grp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DBAD9923-66E9-403C-A03A-B2DF6BBC6286}"/>
                </a:ext>
              </a:extLst>
            </p:cNvPr>
            <p:cNvGrpSpPr/>
            <p:nvPr userDrawn="1"/>
          </p:nvGrpSpPr>
          <p:grpSpPr>
            <a:xfrm>
              <a:off x="9162288" y="268288"/>
              <a:ext cx="92205" cy="4611309"/>
              <a:chOff x="-110494" y="268288"/>
              <a:chExt cx="92205" cy="4611309"/>
            </a:xfrm>
          </p:grpSpPr>
          <p:sp>
            <p:nvSpPr>
              <p:cNvPr id="58" name="Straight Connector 72">
                <a:extLst>
                  <a:ext uri="{FF2B5EF4-FFF2-40B4-BE49-F238E27FC236}">
                    <a16:creationId xmlns:a16="http://schemas.microsoft.com/office/drawing/2014/main" id="{CDEBCD1F-5309-4DD1-8280-4777CDBFF0F7}"/>
                  </a:ext>
                </a:extLst>
              </p:cNvPr>
              <p:cNvSpPr/>
              <p:nvPr/>
            </p:nvSpPr>
            <p:spPr>
              <a:xfrm flipH="1">
                <a:off x="-110494" y="628646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59" name="Straight Connector 73">
                <a:extLst>
                  <a:ext uri="{FF2B5EF4-FFF2-40B4-BE49-F238E27FC236}">
                    <a16:creationId xmlns:a16="http://schemas.microsoft.com/office/drawing/2014/main" id="{48678323-D71C-4C21-9E91-266A760B7153}"/>
                  </a:ext>
                </a:extLst>
              </p:cNvPr>
              <p:cNvSpPr/>
              <p:nvPr/>
            </p:nvSpPr>
            <p:spPr>
              <a:xfrm flipH="1">
                <a:off x="-109731" y="1276351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60" name="Straight Connector 74">
                <a:extLst>
                  <a:ext uri="{FF2B5EF4-FFF2-40B4-BE49-F238E27FC236}">
                    <a16:creationId xmlns:a16="http://schemas.microsoft.com/office/drawing/2014/main" id="{AECC1976-9181-475A-8687-FA3F5B060B21}"/>
                  </a:ext>
                </a:extLst>
              </p:cNvPr>
              <p:cNvSpPr/>
              <p:nvPr/>
            </p:nvSpPr>
            <p:spPr>
              <a:xfrm flipH="1">
                <a:off x="-109731" y="1923678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61" name="Straight Connector 75">
                <a:extLst>
                  <a:ext uri="{FF2B5EF4-FFF2-40B4-BE49-F238E27FC236}">
                    <a16:creationId xmlns:a16="http://schemas.microsoft.com/office/drawing/2014/main" id="{9E414505-445F-4974-A39B-7CEE878B28C2}"/>
                  </a:ext>
                </a:extLst>
              </p:cNvPr>
              <p:cNvSpPr/>
              <p:nvPr/>
            </p:nvSpPr>
            <p:spPr>
              <a:xfrm flipH="1">
                <a:off x="-109731" y="2570989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62" name="Straight Connector 76">
                <a:extLst>
                  <a:ext uri="{FF2B5EF4-FFF2-40B4-BE49-F238E27FC236}">
                    <a16:creationId xmlns:a16="http://schemas.microsoft.com/office/drawing/2014/main" id="{87EA8D4C-AEBC-4CE7-AEFE-CEBCA58EEB47}"/>
                  </a:ext>
                </a:extLst>
              </p:cNvPr>
              <p:cNvSpPr/>
              <p:nvPr/>
            </p:nvSpPr>
            <p:spPr>
              <a:xfrm flipH="1">
                <a:off x="-109731" y="3219450"/>
                <a:ext cx="91442" cy="0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63" name="Straight Connector 77">
                <a:extLst>
                  <a:ext uri="{FF2B5EF4-FFF2-40B4-BE49-F238E27FC236}">
                    <a16:creationId xmlns:a16="http://schemas.microsoft.com/office/drawing/2014/main" id="{4088E774-8FC3-4F62-8674-677C021CD311}"/>
                  </a:ext>
                </a:extLst>
              </p:cNvPr>
              <p:cNvSpPr/>
              <p:nvPr/>
            </p:nvSpPr>
            <p:spPr>
              <a:xfrm flipH="1">
                <a:off x="-109731" y="3867150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64" name="Straight Connector 78">
                <a:extLst>
                  <a:ext uri="{FF2B5EF4-FFF2-40B4-BE49-F238E27FC236}">
                    <a16:creationId xmlns:a16="http://schemas.microsoft.com/office/drawing/2014/main" id="{E96D4163-A74D-4A54-A017-F63EACF4199A}"/>
                  </a:ext>
                </a:extLst>
              </p:cNvPr>
              <p:cNvSpPr/>
              <p:nvPr/>
            </p:nvSpPr>
            <p:spPr>
              <a:xfrm flipH="1">
                <a:off x="-109731" y="4518090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65" name="Straight Connector 79">
                <a:extLst>
                  <a:ext uri="{FF2B5EF4-FFF2-40B4-BE49-F238E27FC236}">
                    <a16:creationId xmlns:a16="http://schemas.microsoft.com/office/drawing/2014/main" id="{B8C6246A-9375-4A5D-B1EA-ECBBFFC58893}"/>
                  </a:ext>
                </a:extLst>
              </p:cNvPr>
              <p:cNvSpPr/>
              <p:nvPr/>
            </p:nvSpPr>
            <p:spPr>
              <a:xfrm flipH="1" flipV="1">
                <a:off x="-109731" y="268288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66" name="Straight Connector 80">
                <a:extLst>
                  <a:ext uri="{FF2B5EF4-FFF2-40B4-BE49-F238E27FC236}">
                    <a16:creationId xmlns:a16="http://schemas.microsoft.com/office/drawing/2014/main" id="{9101E277-5045-4819-B5DF-CD19E893EB2B}"/>
                  </a:ext>
                </a:extLst>
              </p:cNvPr>
              <p:cNvSpPr/>
              <p:nvPr/>
            </p:nvSpPr>
            <p:spPr>
              <a:xfrm flipH="1">
                <a:off x="-109731" y="4879596"/>
                <a:ext cx="91442" cy="1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4B22955F-1C05-458E-AEB0-A23637B67CD6}"/>
                </a:ext>
              </a:extLst>
            </p:cNvPr>
            <p:cNvGrpSpPr/>
            <p:nvPr userDrawn="1"/>
          </p:nvGrpSpPr>
          <p:grpSpPr>
            <a:xfrm>
              <a:off x="287334" y="-114978"/>
              <a:ext cx="8569327" cy="91442"/>
              <a:chOff x="287337" y="5163186"/>
              <a:chExt cx="8569327" cy="91442"/>
            </a:xfrm>
          </p:grpSpPr>
          <p:sp>
            <p:nvSpPr>
              <p:cNvPr id="68" name="Straight Connector 81">
                <a:extLst>
                  <a:ext uri="{FF2B5EF4-FFF2-40B4-BE49-F238E27FC236}">
                    <a16:creationId xmlns:a16="http://schemas.microsoft.com/office/drawing/2014/main" id="{806806F9-9A6C-4158-B646-F2206A59BCEE}"/>
                  </a:ext>
                </a:extLst>
              </p:cNvPr>
              <p:cNvSpPr/>
              <p:nvPr/>
            </p:nvSpPr>
            <p:spPr>
              <a:xfrm flipV="1">
                <a:off x="287337" y="5163186"/>
                <a:ext cx="2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69" name="Straight Connector 82">
                <a:extLst>
                  <a:ext uri="{FF2B5EF4-FFF2-40B4-BE49-F238E27FC236}">
                    <a16:creationId xmlns:a16="http://schemas.microsoft.com/office/drawing/2014/main" id="{821744CD-09CB-40D7-908E-AAAD1585E355}"/>
                  </a:ext>
                </a:extLst>
              </p:cNvPr>
              <p:cNvSpPr/>
              <p:nvPr/>
            </p:nvSpPr>
            <p:spPr>
              <a:xfrm flipV="1">
                <a:off x="1223963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0" name="Straight Connector 83">
                <a:extLst>
                  <a:ext uri="{FF2B5EF4-FFF2-40B4-BE49-F238E27FC236}">
                    <a16:creationId xmlns:a16="http://schemas.microsoft.com/office/drawing/2014/main" id="{A22618DF-BF32-47C5-83B0-CEF0122D09EA}"/>
                  </a:ext>
                </a:extLst>
              </p:cNvPr>
              <p:cNvSpPr/>
              <p:nvPr/>
            </p:nvSpPr>
            <p:spPr>
              <a:xfrm flipV="1">
                <a:off x="2156777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1" name="Straight Connector 84">
                <a:extLst>
                  <a:ext uri="{FF2B5EF4-FFF2-40B4-BE49-F238E27FC236}">
                    <a16:creationId xmlns:a16="http://schemas.microsoft.com/office/drawing/2014/main" id="{104E2DE9-7571-4C90-8393-5C415FBA8BED}"/>
                  </a:ext>
                </a:extLst>
              </p:cNvPr>
              <p:cNvSpPr/>
              <p:nvPr/>
            </p:nvSpPr>
            <p:spPr>
              <a:xfrm flipV="1">
                <a:off x="2524760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2" name="Straight Connector 85">
                <a:extLst>
                  <a:ext uri="{FF2B5EF4-FFF2-40B4-BE49-F238E27FC236}">
                    <a16:creationId xmlns:a16="http://schemas.microsoft.com/office/drawing/2014/main" id="{931ED2E1-6291-4810-9310-2455CFC0DAC2}"/>
                  </a:ext>
                </a:extLst>
              </p:cNvPr>
              <p:cNvSpPr/>
              <p:nvPr/>
            </p:nvSpPr>
            <p:spPr>
              <a:xfrm flipV="1">
                <a:off x="4392613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3" name="Straight Connector 86">
                <a:extLst>
                  <a:ext uri="{FF2B5EF4-FFF2-40B4-BE49-F238E27FC236}">
                    <a16:creationId xmlns:a16="http://schemas.microsoft.com/office/drawing/2014/main" id="{634D4D47-5425-48BC-B753-6D72DDEA6BCC}"/>
                  </a:ext>
                </a:extLst>
              </p:cNvPr>
              <p:cNvSpPr/>
              <p:nvPr/>
            </p:nvSpPr>
            <p:spPr>
              <a:xfrm flipV="1">
                <a:off x="4571998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4" name="Straight Connector 87">
                <a:extLst>
                  <a:ext uri="{FF2B5EF4-FFF2-40B4-BE49-F238E27FC236}">
                    <a16:creationId xmlns:a16="http://schemas.microsoft.com/office/drawing/2014/main" id="{952035A7-2559-45B2-AC69-EBC167A5098F}"/>
                  </a:ext>
                </a:extLst>
              </p:cNvPr>
              <p:cNvSpPr/>
              <p:nvPr/>
            </p:nvSpPr>
            <p:spPr>
              <a:xfrm flipV="1">
                <a:off x="4751388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5" name="Straight Connector 88">
                <a:extLst>
                  <a:ext uri="{FF2B5EF4-FFF2-40B4-BE49-F238E27FC236}">
                    <a16:creationId xmlns:a16="http://schemas.microsoft.com/office/drawing/2014/main" id="{65A73932-2BF2-4C5C-9038-F0BFB29F85C2}"/>
                  </a:ext>
                </a:extLst>
              </p:cNvPr>
              <p:cNvSpPr/>
              <p:nvPr/>
            </p:nvSpPr>
            <p:spPr>
              <a:xfrm flipV="1">
                <a:off x="6624638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6" name="Straight Connector 89">
                <a:extLst>
                  <a:ext uri="{FF2B5EF4-FFF2-40B4-BE49-F238E27FC236}">
                    <a16:creationId xmlns:a16="http://schemas.microsoft.com/office/drawing/2014/main" id="{9F949524-959C-408C-BF18-E2D035084745}"/>
                  </a:ext>
                </a:extLst>
              </p:cNvPr>
              <p:cNvSpPr/>
              <p:nvPr/>
            </p:nvSpPr>
            <p:spPr>
              <a:xfrm flipV="1">
                <a:off x="6804025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7" name="Straight Connector 90">
                <a:extLst>
                  <a:ext uri="{FF2B5EF4-FFF2-40B4-BE49-F238E27FC236}">
                    <a16:creationId xmlns:a16="http://schemas.microsoft.com/office/drawing/2014/main" id="{075768DB-D530-403B-8137-0E4E1E1F3DE2}"/>
                  </a:ext>
                </a:extLst>
              </p:cNvPr>
              <p:cNvSpPr/>
              <p:nvPr/>
            </p:nvSpPr>
            <p:spPr>
              <a:xfrm flipV="1">
                <a:off x="6983411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8" name="Straight Connector 91">
                <a:extLst>
                  <a:ext uri="{FF2B5EF4-FFF2-40B4-BE49-F238E27FC236}">
                    <a16:creationId xmlns:a16="http://schemas.microsoft.com/office/drawing/2014/main" id="{E853D191-A3C4-427C-9BC4-F85AC773A66E}"/>
                  </a:ext>
                </a:extLst>
              </p:cNvPr>
              <p:cNvSpPr/>
              <p:nvPr/>
            </p:nvSpPr>
            <p:spPr>
              <a:xfrm flipV="1">
                <a:off x="8856663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79" name="Straight Connector 83">
                <a:extLst>
                  <a:ext uri="{FF2B5EF4-FFF2-40B4-BE49-F238E27FC236}">
                    <a16:creationId xmlns:a16="http://schemas.microsoft.com/office/drawing/2014/main" id="{618AE603-BC81-4957-BEA2-1399B274D83E}"/>
                  </a:ext>
                </a:extLst>
              </p:cNvPr>
              <p:cNvSpPr/>
              <p:nvPr userDrawn="1"/>
            </p:nvSpPr>
            <p:spPr>
              <a:xfrm flipV="1">
                <a:off x="2339974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80" name="Straight Connector 83">
                <a:extLst>
                  <a:ext uri="{FF2B5EF4-FFF2-40B4-BE49-F238E27FC236}">
                    <a16:creationId xmlns:a16="http://schemas.microsoft.com/office/drawing/2014/main" id="{ED57DCBD-1708-4B12-A3CA-CD4E5EB2C0AF}"/>
                  </a:ext>
                </a:extLst>
              </p:cNvPr>
              <p:cNvSpPr/>
              <p:nvPr userDrawn="1"/>
            </p:nvSpPr>
            <p:spPr>
              <a:xfrm flipV="1">
                <a:off x="3455987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  <p:sp>
            <p:nvSpPr>
              <p:cNvPr id="81" name="Straight Connector 83">
                <a:extLst>
                  <a:ext uri="{FF2B5EF4-FFF2-40B4-BE49-F238E27FC236}">
                    <a16:creationId xmlns:a16="http://schemas.microsoft.com/office/drawing/2014/main" id="{D7DB31CD-0D27-4E54-B34E-C32429AA48BF}"/>
                  </a:ext>
                </a:extLst>
              </p:cNvPr>
              <p:cNvSpPr/>
              <p:nvPr userDrawn="1"/>
            </p:nvSpPr>
            <p:spPr>
              <a:xfrm flipV="1">
                <a:off x="5688012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r>
                  <a:rPr lang="de-DE" sz="2400"/>
                  <a:t> </a:t>
                </a:r>
                <a:endParaRPr sz="2400"/>
              </a:p>
            </p:txBody>
          </p:sp>
          <p:sp>
            <p:nvSpPr>
              <p:cNvPr id="82" name="Straight Connector 91">
                <a:extLst>
                  <a:ext uri="{FF2B5EF4-FFF2-40B4-BE49-F238E27FC236}">
                    <a16:creationId xmlns:a16="http://schemas.microsoft.com/office/drawing/2014/main" id="{4342A5B0-191D-4D62-B9E1-8CE8E3DDE076}"/>
                  </a:ext>
                </a:extLst>
              </p:cNvPr>
              <p:cNvSpPr/>
              <p:nvPr userDrawn="1"/>
            </p:nvSpPr>
            <p:spPr>
              <a:xfrm flipV="1">
                <a:off x="7920036" y="5163186"/>
                <a:ext cx="1" cy="91442"/>
              </a:xfrm>
              <a:prstGeom prst="line">
                <a:avLst/>
              </a:prstGeom>
              <a:noFill/>
              <a:ln w="317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2400"/>
              </a:p>
            </p:txBody>
          </p: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F358B3CC-C8C2-4264-9822-7A4D03E53841}"/>
              </a:ext>
            </a:extLst>
          </p:cNvPr>
          <p:cNvSpPr txBox="1"/>
          <p:nvPr userDrawn="1"/>
        </p:nvSpPr>
        <p:spPr>
          <a:xfrm>
            <a:off x="143339" y="6502399"/>
            <a:ext cx="1535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800"/>
              <a:t>© </a:t>
            </a:r>
            <a:r>
              <a:rPr lang="de-DE" sz="800" err="1"/>
              <a:t>phiyond</a:t>
            </a:r>
            <a:r>
              <a:rPr lang="de-DE" sz="800"/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543488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0" r:id="rId1"/>
    <p:sldLayoutId id="2147485141" r:id="rId2"/>
    <p:sldLayoutId id="2147485142" r:id="rId3"/>
    <p:sldLayoutId id="2147485143" r:id="rId4"/>
    <p:sldLayoutId id="2147485144" r:id="rId5"/>
    <p:sldLayoutId id="2147485145" r:id="rId6"/>
    <p:sldLayoutId id="2147485146" r:id="rId7"/>
    <p:sldLayoutId id="2147485147" r:id="rId8"/>
    <p:sldLayoutId id="2147485148" r:id="rId9"/>
    <p:sldLayoutId id="2147485149" r:id="rId10"/>
    <p:sldLayoutId id="2147485150" r:id="rId11"/>
    <p:sldLayoutId id="2147485151" r:id="rId12"/>
    <p:sldLayoutId id="2147485152" r:id="rId13"/>
    <p:sldLayoutId id="2147485153" r:id="rId14"/>
    <p:sldLayoutId id="2147485154" r:id="rId15"/>
    <p:sldLayoutId id="2147485155" r:id="rId16"/>
    <p:sldLayoutId id="2147485156" r:id="rId17"/>
    <p:sldLayoutId id="2147485157" r:id="rId18"/>
    <p:sldLayoutId id="2147485158" r:id="rId19"/>
    <p:sldLayoutId id="2147485159" r:id="rId20"/>
    <p:sldLayoutId id="2147485160" r:id="rId21"/>
    <p:sldLayoutId id="2147485161" r:id="rId22"/>
    <p:sldLayoutId id="2147485162" r:id="rId23"/>
    <p:sldLayoutId id="2147485163" r:id="rId24"/>
    <p:sldLayoutId id="2147485164" r:id="rId25"/>
    <p:sldLayoutId id="2147485165" r:id="rId26"/>
    <p:sldLayoutId id="2147485166" r:id="rId27"/>
    <p:sldLayoutId id="2147485167" r:id="rId28"/>
    <p:sldLayoutId id="2147485168" r:id="rId29"/>
    <p:sldLayoutId id="2147485169" r:id="rId30"/>
    <p:sldLayoutId id="2147485170" r:id="rId31"/>
    <p:sldLayoutId id="2147485171" r:id="rId32"/>
    <p:sldLayoutId id="2147485172" r:id="rId33"/>
    <p:sldLayoutId id="2147485173" r:id="rId34"/>
    <p:sldLayoutId id="2147485174" r:id="rId35"/>
    <p:sldLayoutId id="2147485175" r:id="rId36"/>
    <p:sldLayoutId id="2147485176" r:id="rId37"/>
    <p:sldLayoutId id="2147485177" r:id="rId38"/>
    <p:sldLayoutId id="2147485178" r:id="rId39"/>
    <p:sldLayoutId id="2147485179" r:id="rId40"/>
    <p:sldLayoutId id="2147485180" r:id="rId41"/>
    <p:sldLayoutId id="2147485181" r:id="rId42"/>
  </p:sldLayoutIdLst>
  <p:hf hdr="0" ftr="0" dt="0"/>
  <p:txStyles>
    <p:titleStyle>
      <a:lvl1pPr marL="0" indent="0" algn="l" defTabSz="914377" rtl="0" eaLnBrk="1" latinLnBrk="0" hangingPunct="1">
        <a:lnSpc>
          <a:spcPct val="100000"/>
        </a:lnSpc>
        <a:spcBef>
          <a:spcPct val="0"/>
        </a:spcBef>
        <a:buFont typeface="+mj-lt"/>
        <a:buNone/>
        <a:tabLst/>
        <a:defRPr lang="de-DE" sz="2267" b="1" kern="1200" cap="none" spc="-100" baseline="0" dirty="0">
          <a:solidFill>
            <a:schemeClr val="accent4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10000"/>
        <a:buFontTx/>
        <a:buNone/>
        <a:defRPr sz="1600" b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59991" indent="-359991" algn="l" defTabSz="914377" rtl="0" eaLnBrk="1" latinLnBrk="0" hangingPunct="1">
        <a:lnSpc>
          <a:spcPct val="100000"/>
        </a:lnSpc>
        <a:spcBef>
          <a:spcPts val="600"/>
        </a:spcBef>
        <a:buClr>
          <a:schemeClr val="accent4"/>
        </a:buClr>
        <a:buSzPct val="130000"/>
        <a:buFontTx/>
        <a:buBlip>
          <a:blip r:embed="rId44"/>
        </a:buBlip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39987" indent="-359991" algn="l" defTabSz="914377" rtl="0" eaLnBrk="1" latinLnBrk="0" hangingPunct="1">
        <a:lnSpc>
          <a:spcPct val="100000"/>
        </a:lnSpc>
        <a:spcBef>
          <a:spcPts val="600"/>
        </a:spcBef>
        <a:buClr>
          <a:schemeClr val="accent4"/>
        </a:buClr>
        <a:buSzPct val="100000"/>
        <a:buFontTx/>
        <a:buBlip>
          <a:blip r:embed="rId44"/>
        </a:buBlip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91980" indent="-342891" algn="l" defTabSz="914377" rtl="0" eaLnBrk="1" latinLnBrk="0" hangingPunct="1">
        <a:lnSpc>
          <a:spcPct val="90000"/>
        </a:lnSpc>
        <a:spcBef>
          <a:spcPts val="600"/>
        </a:spcBef>
        <a:buClr>
          <a:schemeClr val="accent4"/>
        </a:buClr>
        <a:buSzPct val="100000"/>
        <a:buFontTx/>
        <a:buBlip>
          <a:blip r:embed="rId44"/>
        </a:buBlip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079973" indent="-342891" algn="l" defTabSz="914377" rtl="0" eaLnBrk="1" latinLnBrk="0" hangingPunct="1">
        <a:lnSpc>
          <a:spcPct val="90000"/>
        </a:lnSpc>
        <a:spcBef>
          <a:spcPts val="600"/>
        </a:spcBef>
        <a:buClr>
          <a:schemeClr val="accent4"/>
        </a:buClr>
        <a:buSzPct val="100000"/>
        <a:buFontTx/>
        <a:buBlip>
          <a:blip r:embed="rId44"/>
        </a:buBlip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72">
          <p15:clr>
            <a:srgbClr val="F26B43"/>
          </p15:clr>
        </p15:guide>
        <p15:guide id="4" pos="5579">
          <p15:clr>
            <a:srgbClr val="F26B43"/>
          </p15:clr>
        </p15:guide>
        <p15:guide id="7" orient="horz" pos="169">
          <p15:clr>
            <a:srgbClr val="F26B43"/>
          </p15:clr>
        </p15:guide>
        <p15:guide id="9" pos="2880">
          <p15:clr>
            <a:srgbClr val="5ACBF0"/>
          </p15:clr>
        </p15:guide>
        <p15:guide id="10" pos="1474">
          <p15:clr>
            <a:srgbClr val="5ACBF0"/>
          </p15:clr>
        </p15:guide>
        <p15:guide id="11" pos="4286">
          <p15:clr>
            <a:srgbClr val="5ACBF0"/>
          </p15:clr>
        </p15:guide>
        <p15:guide id="12" orient="horz" pos="1620">
          <p15:clr>
            <a:srgbClr val="5ACBF0"/>
          </p15:clr>
        </p15:guide>
        <p15:guide id="13" orient="horz" pos="2436">
          <p15:clr>
            <a:srgbClr val="5ACBF0"/>
          </p15:clr>
        </p15:guide>
        <p15:guide id="14" orient="horz" pos="804">
          <p15:clr>
            <a:srgbClr val="5ACBF0"/>
          </p15:clr>
        </p15:guide>
        <p15:guide id="15" pos="2767">
          <p15:clr>
            <a:srgbClr val="F26B43"/>
          </p15:clr>
        </p15:guide>
        <p15:guide id="16" pos="3583">
          <p15:clr>
            <a:srgbClr val="F26B43"/>
          </p15:clr>
        </p15:guide>
        <p15:guide id="17" pos="4173">
          <p15:clr>
            <a:srgbClr val="F26B43"/>
          </p15:clr>
        </p15:guide>
        <p15:guide id="18" pos="4400">
          <p15:clr>
            <a:srgbClr val="F26B43"/>
          </p15:clr>
        </p15:guide>
        <p15:guide id="20" orient="horz" pos="395">
          <p15:clr>
            <a:srgbClr val="F26B43"/>
          </p15:clr>
        </p15:guide>
        <p15:guide id="21" pos="1587">
          <p15:clr>
            <a:srgbClr val="F26B43"/>
          </p15:clr>
        </p15:guide>
        <p15:guide id="22" pos="1360">
          <p15:clr>
            <a:srgbClr val="F26B43"/>
          </p15:clr>
        </p15:guide>
        <p15:guide id="23" pos="181">
          <p15:clr>
            <a:srgbClr val="F26B43"/>
          </p15:clr>
        </p15:guide>
        <p15:guide id="24" orient="horz" pos="2845">
          <p15:clr>
            <a:srgbClr val="F26B43"/>
          </p15:clr>
        </p15:guide>
        <p15:guide id="25" orient="horz" pos="1212">
          <p15:clr>
            <a:srgbClr val="F26B43"/>
          </p15:clr>
        </p15:guide>
        <p15:guide id="27" orient="horz" pos="2028">
          <p15:clr>
            <a:srgbClr val="F26B43"/>
          </p15:clr>
        </p15:guide>
        <p15:guide id="29" pos="2993">
          <p15:clr>
            <a:srgbClr val="F26B43"/>
          </p15:clr>
        </p15:guide>
        <p15:guide id="30" pos="4989">
          <p15:clr>
            <a:srgbClr val="F26B43"/>
          </p15:clr>
        </p15:guide>
        <p15:guide id="31" pos="2177">
          <p15:clr>
            <a:srgbClr val="F26B43"/>
          </p15:clr>
        </p15:guide>
        <p15:guide id="32" pos="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70.png"/><Relationship Id="rId7" Type="http://schemas.openxmlformats.org/officeDocument/2006/relationships/image" Target="../media/image3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72.svg"/><Relationship Id="rId10" Type="http://schemas.openxmlformats.org/officeDocument/2006/relationships/chart" Target="../charts/chart4.xml"/><Relationship Id="rId4" Type="http://schemas.openxmlformats.org/officeDocument/2006/relationships/image" Target="../media/image71.png"/><Relationship Id="rId9" Type="http://schemas.openxmlformats.org/officeDocument/2006/relationships/image" Target="../media/image15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15.svg"/><Relationship Id="rId3" Type="http://schemas.openxmlformats.org/officeDocument/2006/relationships/chart" Target="../charts/chart5.xml"/><Relationship Id="rId7" Type="http://schemas.openxmlformats.org/officeDocument/2006/relationships/image" Target="../media/image72.sv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11" Type="http://schemas.openxmlformats.org/officeDocument/2006/relationships/image" Target="../media/image3.svg"/><Relationship Id="rId5" Type="http://schemas.openxmlformats.org/officeDocument/2006/relationships/image" Target="../media/image74.png"/><Relationship Id="rId10" Type="http://schemas.openxmlformats.org/officeDocument/2006/relationships/image" Target="../media/image2.png"/><Relationship Id="rId4" Type="http://schemas.openxmlformats.org/officeDocument/2006/relationships/image" Target="../media/image73.png"/><Relationship Id="rId9" Type="http://schemas.openxmlformats.org/officeDocument/2006/relationships/image" Target="../media/image69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8.png"/><Relationship Id="rId7" Type="http://schemas.openxmlformats.org/officeDocument/2006/relationships/image" Target="../media/image71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11" Type="http://schemas.openxmlformats.org/officeDocument/2006/relationships/image" Target="../media/image14.png"/><Relationship Id="rId5" Type="http://schemas.openxmlformats.org/officeDocument/2006/relationships/chart" Target="../charts/chart6.xml"/><Relationship Id="rId10" Type="http://schemas.openxmlformats.org/officeDocument/2006/relationships/image" Target="../media/image3.svg"/><Relationship Id="rId4" Type="http://schemas.openxmlformats.org/officeDocument/2006/relationships/image" Target="../media/image69.svg"/><Relationship Id="rId9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2.png"/><Relationship Id="rId3" Type="http://schemas.openxmlformats.org/officeDocument/2006/relationships/image" Target="../media/image77.svg"/><Relationship Id="rId7" Type="http://schemas.openxmlformats.org/officeDocument/2006/relationships/image" Target="../media/image81.svg"/><Relationship Id="rId12" Type="http://schemas.openxmlformats.org/officeDocument/2006/relationships/image" Target="../media/image15.svg"/><Relationship Id="rId2" Type="http://schemas.openxmlformats.org/officeDocument/2006/relationships/image" Target="../media/image76.png"/><Relationship Id="rId16" Type="http://schemas.openxmlformats.org/officeDocument/2006/relationships/image" Target="../media/image86.sv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80.png"/><Relationship Id="rId11" Type="http://schemas.openxmlformats.org/officeDocument/2006/relationships/image" Target="../media/image14.png"/><Relationship Id="rId5" Type="http://schemas.openxmlformats.org/officeDocument/2006/relationships/image" Target="../media/image79.svg"/><Relationship Id="rId15" Type="http://schemas.openxmlformats.org/officeDocument/2006/relationships/image" Target="../media/image85.png"/><Relationship Id="rId10" Type="http://schemas.openxmlformats.org/officeDocument/2006/relationships/image" Target="../media/image84.png"/><Relationship Id="rId4" Type="http://schemas.openxmlformats.org/officeDocument/2006/relationships/image" Target="../media/image78.png"/><Relationship Id="rId9" Type="http://schemas.openxmlformats.org/officeDocument/2006/relationships/image" Target="../media/image83.png"/><Relationship Id="rId14" Type="http://schemas.openxmlformats.org/officeDocument/2006/relationships/image" Target="../media/image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90.svg"/><Relationship Id="rId3" Type="http://schemas.openxmlformats.org/officeDocument/2006/relationships/image" Target="../media/image82.png"/><Relationship Id="rId7" Type="http://schemas.openxmlformats.org/officeDocument/2006/relationships/image" Target="../media/image15.svg"/><Relationship Id="rId12" Type="http://schemas.openxmlformats.org/officeDocument/2006/relationships/image" Target="../media/image8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14.png"/><Relationship Id="rId11" Type="http://schemas.openxmlformats.org/officeDocument/2006/relationships/image" Target="../media/image88.svg"/><Relationship Id="rId5" Type="http://schemas.openxmlformats.org/officeDocument/2006/relationships/image" Target="../media/image84.png"/><Relationship Id="rId10" Type="http://schemas.openxmlformats.org/officeDocument/2006/relationships/image" Target="../media/image87.png"/><Relationship Id="rId4" Type="http://schemas.openxmlformats.org/officeDocument/2006/relationships/image" Target="../media/image83.png"/><Relationship Id="rId9" Type="http://schemas.openxmlformats.org/officeDocument/2006/relationships/image" Target="../media/image3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svg"/><Relationship Id="rId3" Type="http://schemas.openxmlformats.org/officeDocument/2006/relationships/image" Target="../media/image14.png"/><Relationship Id="rId7" Type="http://schemas.openxmlformats.org/officeDocument/2006/relationships/image" Target="../media/image91.png"/><Relationship Id="rId12" Type="http://schemas.openxmlformats.org/officeDocument/2006/relationships/image" Target="../media/image96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svg"/><Relationship Id="rId11" Type="http://schemas.openxmlformats.org/officeDocument/2006/relationships/image" Target="../media/image95.png"/><Relationship Id="rId5" Type="http://schemas.openxmlformats.org/officeDocument/2006/relationships/image" Target="../media/image2.png"/><Relationship Id="rId10" Type="http://schemas.openxmlformats.org/officeDocument/2006/relationships/image" Target="../media/image94.svg"/><Relationship Id="rId4" Type="http://schemas.openxmlformats.org/officeDocument/2006/relationships/image" Target="../media/image15.svg"/><Relationship Id="rId9" Type="http://schemas.openxmlformats.org/officeDocument/2006/relationships/image" Target="../media/image9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5.sv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100.pn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5" Type="http://schemas.openxmlformats.org/officeDocument/2006/relationships/image" Target="../media/image3.svg"/><Relationship Id="rId10" Type="http://schemas.openxmlformats.org/officeDocument/2006/relationships/image" Target="../media/image104.png"/><Relationship Id="rId4" Type="http://schemas.openxmlformats.org/officeDocument/2006/relationships/image" Target="../media/image98.svg"/><Relationship Id="rId9" Type="http://schemas.openxmlformats.org/officeDocument/2006/relationships/image" Target="../media/image103.png"/><Relationship Id="rId1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5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svg"/><Relationship Id="rId13" Type="http://schemas.openxmlformats.org/officeDocument/2006/relationships/image" Target="../media/image115.png"/><Relationship Id="rId18" Type="http://schemas.openxmlformats.org/officeDocument/2006/relationships/image" Target="../media/image120.svg"/><Relationship Id="rId3" Type="http://schemas.openxmlformats.org/officeDocument/2006/relationships/image" Target="../media/image106.png"/><Relationship Id="rId21" Type="http://schemas.openxmlformats.org/officeDocument/2006/relationships/image" Target="../media/image15.svg"/><Relationship Id="rId7" Type="http://schemas.openxmlformats.org/officeDocument/2006/relationships/image" Target="../media/image110.png"/><Relationship Id="rId12" Type="http://schemas.openxmlformats.org/officeDocument/2006/relationships/image" Target="../media/image114.svg"/><Relationship Id="rId17" Type="http://schemas.openxmlformats.org/officeDocument/2006/relationships/image" Target="../media/image119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18.svg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109.svg"/><Relationship Id="rId11" Type="http://schemas.openxmlformats.org/officeDocument/2006/relationships/image" Target="../media/image113.png"/><Relationship Id="rId5" Type="http://schemas.openxmlformats.org/officeDocument/2006/relationships/image" Target="../media/image108.png"/><Relationship Id="rId15" Type="http://schemas.openxmlformats.org/officeDocument/2006/relationships/image" Target="../media/image117.png"/><Relationship Id="rId10" Type="http://schemas.openxmlformats.org/officeDocument/2006/relationships/image" Target="../media/image112.svg"/><Relationship Id="rId19" Type="http://schemas.openxmlformats.org/officeDocument/2006/relationships/image" Target="../media/image121.jpeg"/><Relationship Id="rId4" Type="http://schemas.openxmlformats.org/officeDocument/2006/relationships/image" Target="../media/image107.svg"/><Relationship Id="rId9" Type="http://schemas.openxmlformats.org/officeDocument/2006/relationships/image" Target="../media/image2.png"/><Relationship Id="rId14" Type="http://schemas.openxmlformats.org/officeDocument/2006/relationships/image" Target="../media/image116.svg"/><Relationship Id="rId22" Type="http://schemas.openxmlformats.org/officeDocument/2006/relationships/image" Target="../media/image3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svg"/><Relationship Id="rId13" Type="http://schemas.openxmlformats.org/officeDocument/2006/relationships/image" Target="../media/image115.png"/><Relationship Id="rId18" Type="http://schemas.openxmlformats.org/officeDocument/2006/relationships/image" Target="../media/image15.svg"/><Relationship Id="rId3" Type="http://schemas.openxmlformats.org/officeDocument/2006/relationships/image" Target="../media/image122.png"/><Relationship Id="rId21" Type="http://schemas.microsoft.com/office/2007/relationships/hdphoto" Target="../media/hdphoto3.wdp"/><Relationship Id="rId7" Type="http://schemas.openxmlformats.org/officeDocument/2006/relationships/image" Target="../media/image124.png"/><Relationship Id="rId12" Type="http://schemas.openxmlformats.org/officeDocument/2006/relationships/image" Target="../media/image114.svg"/><Relationship Id="rId17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118.svg"/><Relationship Id="rId20" Type="http://schemas.openxmlformats.org/officeDocument/2006/relationships/image" Target="../media/image126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107.svg"/><Relationship Id="rId11" Type="http://schemas.openxmlformats.org/officeDocument/2006/relationships/image" Target="../media/image113.png"/><Relationship Id="rId5" Type="http://schemas.openxmlformats.org/officeDocument/2006/relationships/image" Target="../media/image106.png"/><Relationship Id="rId15" Type="http://schemas.openxmlformats.org/officeDocument/2006/relationships/image" Target="../media/image117.png"/><Relationship Id="rId10" Type="http://schemas.openxmlformats.org/officeDocument/2006/relationships/image" Target="../media/image112.svg"/><Relationship Id="rId19" Type="http://schemas.openxmlformats.org/officeDocument/2006/relationships/image" Target="../media/image3.svg"/><Relationship Id="rId4" Type="http://schemas.openxmlformats.org/officeDocument/2006/relationships/image" Target="../media/image123.svg"/><Relationship Id="rId9" Type="http://schemas.openxmlformats.org/officeDocument/2006/relationships/image" Target="../media/image2.png"/><Relationship Id="rId14" Type="http://schemas.openxmlformats.org/officeDocument/2006/relationships/image" Target="../media/image116.svg"/><Relationship Id="rId22" Type="http://schemas.openxmlformats.org/officeDocument/2006/relationships/hyperlink" Target="https://unsplash.com/de/fotos/tagsuber-mull-auf-der-strasse-pouTfHUG430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4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microsoft.com/office/2007/relationships/hdphoto" Target="../media/hdphoto2.wdp"/><Relationship Id="rId4" Type="http://schemas.openxmlformats.org/officeDocument/2006/relationships/image" Target="../media/image15.svg"/><Relationship Id="rId9" Type="http://schemas.openxmlformats.org/officeDocument/2006/relationships/image" Target="../media/image4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svg"/><Relationship Id="rId13" Type="http://schemas.openxmlformats.org/officeDocument/2006/relationships/image" Target="../media/image14.png"/><Relationship Id="rId18" Type="http://schemas.openxmlformats.org/officeDocument/2006/relationships/hyperlink" Target="https://www.stw-mobile-machines.com/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15.png"/><Relationship Id="rId12" Type="http://schemas.openxmlformats.org/officeDocument/2006/relationships/image" Target="../media/image120.svg"/><Relationship Id="rId17" Type="http://schemas.microsoft.com/office/2007/relationships/hdphoto" Target="../media/hdphoto4.wdp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27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114.svg"/><Relationship Id="rId11" Type="http://schemas.openxmlformats.org/officeDocument/2006/relationships/image" Target="../media/image119.png"/><Relationship Id="rId5" Type="http://schemas.openxmlformats.org/officeDocument/2006/relationships/image" Target="../media/image113.png"/><Relationship Id="rId15" Type="http://schemas.openxmlformats.org/officeDocument/2006/relationships/image" Target="../media/image3.svg"/><Relationship Id="rId10" Type="http://schemas.openxmlformats.org/officeDocument/2006/relationships/image" Target="../media/image118.svg"/><Relationship Id="rId19" Type="http://schemas.openxmlformats.org/officeDocument/2006/relationships/image" Target="../media/image128.png"/><Relationship Id="rId4" Type="http://schemas.openxmlformats.org/officeDocument/2006/relationships/image" Target="../media/image112.svg"/><Relationship Id="rId9" Type="http://schemas.openxmlformats.org/officeDocument/2006/relationships/image" Target="../media/image117.png"/><Relationship Id="rId14" Type="http://schemas.openxmlformats.org/officeDocument/2006/relationships/image" Target="../media/image15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32.sv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.svg"/><Relationship Id="rId12" Type="http://schemas.openxmlformats.org/officeDocument/2006/relationships/image" Target="../media/image131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39.xml"/><Relationship Id="rId6" Type="http://schemas.openxmlformats.org/officeDocument/2006/relationships/image" Target="../media/image2.png"/><Relationship Id="rId11" Type="http://schemas.openxmlformats.org/officeDocument/2006/relationships/image" Target="../media/image130.svg"/><Relationship Id="rId5" Type="http://schemas.openxmlformats.org/officeDocument/2006/relationships/image" Target="../media/image4.emf"/><Relationship Id="rId10" Type="http://schemas.openxmlformats.org/officeDocument/2006/relationships/image" Target="../media/image129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15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34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5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40.xml"/><Relationship Id="rId6" Type="http://schemas.openxmlformats.org/officeDocument/2006/relationships/image" Target="../media/image135.jpeg"/><Relationship Id="rId5" Type="http://schemas.openxmlformats.org/officeDocument/2006/relationships/image" Target="../media/image4.emf"/><Relationship Id="rId10" Type="http://schemas.openxmlformats.org/officeDocument/2006/relationships/image" Target="../media/image3.svg"/><Relationship Id="rId4" Type="http://schemas.openxmlformats.org/officeDocument/2006/relationships/oleObject" Target="../embeddings/oleObject56.bin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13" Type="http://schemas.openxmlformats.org/officeDocument/2006/relationships/image" Target="../media/image46.png"/><Relationship Id="rId18" Type="http://schemas.openxmlformats.org/officeDocument/2006/relationships/image" Target="../media/image51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4.png"/><Relationship Id="rId12" Type="http://schemas.openxmlformats.org/officeDocument/2006/relationships/image" Target="../media/image15.svg"/><Relationship Id="rId17" Type="http://schemas.openxmlformats.org/officeDocument/2006/relationships/image" Target="../media/image50.png"/><Relationship Id="rId2" Type="http://schemas.openxmlformats.org/officeDocument/2006/relationships/slideLayout" Target="../slideLayouts/slideLayout66.xml"/><Relationship Id="rId16" Type="http://schemas.openxmlformats.org/officeDocument/2006/relationships/image" Target="../media/image49.svg"/><Relationship Id="rId1" Type="http://schemas.openxmlformats.org/officeDocument/2006/relationships/tags" Target="../tags/tag136.xml"/><Relationship Id="rId6" Type="http://schemas.openxmlformats.org/officeDocument/2006/relationships/image" Target="../media/image43.jpeg"/><Relationship Id="rId11" Type="http://schemas.openxmlformats.org/officeDocument/2006/relationships/image" Target="../media/image14.png"/><Relationship Id="rId5" Type="http://schemas.openxmlformats.org/officeDocument/2006/relationships/image" Target="../media/image4.emf"/><Relationship Id="rId15" Type="http://schemas.openxmlformats.org/officeDocument/2006/relationships/image" Target="../media/image48.png"/><Relationship Id="rId10" Type="http://schemas.openxmlformats.org/officeDocument/2006/relationships/image" Target="../media/image3.svg"/><Relationship Id="rId4" Type="http://schemas.openxmlformats.org/officeDocument/2006/relationships/oleObject" Target="../embeddings/oleObject54.bin"/><Relationship Id="rId9" Type="http://schemas.openxmlformats.org/officeDocument/2006/relationships/image" Target="../media/image2.png"/><Relationship Id="rId14" Type="http://schemas.openxmlformats.org/officeDocument/2006/relationships/image" Target="../media/image47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3.svg"/><Relationship Id="rId12" Type="http://schemas.openxmlformats.org/officeDocument/2006/relationships/image" Target="../media/image58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37.xml"/><Relationship Id="rId6" Type="http://schemas.openxmlformats.org/officeDocument/2006/relationships/image" Target="../media/image52.png"/><Relationship Id="rId11" Type="http://schemas.openxmlformats.org/officeDocument/2006/relationships/image" Target="../media/image57.svg"/><Relationship Id="rId5" Type="http://schemas.openxmlformats.org/officeDocument/2006/relationships/image" Target="../media/image4.emf"/><Relationship Id="rId15" Type="http://schemas.openxmlformats.org/officeDocument/2006/relationships/image" Target="../media/image15.svg"/><Relationship Id="rId10" Type="http://schemas.openxmlformats.org/officeDocument/2006/relationships/image" Target="../media/image56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55.svg"/><Relationship Id="rId1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1.svg"/><Relationship Id="rId12" Type="http://schemas.openxmlformats.org/officeDocument/2006/relationships/image" Target="../media/image66.png"/><Relationship Id="rId17" Type="http://schemas.openxmlformats.org/officeDocument/2006/relationships/image" Target="../media/image15.sv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4.png"/><Relationship Id="rId1" Type="http://schemas.openxmlformats.org/officeDocument/2006/relationships/tags" Target="../tags/tag138.xml"/><Relationship Id="rId6" Type="http://schemas.openxmlformats.org/officeDocument/2006/relationships/image" Target="../media/image60.png"/><Relationship Id="rId11" Type="http://schemas.openxmlformats.org/officeDocument/2006/relationships/image" Target="../media/image65.svg"/><Relationship Id="rId5" Type="http://schemas.openxmlformats.org/officeDocument/2006/relationships/image" Target="../media/image4.emf"/><Relationship Id="rId15" Type="http://schemas.openxmlformats.org/officeDocument/2006/relationships/image" Target="../media/image3.svg"/><Relationship Id="rId10" Type="http://schemas.openxmlformats.org/officeDocument/2006/relationships/image" Target="../media/image64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63.svg"/><Relationship Id="rId1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13" Type="http://schemas.openxmlformats.org/officeDocument/2006/relationships/image" Target="../media/image15.svg"/><Relationship Id="rId3" Type="http://schemas.openxmlformats.org/officeDocument/2006/relationships/chart" Target="../charts/chart1.xml"/><Relationship Id="rId7" Type="http://schemas.openxmlformats.org/officeDocument/2006/relationships/image" Target="../media/image71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11" Type="http://schemas.openxmlformats.org/officeDocument/2006/relationships/image" Target="../media/image3.svg"/><Relationship Id="rId5" Type="http://schemas.openxmlformats.org/officeDocument/2006/relationships/image" Target="../media/image69.svg"/><Relationship Id="rId10" Type="http://schemas.openxmlformats.org/officeDocument/2006/relationships/image" Target="../media/image2.png"/><Relationship Id="rId4" Type="http://schemas.openxmlformats.org/officeDocument/2006/relationships/image" Target="../media/image68.png"/><Relationship Id="rId9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70.png"/><Relationship Id="rId7" Type="http://schemas.openxmlformats.org/officeDocument/2006/relationships/image" Target="../media/image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72.svg"/><Relationship Id="rId10" Type="http://schemas.openxmlformats.org/officeDocument/2006/relationships/chart" Target="../charts/chart3.xml"/><Relationship Id="rId4" Type="http://schemas.openxmlformats.org/officeDocument/2006/relationships/image" Target="../media/image71.png"/><Relationship Id="rId9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96E1C6D-5AE2-2C37-E81C-8C7DEB555FA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en-US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37C2A89-2CA6-E0E3-168B-CFB641775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2178645"/>
            <a:ext cx="6120000" cy="1718850"/>
          </a:xfrm>
        </p:spPr>
        <p:txBody>
          <a:bodyPr/>
          <a:lstStyle/>
          <a:p>
            <a:r>
              <a:rPr lang="en-US" sz="6000" err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rPr>
              <a:t>Luftschloss</a:t>
            </a:r>
            <a:r>
              <a:rPr lang="en-US" sz="60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6000" err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rPr>
              <a:t>oder</a:t>
            </a:r>
            <a:r>
              <a:rPr lang="en-US" sz="60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rPr>
              <a:t> morgen </a:t>
            </a:r>
            <a:r>
              <a:rPr lang="en-US" sz="6000" err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rPr>
              <a:t>Realität</a:t>
            </a:r>
            <a:r>
              <a:rPr lang="en-US" sz="60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rPr>
              <a:t>?</a:t>
            </a:r>
          </a:p>
          <a:p>
            <a:endParaRPr lang="en-US" sz="1800"/>
          </a:p>
          <a:p>
            <a:r>
              <a:rPr lang="en-US" sz="3600" err="1"/>
              <a:t>Herzlich</a:t>
            </a:r>
            <a:r>
              <a:rPr lang="en-US" sz="3600"/>
              <a:t> </a:t>
            </a:r>
            <a:r>
              <a:rPr lang="en-US" sz="3600" err="1"/>
              <a:t>Willkommen</a:t>
            </a:r>
            <a:endParaRPr lang="en-US" sz="3600"/>
          </a:p>
          <a:p>
            <a:r>
              <a:rPr lang="en-US" sz="3600" err="1"/>
              <a:t>zur</a:t>
            </a:r>
            <a:r>
              <a:rPr lang="en-US" sz="3600"/>
              <a:t> Masterclass!</a:t>
            </a:r>
          </a:p>
          <a:p>
            <a:endParaRPr lang="en-US" sz="3200"/>
          </a:p>
          <a:p>
            <a:r>
              <a:rPr lang="en-US" sz="1400"/>
              <a:t>26.06.2025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3A3E09-5D9D-C7D0-42CE-0275357CB7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64800"/>
            <a:ext cx="7608577" cy="1613845"/>
          </a:xfrm>
        </p:spPr>
        <p:txBody>
          <a:bodyPr anchor="ctr"/>
          <a:lstStyle/>
          <a:p>
            <a:pPr>
              <a:spcBef>
                <a:spcPts val="600"/>
              </a:spcBef>
            </a:pPr>
            <a:r>
              <a:rPr lang="en-US" sz="6000"/>
              <a:t>Twin Transforma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684191A-E686-400A-5728-8511E34779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0706" y="6057929"/>
            <a:ext cx="1438904" cy="50361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7844D07-C296-27C6-1230-572BC4A7F8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39610" y="6120000"/>
            <a:ext cx="1701528" cy="64870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60F9CBA-425C-388C-FCF3-B0F840D804C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505" t="33774" r="8104" b="4233"/>
          <a:stretch/>
        </p:blipFill>
        <p:spPr>
          <a:xfrm>
            <a:off x="6704371" y="1928731"/>
            <a:ext cx="5031573" cy="419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2105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A4124-D4D4-14D6-8F01-C33CDE322C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64E896B-E6CD-41A3-F810-EDA64492754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DDA0C0F5-BEE1-C2BD-46BD-799A174BE0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02221" y="555716"/>
            <a:ext cx="2106672" cy="192240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1650EC2-6BDF-02EB-3678-ABC565AD69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3BCF-C0F1-4720-B5E7-944FE630E67D}" type="slidenum">
              <a:rPr lang="de-DE" smtClean="0">
                <a:solidFill>
                  <a:srgbClr val="CDCDCD">
                    <a:lumMod val="75000"/>
                  </a:srgbClr>
                </a:solidFill>
                <a:latin typeface="Segoe UI"/>
              </a:rPr>
              <a:pPr/>
              <a:t>10</a:t>
            </a:fld>
            <a:endParaRPr lang="de-DE">
              <a:solidFill>
                <a:srgbClr val="CDCDCD">
                  <a:lumMod val="75000"/>
                </a:srgbClr>
              </a:solidFill>
              <a:latin typeface="Segoe U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5AB475-4A00-B74F-CFC4-ED9BDFAF02C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de-DE">
              <a:solidFill>
                <a:srgbClr val="CDCDCD">
                  <a:lumMod val="75000"/>
                </a:srgbClr>
              </a:solidFill>
              <a:latin typeface="Segoe UI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4E4B150-79B8-DCB3-B627-615D9BFCE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as haben wir herausgefunden?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F52C11C2-A3F6-F3C1-89E9-D351FA3F79B3}"/>
              </a:ext>
            </a:extLst>
          </p:cNvPr>
          <p:cNvSpPr/>
          <p:nvPr/>
        </p:nvSpPr>
        <p:spPr>
          <a:xfrm>
            <a:off x="9412521" y="645987"/>
            <a:ext cx="864000" cy="864000"/>
          </a:xfrm>
          <a:prstGeom prst="ellipse">
            <a:avLst/>
          </a:prstGeom>
          <a:solidFill>
            <a:srgbClr val="00B050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de-DE" sz="2400" b="1">
              <a:solidFill>
                <a:srgbClr val="FFFFFF"/>
              </a:solidFill>
              <a:latin typeface="Segoe UI Semibold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217344E1-0E57-11C9-7E48-F2908DF978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12521" y="652916"/>
            <a:ext cx="864000" cy="864000"/>
          </a:xfrm>
          <a:prstGeom prst="rect">
            <a:avLst/>
          </a:prstGeom>
        </p:spPr>
      </p:pic>
      <p:sp>
        <p:nvSpPr>
          <p:cNvPr id="12" name="shape">
            <a:extLst>
              <a:ext uri="{FF2B5EF4-FFF2-40B4-BE49-F238E27FC236}">
                <a16:creationId xmlns:a16="http://schemas.microsoft.com/office/drawing/2014/main" id="{95D6B522-986D-BEC1-D081-923B0A62EE5D}"/>
              </a:ext>
            </a:extLst>
          </p:cNvPr>
          <p:cNvSpPr/>
          <p:nvPr/>
        </p:nvSpPr>
        <p:spPr>
          <a:xfrm rot="10800000">
            <a:off x="-1664273" y="5242230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endParaRPr lang="de-DE" sz="1013">
              <a:solidFill>
                <a:srgbClr val="FF634D"/>
              </a:solidFill>
              <a:latin typeface="Segoe UI"/>
            </a:endParaRPr>
          </a:p>
        </p:txBody>
      </p:sp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0CB76F61-9CDF-2238-CE75-C3CA1B981570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6" r="56"/>
          <a:stretch/>
        </p:blipFill>
        <p:spPr>
          <a:xfrm>
            <a:off x="232606" y="6324749"/>
            <a:ext cx="1400055" cy="539635"/>
          </a:xfrm>
          <a:prstGeom prst="rect">
            <a:avLst/>
          </a:prstGeom>
        </p:spPr>
      </p:pic>
      <p:sp>
        <p:nvSpPr>
          <p:cNvPr id="23" name="Ellipse 22">
            <a:extLst>
              <a:ext uri="{FF2B5EF4-FFF2-40B4-BE49-F238E27FC236}">
                <a16:creationId xmlns:a16="http://schemas.microsoft.com/office/drawing/2014/main" id="{61B05797-74E0-DF37-C7AD-8B893B021730}"/>
              </a:ext>
            </a:extLst>
          </p:cNvPr>
          <p:cNvSpPr/>
          <p:nvPr/>
        </p:nvSpPr>
        <p:spPr>
          <a:xfrm>
            <a:off x="8981817" y="-6285264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endParaRPr lang="de-DE" sz="1013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EBA8EDDD-3445-EA3E-F308-318C3A82EC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11516" y="43149"/>
            <a:ext cx="1613009" cy="635715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D2166705-5A2A-6796-9D9C-CE20C47CB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9108395" cy="648000"/>
          </a:xfrm>
        </p:spPr>
        <p:txBody>
          <a:bodyPr/>
          <a:lstStyle/>
          <a:p>
            <a:r>
              <a:rPr lang="de-DE" b="1">
                <a:ea typeface="MS Gothic" panose="020B0609070205080204" pitchFamily="49" charset="-128"/>
                <a:cs typeface="Times New Roman" panose="02020603050405020304" pitchFamily="18" charset="0"/>
              </a:rPr>
              <a:t>Wie hoch ist der Automatisierungsgrad bei Erfassung, Reporting und Auswertung dieser Daten in Ihrem Unternehmen?</a:t>
            </a:r>
          </a:p>
        </p:txBody>
      </p:sp>
      <p:sp>
        <p:nvSpPr>
          <p:cNvPr id="14" name="Textfeld 3">
            <a:extLst>
              <a:ext uri="{FF2B5EF4-FFF2-40B4-BE49-F238E27FC236}">
                <a16:creationId xmlns:a16="http://schemas.microsoft.com/office/drawing/2014/main" id="{19A89108-3401-1AB9-A261-49DF02AD69D7}"/>
              </a:ext>
            </a:extLst>
          </p:cNvPr>
          <p:cNvSpPr txBox="1"/>
          <p:nvPr/>
        </p:nvSpPr>
        <p:spPr>
          <a:xfrm>
            <a:off x="5033860" y="4139936"/>
            <a:ext cx="6399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49%</a:t>
            </a:r>
          </a:p>
        </p:txBody>
      </p:sp>
      <p:sp>
        <p:nvSpPr>
          <p:cNvPr id="15" name="Textfeld 19">
            <a:extLst>
              <a:ext uri="{FF2B5EF4-FFF2-40B4-BE49-F238E27FC236}">
                <a16:creationId xmlns:a16="http://schemas.microsoft.com/office/drawing/2014/main" id="{E3F57662-41E8-9A28-8FF8-E170BDC3C215}"/>
              </a:ext>
            </a:extLst>
          </p:cNvPr>
          <p:cNvSpPr txBox="1"/>
          <p:nvPr/>
        </p:nvSpPr>
        <p:spPr>
          <a:xfrm>
            <a:off x="6405124" y="3264342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19%</a:t>
            </a:r>
          </a:p>
        </p:txBody>
      </p:sp>
      <p:sp>
        <p:nvSpPr>
          <p:cNvPr id="16" name="Textfeld 20">
            <a:extLst>
              <a:ext uri="{FF2B5EF4-FFF2-40B4-BE49-F238E27FC236}">
                <a16:creationId xmlns:a16="http://schemas.microsoft.com/office/drawing/2014/main" id="{12AB664A-CB6A-32A9-D9A8-D6CE1268A2D7}"/>
              </a:ext>
            </a:extLst>
          </p:cNvPr>
          <p:cNvSpPr txBox="1"/>
          <p:nvPr/>
        </p:nvSpPr>
        <p:spPr>
          <a:xfrm>
            <a:off x="6557351" y="4624808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1"/>
                </a:solidFill>
                <a:latin typeface="+mj-lt"/>
              </a:rPr>
              <a:t>31%</a:t>
            </a:r>
          </a:p>
        </p:txBody>
      </p:sp>
      <p:sp>
        <p:nvSpPr>
          <p:cNvPr id="17" name="Textfeld 21">
            <a:extLst>
              <a:ext uri="{FF2B5EF4-FFF2-40B4-BE49-F238E27FC236}">
                <a16:creationId xmlns:a16="http://schemas.microsoft.com/office/drawing/2014/main" id="{7AE87E44-7DA6-2926-DF6D-6237819E8E83}"/>
              </a:ext>
            </a:extLst>
          </p:cNvPr>
          <p:cNvSpPr txBox="1"/>
          <p:nvPr/>
        </p:nvSpPr>
        <p:spPr>
          <a:xfrm>
            <a:off x="7004968" y="3514727"/>
            <a:ext cx="471604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1%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A4B1C21C-3848-C444-D703-E0BC2C7A8F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0229874"/>
              </p:ext>
            </p:extLst>
          </p:nvPr>
        </p:nvGraphicFramePr>
        <p:xfrm>
          <a:off x="2887201" y="2409933"/>
          <a:ext cx="6525320" cy="3415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Sprechblase: rechteckig 17">
            <a:extLst>
              <a:ext uri="{FF2B5EF4-FFF2-40B4-BE49-F238E27FC236}">
                <a16:creationId xmlns:a16="http://schemas.microsoft.com/office/drawing/2014/main" id="{7EF923D6-82E8-52B0-A437-A21205248611}"/>
              </a:ext>
            </a:extLst>
          </p:cNvPr>
          <p:cNvSpPr/>
          <p:nvPr/>
        </p:nvSpPr>
        <p:spPr>
          <a:xfrm>
            <a:off x="7982027" y="2784537"/>
            <a:ext cx="2294494" cy="864000"/>
          </a:xfrm>
          <a:prstGeom prst="wedgeRectCallout">
            <a:avLst>
              <a:gd name="adj1" fmla="val -66127"/>
              <a:gd name="adj2" fmla="val 40351"/>
            </a:avLst>
          </a:prstGeom>
          <a:solidFill>
            <a:srgbClr val="DFE3F0"/>
          </a:solidFill>
          <a:ln w="9525" cap="flat">
            <a:solidFill>
              <a:schemeClr val="accent4"/>
            </a:solidFill>
            <a:prstDash val="solid"/>
            <a:miter/>
          </a:ln>
        </p:spPr>
        <p:txBody>
          <a:bodyPr lIns="108000" tIns="72000" rIns="108000" bIns="7200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400" i="0" err="1">
                <a:effectLst/>
              </a:rPr>
              <a:t>Hauptsächlich</a:t>
            </a:r>
            <a:r>
              <a:rPr lang="en-US" sz="1400" i="0">
                <a:effectLst/>
              </a:rPr>
              <a:t> </a:t>
            </a:r>
            <a:r>
              <a:rPr lang="en-US" sz="1400" i="0" err="1">
                <a:effectLst/>
              </a:rPr>
              <a:t>manuell</a:t>
            </a:r>
            <a:r>
              <a:rPr lang="en-US" sz="1400" i="0">
                <a:effectLst/>
              </a:rPr>
              <a:t>, </a:t>
            </a:r>
            <a:r>
              <a:rPr lang="en-US" sz="1400" i="0" err="1">
                <a:effectLst/>
              </a:rPr>
              <a:t>mit</a:t>
            </a:r>
            <a:r>
              <a:rPr lang="en-US" sz="1400" i="0">
                <a:effectLst/>
              </a:rPr>
              <a:t> </a:t>
            </a:r>
            <a:r>
              <a:rPr lang="en-US" sz="1400" i="0" err="1">
                <a:effectLst/>
              </a:rPr>
              <a:t>minimaler</a:t>
            </a:r>
            <a:r>
              <a:rPr lang="en-US" sz="1400" i="0">
                <a:effectLst/>
              </a:rPr>
              <a:t> </a:t>
            </a:r>
            <a:r>
              <a:rPr lang="en-US" sz="1400" i="0" err="1">
                <a:effectLst/>
              </a:rPr>
              <a:t>Automatisierung</a:t>
            </a:r>
            <a:endParaRPr lang="en-US" sz="1400" i="0">
              <a:effectLst/>
            </a:endParaRPr>
          </a:p>
        </p:txBody>
      </p:sp>
      <p:sp>
        <p:nvSpPr>
          <p:cNvPr id="19" name="Textfeld 3">
            <a:extLst>
              <a:ext uri="{FF2B5EF4-FFF2-40B4-BE49-F238E27FC236}">
                <a16:creationId xmlns:a16="http://schemas.microsoft.com/office/drawing/2014/main" id="{93336FBC-A6DC-744A-25E0-E0BCECDEA34F}"/>
              </a:ext>
            </a:extLst>
          </p:cNvPr>
          <p:cNvSpPr txBox="1"/>
          <p:nvPr/>
        </p:nvSpPr>
        <p:spPr>
          <a:xfrm>
            <a:off x="5651314" y="4827006"/>
            <a:ext cx="6399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49%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28BEAB1-3A07-02B9-220F-EFF8BFE33135}"/>
              </a:ext>
            </a:extLst>
          </p:cNvPr>
          <p:cNvSpPr txBox="1"/>
          <p:nvPr/>
        </p:nvSpPr>
        <p:spPr>
          <a:xfrm>
            <a:off x="5157557" y="3244334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19%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2C23286-E8AF-90E3-3A17-2038E743C1B7}"/>
              </a:ext>
            </a:extLst>
          </p:cNvPr>
          <p:cNvSpPr txBox="1"/>
          <p:nvPr/>
        </p:nvSpPr>
        <p:spPr>
          <a:xfrm>
            <a:off x="6526325" y="3244334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1"/>
                </a:solidFill>
                <a:latin typeface="+mj-lt"/>
              </a:rPr>
              <a:t>31%</a:t>
            </a:r>
          </a:p>
        </p:txBody>
      </p:sp>
      <p:sp>
        <p:nvSpPr>
          <p:cNvPr id="24" name="Textfeld 21">
            <a:extLst>
              <a:ext uri="{FF2B5EF4-FFF2-40B4-BE49-F238E27FC236}">
                <a16:creationId xmlns:a16="http://schemas.microsoft.com/office/drawing/2014/main" id="{517DE241-5598-70A7-6ABC-875A57E84B88}"/>
              </a:ext>
            </a:extLst>
          </p:cNvPr>
          <p:cNvSpPr txBox="1"/>
          <p:nvPr/>
        </p:nvSpPr>
        <p:spPr>
          <a:xfrm>
            <a:off x="5872920" y="2913744"/>
            <a:ext cx="471604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1%</a:t>
            </a:r>
          </a:p>
        </p:txBody>
      </p:sp>
      <p:sp>
        <p:nvSpPr>
          <p:cNvPr id="25" name="Sprechblase: rechteckig 24">
            <a:extLst>
              <a:ext uri="{FF2B5EF4-FFF2-40B4-BE49-F238E27FC236}">
                <a16:creationId xmlns:a16="http://schemas.microsoft.com/office/drawing/2014/main" id="{319541DA-9FF0-5EFB-13EC-C97F4356464A}"/>
              </a:ext>
            </a:extLst>
          </p:cNvPr>
          <p:cNvSpPr/>
          <p:nvPr/>
        </p:nvSpPr>
        <p:spPr>
          <a:xfrm>
            <a:off x="8133545" y="4994140"/>
            <a:ext cx="2693800" cy="1032633"/>
          </a:xfrm>
          <a:prstGeom prst="wedgeRectCallout">
            <a:avLst>
              <a:gd name="adj1" fmla="val -82236"/>
              <a:gd name="adj2" fmla="val -28619"/>
            </a:avLst>
          </a:prstGeom>
          <a:solidFill>
            <a:srgbClr val="5B26B7">
              <a:alpha val="30196"/>
            </a:srgbClr>
          </a:solidFill>
          <a:ln w="9525" cap="flat">
            <a:solidFill>
              <a:schemeClr val="accent3"/>
            </a:solidFill>
            <a:prstDash val="solid"/>
            <a:miter/>
          </a:ln>
        </p:spPr>
        <p:txBody>
          <a:bodyPr lIns="108000" tIns="72000" rIns="108000" bIns="72000" rtlCol="0" anchor="ctr" anchorCtr="0"/>
          <a:lstStyle/>
          <a:p>
            <a:pPr algn="ctr" rtl="0">
              <a:defRPr sz="1200" b="0" i="0" u="none" strike="noStrike" kern="1200" baseline="0">
                <a:solidFill>
                  <a:srgbClr val="303030"/>
                </a:solidFill>
                <a:latin typeface="+mn-lt"/>
                <a:ea typeface="+mn-ea"/>
                <a:cs typeface="+mn-cs"/>
              </a:defRPr>
            </a:pPr>
            <a:fld id="{177C2CFB-3FB5-49BB-B1BC-077C06CC1200}" type="CATEGORYNAME">
              <a:rPr lang="de-DE" sz="1400" smtClean="0">
                <a:latin typeface="Segoe UI" panose="020B0502040204020203" pitchFamily="34" charset="0"/>
                <a:cs typeface="Segoe UI" panose="020B0502040204020203" pitchFamily="34" charset="0"/>
              </a:rPr>
              <a:pPr algn="ctr" rtl="0">
                <a:defRPr sz="1200" b="0" i="0" u="none" strike="noStrike" kern="1200" baseline="0">
                  <a:solidFill>
                    <a:srgbClr val="303030"/>
                  </a:solidFill>
                  <a:latin typeface="+mn-lt"/>
                  <a:ea typeface="+mn-ea"/>
                  <a:cs typeface="+mn-cs"/>
                </a:defRPr>
              </a:pPr>
              <a:t>Teilweise automatisiert, der Großteil der Datenerfassung und -auswertung wird aber noch manuell durchgeführt.</a:t>
            </a:fld>
            <a:endParaRPr lang="de-DE" sz="1050"/>
          </a:p>
        </p:txBody>
      </p:sp>
      <p:sp>
        <p:nvSpPr>
          <p:cNvPr id="29" name="Sprechblase: rechteckig 28">
            <a:extLst>
              <a:ext uri="{FF2B5EF4-FFF2-40B4-BE49-F238E27FC236}">
                <a16:creationId xmlns:a16="http://schemas.microsoft.com/office/drawing/2014/main" id="{C5C5E668-374C-39EF-A4AB-BCAB1F8123E2}"/>
              </a:ext>
            </a:extLst>
          </p:cNvPr>
          <p:cNvSpPr/>
          <p:nvPr/>
        </p:nvSpPr>
        <p:spPr>
          <a:xfrm>
            <a:off x="1632661" y="4092539"/>
            <a:ext cx="2266021" cy="850891"/>
          </a:xfrm>
          <a:prstGeom prst="wedgeRectCallout">
            <a:avLst>
              <a:gd name="adj1" fmla="val 89463"/>
              <a:gd name="adj2" fmla="val -132934"/>
            </a:avLst>
          </a:prstGeom>
          <a:solidFill>
            <a:schemeClr val="accent2">
              <a:alpha val="30196"/>
            </a:schemeClr>
          </a:solidFill>
          <a:ln w="9525" cap="flat">
            <a:solidFill>
              <a:schemeClr val="accent2"/>
            </a:solidFill>
            <a:prstDash val="solid"/>
            <a:miter/>
          </a:ln>
        </p:spPr>
        <p:txBody>
          <a:bodyPr lIns="108000" tIns="72000" rIns="108000" bIns="72000" rtlCol="0" anchor="ctr" anchorCtr="0"/>
          <a:lstStyle/>
          <a:p>
            <a:pPr algn="ctr" rtl="0">
              <a:defRPr sz="1200" b="0" i="0" u="none" strike="noStrike" kern="1200" baseline="0">
                <a:solidFill>
                  <a:srgbClr val="303030"/>
                </a:solidFill>
                <a:latin typeface="+mn-lt"/>
                <a:ea typeface="+mn-ea"/>
                <a:cs typeface="+mn-cs"/>
              </a:defRPr>
            </a:pPr>
            <a:fld id="{A8B10825-D978-4EEA-BC35-3BCDC7170270}" type="CATEGORYNAME">
              <a:rPr lang="de-DE" sz="1400" smtClean="0">
                <a:latin typeface="Segoe UI" panose="020B0502040204020203" pitchFamily="34" charset="0"/>
                <a:cs typeface="Segoe UI" panose="020B0502040204020203" pitchFamily="34" charset="0"/>
              </a:rPr>
              <a:pPr/>
              <a:t>Meistens automatisiert, mit nur wenigen manuellen Eingriffen.</a:t>
            </a:fld>
            <a:endParaRPr lang="de-DE" sz="1050"/>
          </a:p>
        </p:txBody>
      </p:sp>
      <p:sp>
        <p:nvSpPr>
          <p:cNvPr id="32" name="Sprechblase: rechteckig 31">
            <a:extLst>
              <a:ext uri="{FF2B5EF4-FFF2-40B4-BE49-F238E27FC236}">
                <a16:creationId xmlns:a16="http://schemas.microsoft.com/office/drawing/2014/main" id="{65B118E6-155D-EDD9-EC5E-B3440FA8E8FD}"/>
              </a:ext>
            </a:extLst>
          </p:cNvPr>
          <p:cNvSpPr/>
          <p:nvPr/>
        </p:nvSpPr>
        <p:spPr>
          <a:xfrm>
            <a:off x="1212781" y="2008990"/>
            <a:ext cx="3429138" cy="850892"/>
          </a:xfrm>
          <a:prstGeom prst="wedgeRectCallout">
            <a:avLst>
              <a:gd name="adj1" fmla="val 92014"/>
              <a:gd name="adj2" fmla="val 12956"/>
            </a:avLst>
          </a:prstGeom>
          <a:solidFill>
            <a:schemeClr val="accent1">
              <a:alpha val="30196"/>
            </a:schemeClr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lIns="108000" tIns="72000" rIns="108000" bIns="72000" rtlCol="0" anchor="ctr" anchorCtr="0"/>
          <a:lstStyle/>
          <a:p>
            <a:pPr algn="ctr">
              <a:defRPr sz="1200" b="0" i="0" u="none" strike="noStrike" kern="1200" baseline="0">
                <a:solidFill>
                  <a:srgbClr val="303030"/>
                </a:solidFill>
                <a:latin typeface="+mn-lt"/>
                <a:ea typeface="+mn-ea"/>
                <a:cs typeface="+mn-cs"/>
              </a:defRPr>
            </a:pPr>
            <a:fld id="{EAEA9C9B-9DDE-4814-9445-AE3B24BF29B1}" type="CATEGORYNAME">
              <a:rPr lang="de-DE" sz="1400" smtClean="0">
                <a:latin typeface="Segoe UI" panose="020B0502040204020203" pitchFamily="34" charset="0"/>
                <a:cs typeface="Segoe UI" panose="020B0502040204020203" pitchFamily="34" charset="0"/>
              </a:rPr>
              <a:pPr algn="ctr">
                <a:defRPr sz="1200" b="0" i="0" u="none" strike="noStrike" kern="1200" baseline="0">
                  <a:solidFill>
                    <a:srgbClr val="303030"/>
                  </a:solidFill>
                  <a:latin typeface="+mn-lt"/>
                  <a:ea typeface="+mn-ea"/>
                  <a:cs typeface="+mn-cs"/>
                </a:defRPr>
              </a:pPr>
              <a:t>Vollständig automatisiert, mit fortschrittlichen Systemen, die die Prozesse effizient und effektiv gestalten.</a:t>
            </a:fld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9836986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BF2295-D0FE-DD0F-A8D2-41F2527F4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C525E7B-9ECC-1F00-0075-D9C0E895F87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graphicFrame>
        <p:nvGraphicFramePr>
          <p:cNvPr id="12" name="Chart Placeholder 28">
            <a:extLst>
              <a:ext uri="{FF2B5EF4-FFF2-40B4-BE49-F238E27FC236}">
                <a16:creationId xmlns:a16="http://schemas.microsoft.com/office/drawing/2014/main" id="{10AECA29-9C1E-9081-3725-B96E533C2C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6298615"/>
              </p:ext>
            </p:extLst>
          </p:nvPr>
        </p:nvGraphicFramePr>
        <p:xfrm>
          <a:off x="525908" y="2286000"/>
          <a:ext cx="6601139" cy="3889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006D5C68-A5B9-C44D-162B-F35FD017DE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1396" y="563876"/>
            <a:ext cx="2106672" cy="19224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C0E19395-BCE8-7505-14E7-6F89442143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98911" y="554911"/>
            <a:ext cx="2186356" cy="1922400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25A3126D-E7BB-D29F-EFB9-97480ECB6FC9}"/>
              </a:ext>
            </a:extLst>
          </p:cNvPr>
          <p:cNvGrpSpPr/>
          <p:nvPr/>
        </p:nvGrpSpPr>
        <p:grpSpPr>
          <a:xfrm>
            <a:off x="6707273" y="2785527"/>
            <a:ext cx="4920727" cy="900000"/>
            <a:chOff x="6707273" y="2785527"/>
            <a:chExt cx="4920727" cy="900000"/>
          </a:xfrm>
        </p:grpSpPr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D723331B-AD57-78B3-0178-899B4D732A23}"/>
                </a:ext>
              </a:extLst>
            </p:cNvPr>
            <p:cNvSpPr/>
            <p:nvPr/>
          </p:nvSpPr>
          <p:spPr>
            <a:xfrm>
              <a:off x="6748872" y="2785527"/>
              <a:ext cx="4879128" cy="90000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30196"/>
              </a:schemeClr>
            </a:solidFill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vert="horz" lIns="36000" tIns="1044000" rIns="36000" bIns="0" rtlCol="0">
              <a:noAutofit/>
            </a:bodyPr>
            <a:lstStyle/>
            <a:p>
              <a:pPr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tabLst>
                  <a:tab pos="182563" algn="l"/>
                </a:tabLst>
              </a:pPr>
              <a:endParaRPr lang="en-GB" sz="1000" err="1">
                <a:solidFill>
                  <a:schemeClr val="tx2"/>
                </a:solidFill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E4148694-6071-9F12-BA05-733DB0659CD0}"/>
                </a:ext>
              </a:extLst>
            </p:cNvPr>
            <p:cNvGrpSpPr/>
            <p:nvPr/>
          </p:nvGrpSpPr>
          <p:grpSpPr>
            <a:xfrm>
              <a:off x="6707273" y="2785527"/>
              <a:ext cx="4639299" cy="900000"/>
              <a:chOff x="782337" y="2587231"/>
              <a:chExt cx="4572579" cy="900000"/>
            </a:xfrm>
          </p:grpSpPr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3F4CD98A-94C2-566B-D9E6-1D6B20567839}"/>
                  </a:ext>
                </a:extLst>
              </p:cNvPr>
              <p:cNvSpPr/>
              <p:nvPr/>
            </p:nvSpPr>
            <p:spPr>
              <a:xfrm>
                <a:off x="782337" y="2587231"/>
                <a:ext cx="900000" cy="900000"/>
              </a:xfrm>
              <a:prstGeom prst="ellipse">
                <a:avLst/>
              </a:prstGeom>
              <a:solidFill>
                <a:schemeClr val="accent1"/>
              </a:solidFill>
              <a:ln w="19050" cap="flat">
                <a:noFill/>
                <a:prstDash val="solid"/>
                <a:miter/>
              </a:ln>
              <a:effectLst>
                <a:outerShdw blurRad="63500" algn="ctr" rotWithShape="0">
                  <a:schemeClr val="accent4">
                    <a:alpha val="50000"/>
                  </a:schemeClr>
                </a:outerShdw>
              </a:effectLst>
            </p:spPr>
            <p:txBody>
              <a:bodyPr wrap="none" lIns="0" tIns="0" rIns="0" bIns="0" rtlCol="0" anchor="ctr" anchorCtr="0"/>
              <a:lstStyle/>
              <a:p>
                <a:pPr algn="ctr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GB">
                    <a:solidFill>
                      <a:schemeClr val="bg1"/>
                    </a:solidFill>
                    <a:latin typeface="+mj-lt"/>
                  </a:rPr>
                  <a:t>&gt; 50%</a:t>
                </a:r>
                <a:endParaRPr lang="en-GB" i="0">
                  <a:solidFill>
                    <a:schemeClr val="bg1"/>
                  </a:solidFill>
                  <a:effectLst/>
                  <a:latin typeface="+mj-lt"/>
                </a:endParaRPr>
              </a:p>
            </p:txBody>
          </p:sp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72DEBE5D-06A3-2502-926B-C34E533FCF52}"/>
                  </a:ext>
                </a:extLst>
              </p:cNvPr>
              <p:cNvSpPr txBox="1"/>
              <p:nvPr/>
            </p:nvSpPr>
            <p:spPr>
              <a:xfrm>
                <a:off x="1266866" y="2621732"/>
                <a:ext cx="4088050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432000" lvl="6"/>
                <a:r>
                  <a:rPr lang="de-DE" sz="1600"/>
                  <a:t>Haben Probleme mit </a:t>
                </a:r>
                <a:r>
                  <a:rPr lang="de-DE" sz="1600">
                    <a:latin typeface="+mj-lt"/>
                  </a:rPr>
                  <a:t>Datenqualität und Datenintegration</a:t>
                </a:r>
                <a:r>
                  <a:rPr lang="de-DE" sz="1600"/>
                  <a:t>, wodurch Daten nicht optimal genutzt werden können</a:t>
                </a:r>
              </a:p>
            </p:txBody>
          </p:sp>
        </p:grpSp>
      </p:grp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33E9D95-4650-3FD2-5107-3C05841291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3BCF-C0F1-4720-B5E7-944FE630E67D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CD8D3D8-DCD7-AD70-D927-D8B4611AF0F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3D27643-B542-146E-37C3-7F65DBAE8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Daten sind der Schlüssel zur Twin Transformation</a:t>
            </a:r>
            <a:br>
              <a:rPr lang="de-DE" b="1"/>
            </a:br>
            <a:r>
              <a:rPr lang="de-DE" b="1"/>
              <a:t>und zugleich ihre größte Hürd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CCB094D-B3EB-5C03-1BBA-2729E54142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as </a:t>
            </a:r>
            <a:r>
              <a:rPr lang="en-US" err="1"/>
              <a:t>haben</a:t>
            </a:r>
            <a:r>
              <a:rPr lang="en-US"/>
              <a:t> </a:t>
            </a:r>
            <a:r>
              <a:rPr lang="en-US" err="1"/>
              <a:t>wir</a:t>
            </a:r>
            <a:r>
              <a:rPr lang="en-US"/>
              <a:t> </a:t>
            </a:r>
            <a:r>
              <a:rPr lang="en-US" err="1"/>
              <a:t>herausgefunden</a:t>
            </a:r>
            <a:r>
              <a:rPr lang="en-US"/>
              <a:t>?</a:t>
            </a:r>
          </a:p>
          <a:p>
            <a:endParaRPr lang="en-US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89122009-EEFA-A4E3-9D3A-B7631D4F6E61}"/>
              </a:ext>
            </a:extLst>
          </p:cNvPr>
          <p:cNvSpPr/>
          <p:nvPr/>
        </p:nvSpPr>
        <p:spPr>
          <a:xfrm>
            <a:off x="9166911" y="647397"/>
            <a:ext cx="864000" cy="864000"/>
          </a:xfrm>
          <a:prstGeom prst="ellipse">
            <a:avLst/>
          </a:prstGeom>
          <a:solidFill>
            <a:srgbClr val="00B050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GB" b="1" i="0"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A517B6EC-3CB4-BA1F-8DFF-09DD6874E3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66911" y="654327"/>
            <a:ext cx="864000" cy="864000"/>
          </a:xfrm>
          <a:prstGeom prst="rect">
            <a:avLst/>
          </a:prstGeom>
        </p:spPr>
      </p:pic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7C24F7D7-2461-9C86-59CB-345F58E9AAAD}"/>
              </a:ext>
            </a:extLst>
          </p:cNvPr>
          <p:cNvGrpSpPr/>
          <p:nvPr/>
        </p:nvGrpSpPr>
        <p:grpSpPr>
          <a:xfrm>
            <a:off x="5839856" y="4014593"/>
            <a:ext cx="4879128" cy="900000"/>
            <a:chOff x="6748872" y="3910248"/>
            <a:chExt cx="4879128" cy="900000"/>
          </a:xfrm>
        </p:grpSpPr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703FF281-C52E-EFDD-D061-A6965D98BE5B}"/>
                </a:ext>
              </a:extLst>
            </p:cNvPr>
            <p:cNvSpPr/>
            <p:nvPr/>
          </p:nvSpPr>
          <p:spPr>
            <a:xfrm>
              <a:off x="6748872" y="3910248"/>
              <a:ext cx="4879128" cy="900000"/>
            </a:xfrm>
            <a:prstGeom prst="roundRect">
              <a:avLst>
                <a:gd name="adj" fmla="val 50000"/>
              </a:avLst>
            </a:prstGeom>
            <a:solidFill>
              <a:srgbClr val="FF4B4B">
                <a:alpha val="30196"/>
              </a:srgbClr>
            </a:solidFill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vert="horz" lIns="36000" tIns="1044000" rIns="36000" bIns="0" rtlCol="0">
              <a:noAutofit/>
            </a:bodyPr>
            <a:lstStyle/>
            <a:p>
              <a:pPr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tabLst>
                  <a:tab pos="182563" algn="l"/>
                </a:tabLst>
              </a:pPr>
              <a:endParaRPr lang="en-GB" sz="1000" err="1">
                <a:solidFill>
                  <a:schemeClr val="tx2"/>
                </a:solidFill>
              </a:endParaRP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487537D6-C0CE-6D33-1243-FE6D7FB043BA}"/>
                </a:ext>
              </a:extLst>
            </p:cNvPr>
            <p:cNvGrpSpPr/>
            <p:nvPr/>
          </p:nvGrpSpPr>
          <p:grpSpPr>
            <a:xfrm>
              <a:off x="6748872" y="3910248"/>
              <a:ext cx="4603096" cy="900000"/>
              <a:chOff x="823338" y="4680838"/>
              <a:chExt cx="4603096" cy="900000"/>
            </a:xfrm>
          </p:grpSpPr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32A03A37-5840-8BC6-AB23-E8E15EC5881C}"/>
                  </a:ext>
                </a:extLst>
              </p:cNvPr>
              <p:cNvSpPr/>
              <p:nvPr/>
            </p:nvSpPr>
            <p:spPr>
              <a:xfrm>
                <a:off x="823338" y="4680838"/>
                <a:ext cx="900000" cy="900000"/>
              </a:xfrm>
              <a:prstGeom prst="ellipse">
                <a:avLst/>
              </a:prstGeom>
              <a:solidFill>
                <a:srgbClr val="FF4B4B"/>
              </a:solidFill>
              <a:ln w="19050" cap="flat">
                <a:noFill/>
                <a:prstDash val="solid"/>
                <a:miter/>
              </a:ln>
              <a:effectLst>
                <a:outerShdw blurRad="63500" algn="ctr" rotWithShape="0">
                  <a:schemeClr val="accent4">
                    <a:alpha val="50000"/>
                  </a:schemeClr>
                </a:outerShdw>
              </a:effectLst>
            </p:spPr>
            <p:txBody>
              <a:bodyPr lIns="0" tIns="0" rIns="0" bIns="0" rtlCol="0" anchor="ctr" anchorCtr="0"/>
              <a:lstStyle/>
              <a:p>
                <a:pPr algn="ctr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GB" i="0">
                    <a:solidFill>
                      <a:schemeClr val="bg1"/>
                    </a:solidFill>
                    <a:effectLst/>
                    <a:latin typeface="+mj-lt"/>
                  </a:rPr>
                  <a:t>33%</a:t>
                </a:r>
              </a:p>
            </p:txBody>
          </p:sp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7676B2E-6EFA-5089-31BE-02046F7FC3D5}"/>
                  </a:ext>
                </a:extLst>
              </p:cNvPr>
              <p:cNvSpPr txBox="1"/>
              <p:nvPr/>
            </p:nvSpPr>
            <p:spPr>
              <a:xfrm>
                <a:off x="1275096" y="4838450"/>
                <a:ext cx="4151338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432000" lvl="6"/>
                <a:r>
                  <a:rPr lang="de-DE" sz="1600"/>
                  <a:t>Wissen nicht, wie sie ihre Daten </a:t>
                </a:r>
                <a:r>
                  <a:rPr lang="de-DE" sz="1600">
                    <a:latin typeface="+mj-lt"/>
                  </a:rPr>
                  <a:t>strategisch nutzen </a:t>
                </a:r>
                <a:r>
                  <a:rPr lang="de-DE" sz="1600"/>
                  <a:t>können</a:t>
                </a:r>
              </a:p>
            </p:txBody>
          </p:sp>
        </p:grp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19A5498-660C-E2F5-0239-2D9249EC323E}"/>
              </a:ext>
            </a:extLst>
          </p:cNvPr>
          <p:cNvGrpSpPr/>
          <p:nvPr/>
        </p:nvGrpSpPr>
        <p:grpSpPr>
          <a:xfrm>
            <a:off x="5040673" y="5243659"/>
            <a:ext cx="5402279" cy="900000"/>
            <a:chOff x="5189762" y="5056609"/>
            <a:chExt cx="5402279" cy="90000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B0CBD900-78CF-5C36-D12C-8F1DB5E918A2}"/>
                </a:ext>
              </a:extLst>
            </p:cNvPr>
            <p:cNvSpPr/>
            <p:nvPr/>
          </p:nvSpPr>
          <p:spPr>
            <a:xfrm>
              <a:off x="5189762" y="5080938"/>
              <a:ext cx="4879128" cy="875671"/>
            </a:xfrm>
            <a:prstGeom prst="rect">
              <a:avLst/>
            </a:prstGeom>
            <a:solidFill>
              <a:schemeClr val="bg1"/>
            </a:solidFill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vert="horz" lIns="36000" tIns="1044000" rIns="36000" bIns="0" rtlCol="0">
              <a:noAutofit/>
            </a:bodyPr>
            <a:lstStyle/>
            <a:p>
              <a:pPr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tabLst>
                  <a:tab pos="182563" algn="l"/>
                </a:tabLst>
              </a:pPr>
              <a:endParaRPr lang="en-GB" sz="1000">
                <a:solidFill>
                  <a:schemeClr val="tx2"/>
                </a:solidFill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93360D6C-852D-87BE-236B-8441381C8607}"/>
                </a:ext>
              </a:extLst>
            </p:cNvPr>
            <p:cNvSpPr/>
            <p:nvPr/>
          </p:nvSpPr>
          <p:spPr>
            <a:xfrm>
              <a:off x="9692041" y="5056609"/>
              <a:ext cx="900000" cy="900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FF4B4B"/>
                </a:gs>
              </a:gsLst>
              <a:lin ang="5400000" scaled="1"/>
              <a:tileRect/>
            </a:gradFill>
            <a:ln w="19050" cap="flat">
              <a:noFill/>
              <a:prstDash val="solid"/>
              <a:miter/>
            </a:ln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lIns="0" tIns="0" rIns="0" bIns="0" rtlCol="0" anchor="ctr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endParaRPr lang="en-GB" sz="1700" i="0">
                <a:solidFill>
                  <a:schemeClr val="bg1"/>
                </a:solidFill>
                <a:effectLst/>
                <a:latin typeface="+mj-lt"/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74F5FE4-82D0-DF76-701E-232AD19D9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782041" y="5127174"/>
              <a:ext cx="720000" cy="720000"/>
            </a:xfrm>
            <a:prstGeom prst="rect">
              <a:avLst/>
            </a:prstGeom>
          </p:spPr>
        </p:pic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E25FC49C-F642-F869-F90B-93A913FFF541}"/>
                </a:ext>
              </a:extLst>
            </p:cNvPr>
            <p:cNvSpPr txBox="1"/>
            <p:nvPr/>
          </p:nvSpPr>
          <p:spPr>
            <a:xfrm>
              <a:off x="5594536" y="5114801"/>
              <a:ext cx="454750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600" err="1">
                  <a:solidFill>
                    <a:schemeClr val="tx1"/>
                  </a:solidFill>
                  <a:latin typeface="+mj-lt"/>
                </a:rPr>
                <a:t>Strukturiertes</a:t>
              </a:r>
              <a:r>
                <a:rPr lang="en-GB" sz="160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en-GB" sz="1600" err="1">
                  <a:solidFill>
                    <a:schemeClr val="tx1"/>
                  </a:solidFill>
                  <a:latin typeface="+mj-lt"/>
                </a:rPr>
                <a:t>Datenmanagement</a:t>
              </a:r>
              <a:r>
                <a:rPr lang="en-GB" sz="160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en-GB" sz="1600">
                  <a:solidFill>
                    <a:schemeClr val="tx1"/>
                  </a:solidFill>
                  <a:latin typeface="+mn-lt"/>
                </a:rPr>
                <a:t>und </a:t>
              </a:r>
              <a:r>
                <a:rPr lang="en-GB" sz="1600" err="1">
                  <a:solidFill>
                    <a:schemeClr val="tx1"/>
                  </a:solidFill>
                  <a:latin typeface="+mj-lt"/>
                </a:rPr>
                <a:t>Automatisierung</a:t>
              </a:r>
              <a:r>
                <a:rPr lang="en-GB" sz="160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GB" sz="1600" err="1">
                  <a:solidFill>
                    <a:schemeClr val="tx1"/>
                  </a:solidFill>
                  <a:latin typeface="+mn-lt"/>
                </a:rPr>
                <a:t>bieten</a:t>
              </a:r>
              <a:r>
                <a:rPr lang="en-GB" sz="1600">
                  <a:solidFill>
                    <a:schemeClr val="tx1"/>
                  </a:solidFill>
                  <a:latin typeface="+mn-lt"/>
                </a:rPr>
                <a:t> die Chance </a:t>
              </a:r>
              <a:r>
                <a:rPr lang="en-GB" sz="1600" err="1">
                  <a:solidFill>
                    <a:schemeClr val="tx1"/>
                  </a:solidFill>
                  <a:latin typeface="+mn-lt"/>
                </a:rPr>
                <a:t>Nachhaltigkeitsdaten</a:t>
              </a:r>
              <a:r>
                <a:rPr lang="en-GB" sz="160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GB" sz="1600" err="1">
                  <a:solidFill>
                    <a:schemeClr val="tx1"/>
                  </a:solidFill>
                </a:rPr>
                <a:t>effizient</a:t>
              </a:r>
              <a:r>
                <a:rPr lang="en-GB" sz="1600">
                  <a:solidFill>
                    <a:schemeClr val="tx1"/>
                  </a:solidFill>
                </a:rPr>
                <a:t> </a:t>
              </a:r>
              <a:r>
                <a:rPr lang="en-GB" sz="1600" err="1">
                  <a:solidFill>
                    <a:schemeClr val="tx1"/>
                  </a:solidFill>
                </a:rPr>
                <a:t>zu</a:t>
              </a:r>
              <a:r>
                <a:rPr lang="en-GB" sz="1600">
                  <a:solidFill>
                    <a:schemeClr val="tx1"/>
                  </a:solidFill>
                </a:rPr>
                <a:t> </a:t>
              </a:r>
              <a:r>
                <a:rPr lang="en-GB" sz="1600" err="1">
                  <a:solidFill>
                    <a:schemeClr val="tx1"/>
                  </a:solidFill>
                </a:rPr>
                <a:t>tracken</a:t>
              </a:r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39" name="Arrow: Chevron 53">
              <a:extLst>
                <a:ext uri="{FF2B5EF4-FFF2-40B4-BE49-F238E27FC236}">
                  <a16:creationId xmlns:a16="http://schemas.microsoft.com/office/drawing/2014/main" id="{16785705-F4D1-7A28-A793-96138FE0291C}"/>
                </a:ext>
              </a:extLst>
            </p:cNvPr>
            <p:cNvSpPr/>
            <p:nvPr/>
          </p:nvSpPr>
          <p:spPr>
            <a:xfrm>
              <a:off x="5189762" y="5080937"/>
              <a:ext cx="340503" cy="875671"/>
            </a:xfrm>
            <a:prstGeom prst="chevron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100000">
                  <a:srgbClr val="FF4B4B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lIns="36000" tIns="36000" rIns="36000" bIns="36000" rtlCol="0" anchor="ctr" anchorCtr="0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endParaRPr lang="de-DE" sz="1200" b="1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6D01F083-ED80-998A-64E8-2B4C729AFE72}"/>
              </a:ext>
            </a:extLst>
          </p:cNvPr>
          <p:cNvSpPr txBox="1"/>
          <p:nvPr/>
        </p:nvSpPr>
        <p:spPr>
          <a:xfrm>
            <a:off x="540000" y="1985445"/>
            <a:ext cx="7245975" cy="3508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defRPr sz="1680" b="0" i="0" u="none" strike="noStrike" kern="1200" spc="0" baseline="0">
                <a:solidFill>
                  <a:srgbClr val="100C2A"/>
                </a:solidFill>
                <a:latin typeface="+mn-lt"/>
                <a:ea typeface="+mn-ea"/>
                <a:cs typeface="+mn-cs"/>
              </a:defRPr>
            </a:pPr>
            <a:r>
              <a:rPr lang="de-DE" sz="1600" b="0" i="0" u="none" strike="noStrike" baseline="0">
                <a:latin typeface="+mj-lt"/>
              </a:rPr>
              <a:t>Wo sehen Sie Herausforderungen bei der Digitalisierung für Nachhaltigkeit?</a:t>
            </a:r>
            <a:endParaRPr lang="en-US" sz="1600">
              <a:latin typeface="+mj-lt"/>
            </a:endParaRPr>
          </a:p>
        </p:txBody>
      </p:sp>
      <p:sp>
        <p:nvSpPr>
          <p:cNvPr id="18" name="shape">
            <a:extLst>
              <a:ext uri="{FF2B5EF4-FFF2-40B4-BE49-F238E27FC236}">
                <a16:creationId xmlns:a16="http://schemas.microsoft.com/office/drawing/2014/main" id="{99B0503B-4E3F-A3D7-B505-13095C51F829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19" name="Picture Placeholder 21">
            <a:extLst>
              <a:ext uri="{FF2B5EF4-FFF2-40B4-BE49-F238E27FC236}">
                <a16:creationId xmlns:a16="http://schemas.microsoft.com/office/drawing/2014/main" id="{87DC35E1-B2C0-13B4-B5A2-30E9703A8503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100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21" name="Ellipse 20">
            <a:extLst>
              <a:ext uri="{FF2B5EF4-FFF2-40B4-BE49-F238E27FC236}">
                <a16:creationId xmlns:a16="http://schemas.microsoft.com/office/drawing/2014/main" id="{2C943CA2-0737-1A39-E0E3-296F6B1BC660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9403DA73-F7EE-7F9E-FDBF-EB3E69B54FD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665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B6043-2CFC-3B6E-66CF-2055DF8942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8D88277E-C810-7298-4B6B-3FEB95F3012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69B05472-707E-D163-28CF-639B9D795EE2}"/>
              </a:ext>
            </a:extLst>
          </p:cNvPr>
          <p:cNvGrpSpPr/>
          <p:nvPr/>
        </p:nvGrpSpPr>
        <p:grpSpPr>
          <a:xfrm>
            <a:off x="5040673" y="5243659"/>
            <a:ext cx="5402279" cy="900000"/>
            <a:chOff x="5189762" y="5056609"/>
            <a:chExt cx="5402279" cy="900000"/>
          </a:xfrm>
        </p:grpSpPr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569CDE01-8AE7-A1A6-4280-CF14D8410E99}"/>
                </a:ext>
              </a:extLst>
            </p:cNvPr>
            <p:cNvSpPr/>
            <p:nvPr/>
          </p:nvSpPr>
          <p:spPr>
            <a:xfrm>
              <a:off x="5189762" y="5080938"/>
              <a:ext cx="4879128" cy="875671"/>
            </a:xfrm>
            <a:prstGeom prst="rect">
              <a:avLst/>
            </a:prstGeom>
            <a:solidFill>
              <a:schemeClr val="bg1"/>
            </a:solidFill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vert="horz" lIns="36000" tIns="1044000" rIns="36000" bIns="0" rtlCol="0">
              <a:noAutofit/>
            </a:bodyPr>
            <a:lstStyle/>
            <a:p>
              <a:pPr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tabLst>
                  <a:tab pos="182563" algn="l"/>
                </a:tabLst>
              </a:pPr>
              <a:endParaRPr lang="en-GB" sz="1000">
                <a:solidFill>
                  <a:schemeClr val="tx2"/>
                </a:solidFill>
              </a:endParaRPr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6EFDA563-0A94-CA86-960A-CEE1D690EEF2}"/>
                </a:ext>
              </a:extLst>
            </p:cNvPr>
            <p:cNvSpPr/>
            <p:nvPr/>
          </p:nvSpPr>
          <p:spPr>
            <a:xfrm>
              <a:off x="9692041" y="5056609"/>
              <a:ext cx="900000" cy="900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FF4B4B"/>
                </a:gs>
              </a:gsLst>
              <a:lin ang="5400000" scaled="1"/>
              <a:tileRect/>
            </a:gradFill>
            <a:ln w="19050" cap="flat">
              <a:noFill/>
              <a:prstDash val="solid"/>
              <a:miter/>
            </a:ln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lIns="0" tIns="0" rIns="0" bIns="0" rtlCol="0" anchor="ctr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endParaRPr lang="en-GB" sz="1700" i="0">
                <a:solidFill>
                  <a:schemeClr val="bg1"/>
                </a:solidFill>
                <a:effectLst/>
                <a:latin typeface="+mj-lt"/>
              </a:endParaRPr>
            </a:p>
          </p:txBody>
        </p:sp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E5EA6C61-B6A6-975E-1268-F85919C2D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782041" y="5127174"/>
              <a:ext cx="720000" cy="720000"/>
            </a:xfrm>
            <a:prstGeom prst="rect">
              <a:avLst/>
            </a:prstGeom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91DCFFFD-FB21-23C0-C0E8-9894769F9786}"/>
                </a:ext>
              </a:extLst>
            </p:cNvPr>
            <p:cNvSpPr txBox="1"/>
            <p:nvPr/>
          </p:nvSpPr>
          <p:spPr>
            <a:xfrm>
              <a:off x="5594536" y="5114801"/>
              <a:ext cx="454750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sz="1600">
                  <a:solidFill>
                    <a:schemeClr val="tx1"/>
                  </a:solidFill>
                  <a:latin typeface="+mj-lt"/>
                </a:rPr>
                <a:t>Twin Transformation </a:t>
              </a:r>
              <a:r>
                <a:rPr lang="de-DE" sz="1600">
                  <a:solidFill>
                    <a:schemeClr val="tx1"/>
                  </a:solidFill>
                </a:rPr>
                <a:t>als Chance mithilfe von digitalen Technologien </a:t>
              </a:r>
              <a:r>
                <a:rPr lang="de-DE" sz="1600">
                  <a:solidFill>
                    <a:schemeClr val="tx1"/>
                  </a:solidFill>
                  <a:latin typeface="+mj-lt"/>
                </a:rPr>
                <a:t>Nachhaltigkeit wirtschaftlich umzusetzen</a:t>
              </a:r>
            </a:p>
          </p:txBody>
        </p:sp>
        <p:sp>
          <p:nvSpPr>
            <p:cNvPr id="51" name="Arrow: Chevron 53">
              <a:extLst>
                <a:ext uri="{FF2B5EF4-FFF2-40B4-BE49-F238E27FC236}">
                  <a16:creationId xmlns:a16="http://schemas.microsoft.com/office/drawing/2014/main" id="{D30BB6EA-9466-0B27-ADC3-2EC8D1F87C91}"/>
                </a:ext>
              </a:extLst>
            </p:cNvPr>
            <p:cNvSpPr/>
            <p:nvPr/>
          </p:nvSpPr>
          <p:spPr>
            <a:xfrm>
              <a:off x="5189762" y="5080937"/>
              <a:ext cx="340503" cy="875671"/>
            </a:xfrm>
            <a:prstGeom prst="chevron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100000">
                  <a:srgbClr val="FF4B4B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lIns="36000" tIns="36000" rIns="36000" bIns="36000" rtlCol="0" anchor="ctr" anchorCtr="0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endParaRPr lang="de-DE" sz="1200" b="1">
                <a:solidFill>
                  <a:schemeClr val="bg1"/>
                </a:solidFill>
                <a:latin typeface="+mj-lt"/>
              </a:endParaRPr>
            </a:p>
          </p:txBody>
        </p:sp>
      </p:grpSp>
      <p:graphicFrame>
        <p:nvGraphicFramePr>
          <p:cNvPr id="12" name="Chart Placeholder 28">
            <a:extLst>
              <a:ext uri="{FF2B5EF4-FFF2-40B4-BE49-F238E27FC236}">
                <a16:creationId xmlns:a16="http://schemas.microsoft.com/office/drawing/2014/main" id="{27EA6A61-0734-B60C-F7DB-027ACEF67C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8100582"/>
              </p:ext>
            </p:extLst>
          </p:nvPr>
        </p:nvGraphicFramePr>
        <p:xfrm>
          <a:off x="525908" y="2329047"/>
          <a:ext cx="6601139" cy="3846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E6FF2D15-9CED-7DA6-9D9C-7F85C128B913}"/>
              </a:ext>
            </a:extLst>
          </p:cNvPr>
          <p:cNvGrpSpPr/>
          <p:nvPr/>
        </p:nvGrpSpPr>
        <p:grpSpPr>
          <a:xfrm>
            <a:off x="5839856" y="4014593"/>
            <a:ext cx="4879128" cy="900000"/>
            <a:chOff x="6748872" y="3910248"/>
            <a:chExt cx="4879128" cy="900000"/>
          </a:xfrm>
        </p:grpSpPr>
        <p:sp>
          <p:nvSpPr>
            <p:cNvPr id="36" name="Rechteck: abgerundete Ecken 35">
              <a:extLst>
                <a:ext uri="{FF2B5EF4-FFF2-40B4-BE49-F238E27FC236}">
                  <a16:creationId xmlns:a16="http://schemas.microsoft.com/office/drawing/2014/main" id="{8F93BE81-1FF0-8D81-EBA3-592947958AB4}"/>
                </a:ext>
              </a:extLst>
            </p:cNvPr>
            <p:cNvSpPr/>
            <p:nvPr/>
          </p:nvSpPr>
          <p:spPr>
            <a:xfrm>
              <a:off x="6748872" y="3910248"/>
              <a:ext cx="4879128" cy="900000"/>
            </a:xfrm>
            <a:prstGeom prst="roundRect">
              <a:avLst>
                <a:gd name="adj" fmla="val 50000"/>
              </a:avLst>
            </a:prstGeom>
            <a:solidFill>
              <a:srgbClr val="FF4B4B">
                <a:alpha val="30196"/>
              </a:srgbClr>
            </a:solidFill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vert="horz" lIns="36000" tIns="1044000" rIns="36000" bIns="0" rtlCol="0">
              <a:noAutofit/>
            </a:bodyPr>
            <a:lstStyle/>
            <a:p>
              <a:pPr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tabLst>
                  <a:tab pos="182563" algn="l"/>
                </a:tabLst>
              </a:pPr>
              <a:endParaRPr lang="en-GB" sz="1000" err="1">
                <a:solidFill>
                  <a:schemeClr val="tx2"/>
                </a:solidFill>
              </a:endParaRPr>
            </a:p>
          </p:txBody>
        </p:sp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D4CEAAFE-2EEB-0C7B-A7D3-4874FEC51CFB}"/>
                </a:ext>
              </a:extLst>
            </p:cNvPr>
            <p:cNvGrpSpPr/>
            <p:nvPr/>
          </p:nvGrpSpPr>
          <p:grpSpPr>
            <a:xfrm>
              <a:off x="6748872" y="3910248"/>
              <a:ext cx="4603096" cy="900000"/>
              <a:chOff x="823338" y="4680838"/>
              <a:chExt cx="4603096" cy="900000"/>
            </a:xfrm>
          </p:grpSpPr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50D7B592-27E9-581A-0814-13796CADB2A1}"/>
                  </a:ext>
                </a:extLst>
              </p:cNvPr>
              <p:cNvSpPr/>
              <p:nvPr/>
            </p:nvSpPr>
            <p:spPr>
              <a:xfrm>
                <a:off x="823338" y="4680838"/>
                <a:ext cx="900000" cy="900000"/>
              </a:xfrm>
              <a:prstGeom prst="ellipse">
                <a:avLst/>
              </a:prstGeom>
              <a:solidFill>
                <a:srgbClr val="FF4B4B"/>
              </a:solidFill>
              <a:ln w="19050" cap="flat">
                <a:noFill/>
                <a:prstDash val="solid"/>
                <a:miter/>
              </a:ln>
              <a:effectLst>
                <a:outerShdw blurRad="63500" algn="ctr" rotWithShape="0">
                  <a:schemeClr val="accent4">
                    <a:alpha val="50000"/>
                  </a:schemeClr>
                </a:outerShdw>
              </a:effectLst>
            </p:spPr>
            <p:txBody>
              <a:bodyPr wrap="none" lIns="0" tIns="0" rIns="0" bIns="0" rtlCol="0" anchor="ctr" anchorCtr="0"/>
              <a:lstStyle/>
              <a:p>
                <a:pPr algn="ctr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GB" i="0">
                    <a:solidFill>
                      <a:schemeClr val="bg1"/>
                    </a:solidFill>
                    <a:effectLst/>
                    <a:latin typeface="+mj-lt"/>
                  </a:rPr>
                  <a:t>&lt; 30%</a:t>
                </a:r>
              </a:p>
            </p:txBody>
          </p:sp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DCD5C511-2103-C72B-E417-C1E0B0EC5C2E}"/>
                  </a:ext>
                </a:extLst>
              </p:cNvPr>
              <p:cNvSpPr txBox="1"/>
              <p:nvPr/>
            </p:nvSpPr>
            <p:spPr>
              <a:xfrm>
                <a:off x="1275096" y="4838450"/>
                <a:ext cx="4151338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432000" lvl="6"/>
                <a:r>
                  <a:rPr lang="de-DE" sz="1600"/>
                  <a:t>Sehen</a:t>
                </a:r>
                <a:r>
                  <a:rPr lang="de-DE" sz="1600">
                    <a:latin typeface="+mj-lt"/>
                  </a:rPr>
                  <a:t> Kostensenkungen </a:t>
                </a:r>
                <a:r>
                  <a:rPr lang="de-DE" sz="1600"/>
                  <a:t>und</a:t>
                </a:r>
                <a:r>
                  <a:rPr lang="de-DE" sz="1600">
                    <a:latin typeface="+mj-lt"/>
                  </a:rPr>
                  <a:t> Umsatzsteigerungen</a:t>
                </a:r>
                <a:r>
                  <a:rPr lang="de-DE" sz="1600"/>
                  <a:t> als Motivation</a:t>
                </a:r>
              </a:p>
            </p:txBody>
          </p:sp>
        </p:grpSp>
      </p:grpSp>
      <p:pic>
        <p:nvPicPr>
          <p:cNvPr id="22" name="Grafik 21">
            <a:extLst>
              <a:ext uri="{FF2B5EF4-FFF2-40B4-BE49-F238E27FC236}">
                <a16:creationId xmlns:a16="http://schemas.microsoft.com/office/drawing/2014/main" id="{5AD2723F-2B1B-8A23-76A5-0C28894FC2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80404" y="554911"/>
            <a:ext cx="2110022" cy="1920916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50B0EEE-96E5-1A2C-C00E-CD91812D1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3BCF-C0F1-4720-B5E7-944FE630E67D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BBB399-931B-0568-C727-7502D2F3E6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63D9CD-C132-FABA-92C3-7E9485DAB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achhaltigkeit gilt als Pflicht,</a:t>
            </a:r>
            <a:br>
              <a:rPr lang="de-DE"/>
            </a:br>
            <a:r>
              <a:rPr lang="de-DE"/>
              <a:t>wirtschaftliche Chancen werden selten erkannt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ECE5539-BDB7-749F-E0F2-41B208090A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as </a:t>
            </a:r>
            <a:r>
              <a:rPr lang="en-US" err="1"/>
              <a:t>haben</a:t>
            </a:r>
            <a:r>
              <a:rPr lang="en-US"/>
              <a:t> </a:t>
            </a:r>
            <a:r>
              <a:rPr lang="en-US" err="1"/>
              <a:t>wir</a:t>
            </a:r>
            <a:r>
              <a:rPr lang="en-US"/>
              <a:t> </a:t>
            </a:r>
            <a:r>
              <a:rPr lang="en-US" err="1"/>
              <a:t>herausgefunden</a:t>
            </a:r>
            <a:r>
              <a:rPr lang="en-US"/>
              <a:t>?</a:t>
            </a:r>
          </a:p>
          <a:p>
            <a:endParaRPr lang="en-US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300169F3-D265-0571-B357-F7F0F9DCCB8D}"/>
              </a:ext>
            </a:extLst>
          </p:cNvPr>
          <p:cNvSpPr/>
          <p:nvPr/>
        </p:nvSpPr>
        <p:spPr>
          <a:xfrm>
            <a:off x="9166911" y="647397"/>
            <a:ext cx="864000" cy="864000"/>
          </a:xfrm>
          <a:prstGeom prst="ellipse">
            <a:avLst/>
          </a:prstGeom>
          <a:solidFill>
            <a:srgbClr val="00B050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GB" b="1" i="0"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5373C921-C876-0B3B-91D3-D211451CE6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66911" y="654327"/>
            <a:ext cx="864000" cy="8640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9F639AB-5E06-3C42-2294-CEE49F933535}"/>
              </a:ext>
            </a:extLst>
          </p:cNvPr>
          <p:cNvSpPr txBox="1"/>
          <p:nvPr/>
        </p:nvSpPr>
        <p:spPr>
          <a:xfrm>
            <a:off x="550862" y="1978182"/>
            <a:ext cx="7102093" cy="3508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defRPr sz="1680" b="0" i="0" u="none" strike="noStrike" kern="1200" spc="0" baseline="0">
                <a:solidFill>
                  <a:srgbClr val="100C2A"/>
                </a:solidFill>
                <a:latin typeface="+mn-lt"/>
                <a:ea typeface="+mn-ea"/>
                <a:cs typeface="+mn-cs"/>
              </a:defRPr>
            </a:pPr>
            <a:r>
              <a:rPr lang="en-US" sz="1600" err="1">
                <a:latin typeface="+mj-lt"/>
              </a:rPr>
              <a:t>Warum</a:t>
            </a:r>
            <a:r>
              <a:rPr lang="en-US" sz="1600">
                <a:latin typeface="+mj-lt"/>
              </a:rPr>
              <a:t> </a:t>
            </a:r>
            <a:r>
              <a:rPr lang="en-US" sz="1600" err="1">
                <a:latin typeface="+mj-lt"/>
              </a:rPr>
              <a:t>befasst</a:t>
            </a:r>
            <a:r>
              <a:rPr lang="en-US" sz="1600">
                <a:latin typeface="+mj-lt"/>
              </a:rPr>
              <a:t> </a:t>
            </a:r>
            <a:r>
              <a:rPr lang="en-US" sz="1600" err="1">
                <a:latin typeface="+mj-lt"/>
              </a:rPr>
              <a:t>sich</a:t>
            </a:r>
            <a:r>
              <a:rPr lang="en-US" sz="1600">
                <a:latin typeface="+mj-lt"/>
              </a:rPr>
              <a:t> </a:t>
            </a:r>
            <a:r>
              <a:rPr lang="en-US" sz="1600" err="1">
                <a:latin typeface="+mj-lt"/>
              </a:rPr>
              <a:t>Ihr</a:t>
            </a:r>
            <a:r>
              <a:rPr lang="en-US" sz="1600">
                <a:latin typeface="+mj-lt"/>
              </a:rPr>
              <a:t> </a:t>
            </a:r>
            <a:r>
              <a:rPr lang="en-US" sz="1600" err="1">
                <a:latin typeface="+mj-lt"/>
              </a:rPr>
              <a:t>Unternehmen</a:t>
            </a:r>
            <a:r>
              <a:rPr lang="en-US" sz="1600">
                <a:latin typeface="+mj-lt"/>
              </a:rPr>
              <a:t> </a:t>
            </a:r>
            <a:r>
              <a:rPr lang="en-US" sz="1600" err="1">
                <a:latin typeface="+mj-lt"/>
              </a:rPr>
              <a:t>mit</a:t>
            </a:r>
            <a:r>
              <a:rPr lang="en-US" sz="1600" baseline="0">
                <a:latin typeface="+mj-lt"/>
              </a:rPr>
              <a:t> dem Thema</a:t>
            </a:r>
            <a:r>
              <a:rPr lang="en-US" sz="1600">
                <a:latin typeface="+mj-lt"/>
              </a:rPr>
              <a:t> </a:t>
            </a:r>
            <a:r>
              <a:rPr lang="en-US" sz="1600" err="1">
                <a:latin typeface="+mj-lt"/>
              </a:rPr>
              <a:t>Nachhaltigkeit</a:t>
            </a:r>
            <a:r>
              <a:rPr lang="en-US" sz="1600">
                <a:latin typeface="+mj-lt"/>
              </a:rPr>
              <a:t>?</a:t>
            </a:r>
          </a:p>
        </p:txBody>
      </p:sp>
      <p:sp>
        <p:nvSpPr>
          <p:cNvPr id="11" name="shape">
            <a:extLst>
              <a:ext uri="{FF2B5EF4-FFF2-40B4-BE49-F238E27FC236}">
                <a16:creationId xmlns:a16="http://schemas.microsoft.com/office/drawing/2014/main" id="{F21DABDC-2169-5351-2028-4C8F32EE5268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16" name="Picture Placeholder 21">
            <a:extLst>
              <a:ext uri="{FF2B5EF4-FFF2-40B4-BE49-F238E27FC236}">
                <a16:creationId xmlns:a16="http://schemas.microsoft.com/office/drawing/2014/main" id="{FC2F99C3-F559-8844-EAD1-FEBB3CC5202D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100000"/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20" name="Ellipse 19">
            <a:extLst>
              <a:ext uri="{FF2B5EF4-FFF2-40B4-BE49-F238E27FC236}">
                <a16:creationId xmlns:a16="http://schemas.microsoft.com/office/drawing/2014/main" id="{F59C249B-D3D9-38AC-E9EE-F92019CD28A8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0986E102-80DE-E8D0-428F-A520DF8BEF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A36EC7C8-EC65-8238-27D4-25C1E14BC5EA}"/>
              </a:ext>
            </a:extLst>
          </p:cNvPr>
          <p:cNvGrpSpPr/>
          <p:nvPr/>
        </p:nvGrpSpPr>
        <p:grpSpPr>
          <a:xfrm>
            <a:off x="6707273" y="2785527"/>
            <a:ext cx="4920727" cy="900000"/>
            <a:chOff x="6707273" y="2785527"/>
            <a:chExt cx="4920727" cy="900000"/>
          </a:xfrm>
        </p:grpSpPr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1350AEA6-3C84-00EF-BF13-3D11869AAF96}"/>
                </a:ext>
              </a:extLst>
            </p:cNvPr>
            <p:cNvSpPr/>
            <p:nvPr/>
          </p:nvSpPr>
          <p:spPr>
            <a:xfrm>
              <a:off x="6748872" y="2785527"/>
              <a:ext cx="4879128" cy="90000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30196"/>
              </a:schemeClr>
            </a:solidFill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vert="horz" lIns="36000" tIns="1044000" rIns="36000" bIns="0" rtlCol="0">
              <a:noAutofit/>
            </a:bodyPr>
            <a:lstStyle/>
            <a:p>
              <a:pPr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tabLst>
                  <a:tab pos="182563" algn="l"/>
                </a:tabLst>
              </a:pPr>
              <a:endParaRPr lang="en-GB" sz="1000" err="1">
                <a:solidFill>
                  <a:schemeClr val="tx2"/>
                </a:solidFill>
              </a:endParaRPr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A95155FC-3F45-9157-9254-FA63193F6175}"/>
                </a:ext>
              </a:extLst>
            </p:cNvPr>
            <p:cNvGrpSpPr/>
            <p:nvPr/>
          </p:nvGrpSpPr>
          <p:grpSpPr>
            <a:xfrm>
              <a:off x="6707273" y="2785527"/>
              <a:ext cx="4639299" cy="900000"/>
              <a:chOff x="782337" y="2587231"/>
              <a:chExt cx="4572579" cy="900000"/>
            </a:xfrm>
          </p:grpSpPr>
          <p:sp>
            <p:nvSpPr>
              <p:cNvPr id="33" name="Ellipse 32">
                <a:extLst>
                  <a:ext uri="{FF2B5EF4-FFF2-40B4-BE49-F238E27FC236}">
                    <a16:creationId xmlns:a16="http://schemas.microsoft.com/office/drawing/2014/main" id="{ADE6D1A8-4C3E-ABBF-5941-D49F3EE5E12A}"/>
                  </a:ext>
                </a:extLst>
              </p:cNvPr>
              <p:cNvSpPr/>
              <p:nvPr/>
            </p:nvSpPr>
            <p:spPr>
              <a:xfrm>
                <a:off x="782337" y="2587231"/>
                <a:ext cx="900000" cy="900000"/>
              </a:xfrm>
              <a:prstGeom prst="ellipse">
                <a:avLst/>
              </a:prstGeom>
              <a:solidFill>
                <a:schemeClr val="accent1"/>
              </a:solidFill>
              <a:ln w="19050" cap="flat">
                <a:noFill/>
                <a:prstDash val="solid"/>
                <a:miter/>
              </a:ln>
              <a:effectLst>
                <a:outerShdw blurRad="63500" algn="ctr" rotWithShape="0">
                  <a:schemeClr val="accent4">
                    <a:alpha val="50000"/>
                  </a:schemeClr>
                </a:outerShdw>
              </a:effectLst>
            </p:spPr>
            <p:txBody>
              <a:bodyPr wrap="none" lIns="0" tIns="0" rIns="0" bIns="0" rtlCol="0" anchor="ctr" anchorCtr="0"/>
              <a:lstStyle/>
              <a:p>
                <a:pPr algn="ctr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GB">
                    <a:solidFill>
                      <a:schemeClr val="bg1"/>
                    </a:solidFill>
                    <a:latin typeface="+mj-lt"/>
                  </a:rPr>
                  <a:t>&gt; 60%</a:t>
                </a:r>
                <a:endParaRPr lang="en-GB" i="0">
                  <a:solidFill>
                    <a:schemeClr val="bg1"/>
                  </a:solidFill>
                  <a:effectLst/>
                  <a:latin typeface="+mj-lt"/>
                </a:endParaRPr>
              </a:p>
            </p:txBody>
          </p: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76C749D8-7092-7D0F-D3D6-1210BFC59963}"/>
                  </a:ext>
                </a:extLst>
              </p:cNvPr>
              <p:cNvSpPr txBox="1"/>
              <p:nvPr/>
            </p:nvSpPr>
            <p:spPr>
              <a:xfrm>
                <a:off x="1266866" y="2621732"/>
                <a:ext cx="4088050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432000" lvl="6"/>
                <a:r>
                  <a:rPr lang="de-DE" sz="1600"/>
                  <a:t>Beschäftigen sich mit Nachhaltigkeit aufgrund von </a:t>
                </a:r>
                <a:r>
                  <a:rPr lang="de-DE" sz="1600">
                    <a:latin typeface="+mj-lt"/>
                  </a:rPr>
                  <a:t>Regulatorik</a:t>
                </a:r>
                <a:r>
                  <a:rPr lang="de-DE" sz="1600"/>
                  <a:t> und </a:t>
                </a:r>
                <a:r>
                  <a:rPr lang="de-DE" sz="1600">
                    <a:latin typeface="+mj-lt"/>
                  </a:rPr>
                  <a:t>Kundenanforderunge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51785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4E83573-9E0C-BF5F-7C3C-FDBFB74D369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D189CF-E9CD-7A56-73BD-DEC19208A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as Reifegradmodell zeigt, wie weit Unternehmen in der Verknüpfung von Digitalisierung und Nachhaltigkeit bereits sind und wo noch Potenziale lie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E67577-574E-2773-ADAF-1FC3940601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ie </a:t>
            </a:r>
            <a:r>
              <a:rPr lang="en-US" err="1"/>
              <a:t>geht</a:t>
            </a:r>
            <a:r>
              <a:rPr lang="en-US"/>
              <a:t> es </a:t>
            </a:r>
            <a:r>
              <a:rPr lang="en-US" err="1"/>
              <a:t>weiter</a:t>
            </a:r>
            <a:r>
              <a:rPr lang="en-US"/>
              <a:t>? </a:t>
            </a:r>
          </a:p>
          <a:p>
            <a:endParaRPr lang="de-DE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6D82AB71-F4D7-BB41-F851-0045C835237C}"/>
              </a:ext>
            </a:extLst>
          </p:cNvPr>
          <p:cNvSpPr/>
          <p:nvPr/>
        </p:nvSpPr>
        <p:spPr>
          <a:xfrm>
            <a:off x="780362" y="4990403"/>
            <a:ext cx="432000" cy="432000"/>
          </a:xfrm>
          <a:prstGeom prst="ellipse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b="1" ker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1F95A19C-1AAA-B1EF-14EF-319740FEA52B}"/>
              </a:ext>
            </a:extLst>
          </p:cNvPr>
          <p:cNvSpPr/>
          <p:nvPr/>
        </p:nvSpPr>
        <p:spPr>
          <a:xfrm>
            <a:off x="791515" y="4478034"/>
            <a:ext cx="432000" cy="432000"/>
          </a:xfrm>
          <a:prstGeom prst="ellipse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b="1" ker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C5897AB-7B82-163C-7EC7-47FDB6E87D69}"/>
              </a:ext>
            </a:extLst>
          </p:cNvPr>
          <p:cNvSpPr/>
          <p:nvPr/>
        </p:nvSpPr>
        <p:spPr>
          <a:xfrm>
            <a:off x="791607" y="3964088"/>
            <a:ext cx="432000" cy="432000"/>
          </a:xfrm>
          <a:prstGeom prst="ellipse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b="1" ker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90EC3C0-6A91-7FA1-A7E6-F766E96223DB}"/>
              </a:ext>
            </a:extLst>
          </p:cNvPr>
          <p:cNvSpPr/>
          <p:nvPr/>
        </p:nvSpPr>
        <p:spPr>
          <a:xfrm>
            <a:off x="557505" y="3643406"/>
            <a:ext cx="182155" cy="1946423"/>
          </a:xfrm>
          <a:prstGeom prst="rect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7A84DB6F-F6D7-1952-46F0-6891C985C190}"/>
              </a:ext>
            </a:extLst>
          </p:cNvPr>
          <p:cNvSpPr/>
          <p:nvPr/>
        </p:nvSpPr>
        <p:spPr>
          <a:xfrm rot="5400000">
            <a:off x="1837456" y="2362399"/>
            <a:ext cx="195364" cy="2750400"/>
          </a:xfrm>
          <a:prstGeom prst="rect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0" name="TextBox 66">
            <a:extLst>
              <a:ext uri="{FF2B5EF4-FFF2-40B4-BE49-F238E27FC236}">
                <a16:creationId xmlns:a16="http://schemas.microsoft.com/office/drawing/2014/main" id="{6700B264-ECE0-0448-44A6-5A4A2B8DF2A6}"/>
              </a:ext>
            </a:extLst>
          </p:cNvPr>
          <p:cNvSpPr txBox="1"/>
          <p:nvPr/>
        </p:nvSpPr>
        <p:spPr>
          <a:xfrm>
            <a:off x="560379" y="3053092"/>
            <a:ext cx="240884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 err="1">
                <a:latin typeface="Segoe UI Semibold"/>
              </a:rPr>
              <a:t>Initiating</a:t>
            </a:r>
            <a:endParaRPr lang="de-DE" sz="1400" spc="40">
              <a:latin typeface="Segoe UI Semibold"/>
            </a:endParaRPr>
          </a:p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>
                <a:latin typeface="Segoe UI Semibold"/>
                <a:sym typeface="Wingdings" panose="05000000000000000000" pitchFamily="2" charset="2"/>
              </a:rPr>
              <a:t>Beginner</a:t>
            </a:r>
            <a:endParaRPr lang="de-DE" sz="1400" spc="40">
              <a:latin typeface="Segoe UI Semibold"/>
            </a:endParaRPr>
          </a:p>
        </p:txBody>
      </p:sp>
      <p:sp>
        <p:nvSpPr>
          <p:cNvPr id="64" name="Freeform 6">
            <a:extLst>
              <a:ext uri="{FF2B5EF4-FFF2-40B4-BE49-F238E27FC236}">
                <a16:creationId xmlns:a16="http://schemas.microsoft.com/office/drawing/2014/main" id="{D8D86A08-B160-65AE-6699-D75F3C2CA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9009" y="3336528"/>
            <a:ext cx="202253" cy="281243"/>
          </a:xfrm>
          <a:custGeom>
            <a:avLst/>
            <a:gdLst>
              <a:gd name="T0" fmla="*/ 0 w 753"/>
              <a:gd name="T1" fmla="*/ 750 h 751"/>
              <a:gd name="T2" fmla="*/ 752 w 753"/>
              <a:gd name="T3" fmla="*/ 750 h 751"/>
              <a:gd name="T4" fmla="*/ 752 w 753"/>
              <a:gd name="T5" fmla="*/ 0 h 751"/>
              <a:gd name="T6" fmla="*/ 749 w 753"/>
              <a:gd name="T7" fmla="*/ 0 h 751"/>
              <a:gd name="T8" fmla="*/ 0 w 753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1">
                <a:moveTo>
                  <a:pt x="0" y="750"/>
                </a:moveTo>
                <a:lnTo>
                  <a:pt x="752" y="750"/>
                </a:lnTo>
                <a:lnTo>
                  <a:pt x="752" y="0"/>
                </a:lnTo>
                <a:lnTo>
                  <a:pt x="749" y="0"/>
                </a:lnTo>
                <a:lnTo>
                  <a:pt x="0" y="750"/>
                </a:lnTo>
              </a:path>
            </a:pathLst>
          </a:custGeom>
          <a:solidFill>
            <a:srgbClr val="FF4B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B32DAA5-ADDF-4555-D052-D3B59C95E5C7}"/>
              </a:ext>
            </a:extLst>
          </p:cNvPr>
          <p:cNvSpPr/>
          <p:nvPr/>
        </p:nvSpPr>
        <p:spPr>
          <a:xfrm>
            <a:off x="1524988" y="2546216"/>
            <a:ext cx="504825" cy="504825"/>
          </a:xfrm>
          <a:prstGeom prst="ellipse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kern="0">
                <a:solidFill>
                  <a:srgbClr val="FFFFFF"/>
                </a:solidFill>
                <a:latin typeface="+mn-lt"/>
              </a:rPr>
              <a:t>?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BFC38F2-FBC6-DFB4-21FB-9F72186683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362" y="5008404"/>
            <a:ext cx="396000" cy="396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9BB59FE-273B-12EC-F0B1-BDCA5545B0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9607" y="3982088"/>
            <a:ext cx="396000" cy="396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03A27ED-1E15-4424-9D6B-A36DEE5EE0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9515" y="4496034"/>
            <a:ext cx="396000" cy="3960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4A3816D2-1F1B-D8C1-F2CA-6E89D130F2F0}"/>
              </a:ext>
            </a:extLst>
          </p:cNvPr>
          <p:cNvSpPr txBox="1"/>
          <p:nvPr/>
        </p:nvSpPr>
        <p:spPr>
          <a:xfrm>
            <a:off x="1223607" y="4058737"/>
            <a:ext cx="164867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defRPr sz="1000"/>
            </a:lvl1pPr>
          </a:lstStyle>
          <a:p>
            <a:pPr algn="l"/>
            <a:r>
              <a:rPr lang="de-DE" altLang="de-DE" sz="1050"/>
              <a:t>Isolierte Betrachtung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49BE2EC-5E58-4116-3CB5-07FCBE3E32C5}"/>
              </a:ext>
            </a:extLst>
          </p:cNvPr>
          <p:cNvSpPr txBox="1"/>
          <p:nvPr/>
        </p:nvSpPr>
        <p:spPr>
          <a:xfrm>
            <a:off x="1239409" y="4486285"/>
            <a:ext cx="164867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defRPr sz="1000"/>
            </a:lvl1pPr>
          </a:lstStyle>
          <a:p>
            <a:pPr algn="l"/>
            <a:r>
              <a:rPr lang="de-DE" altLang="de-DE" sz="1050"/>
              <a:t>Office oder ähnliche Anwendunge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890467B-5B29-BB0F-958B-158143CE210C}"/>
              </a:ext>
            </a:extLst>
          </p:cNvPr>
          <p:cNvSpPr txBox="1"/>
          <p:nvPr/>
        </p:nvSpPr>
        <p:spPr>
          <a:xfrm>
            <a:off x="1218497" y="5006905"/>
            <a:ext cx="186049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defRPr sz="1000"/>
            </a:lvl1pPr>
          </a:lstStyle>
          <a:p>
            <a:pPr algn="l" eaLnBrk="1" hangingPunct="1"/>
            <a:r>
              <a:rPr lang="de-DE" altLang="de-DE" sz="1050"/>
              <a:t>Keine Strategie zur Twin Transformation vorhanden</a:t>
            </a: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E96FAE63-C64D-C8F0-7AD2-2382787A91F6}"/>
              </a:ext>
            </a:extLst>
          </p:cNvPr>
          <p:cNvGrpSpPr/>
          <p:nvPr/>
        </p:nvGrpSpPr>
        <p:grpSpPr>
          <a:xfrm>
            <a:off x="3326480" y="2226684"/>
            <a:ext cx="2754968" cy="3039696"/>
            <a:chOff x="3336931" y="2110139"/>
            <a:chExt cx="2754968" cy="3039696"/>
          </a:xfrm>
        </p:grpSpPr>
        <p:sp>
          <p:nvSpPr>
            <p:cNvPr id="58" name="TextBox 66">
              <a:extLst>
                <a:ext uri="{FF2B5EF4-FFF2-40B4-BE49-F238E27FC236}">
                  <a16:creationId xmlns:a16="http://schemas.microsoft.com/office/drawing/2014/main" id="{99C2FDC3-1657-E62C-249C-9F20DC2CE3B4}"/>
                </a:ext>
              </a:extLst>
            </p:cNvPr>
            <p:cNvSpPr txBox="1"/>
            <p:nvPr/>
          </p:nvSpPr>
          <p:spPr>
            <a:xfrm>
              <a:off x="3407454" y="2620239"/>
              <a:ext cx="2408840" cy="523220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pc="40">
                  <a:latin typeface="Segoe UI Semibold"/>
                </a:rPr>
                <a:t>Emerging</a:t>
              </a:r>
            </a:p>
            <a:p>
              <a:pPr algn="ctr"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pc="40">
                  <a:latin typeface="Segoe UI Semibold"/>
                </a:rPr>
                <a:t>Fokus auf Compliance</a:t>
              </a: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720DDA72-111F-25D5-8D42-AAC8B8363BA0}"/>
                </a:ext>
              </a:extLst>
            </p:cNvPr>
            <p:cNvGrpSpPr/>
            <p:nvPr/>
          </p:nvGrpSpPr>
          <p:grpSpPr>
            <a:xfrm>
              <a:off x="3336931" y="2110139"/>
              <a:ext cx="2754968" cy="3039696"/>
              <a:chOff x="3336931" y="2110139"/>
              <a:chExt cx="2754968" cy="3039696"/>
            </a:xfrm>
          </p:grpSpPr>
          <p:sp>
            <p:nvSpPr>
              <p:cNvPr id="50" name="Rechteck 49">
                <a:extLst>
                  <a:ext uri="{FF2B5EF4-FFF2-40B4-BE49-F238E27FC236}">
                    <a16:creationId xmlns:a16="http://schemas.microsoft.com/office/drawing/2014/main" id="{CF8A3D23-4C96-BA2A-D9BA-23371EA8B274}"/>
                  </a:ext>
                </a:extLst>
              </p:cNvPr>
              <p:cNvSpPr/>
              <p:nvPr/>
            </p:nvSpPr>
            <p:spPr>
              <a:xfrm>
                <a:off x="3336931" y="3203412"/>
                <a:ext cx="182155" cy="1946423"/>
              </a:xfrm>
              <a:prstGeom prst="rect">
                <a:avLst/>
              </a:prstGeom>
              <a:solidFill>
                <a:srgbClr val="FFA39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54" name="Rechteck 53">
                <a:extLst>
                  <a:ext uri="{FF2B5EF4-FFF2-40B4-BE49-F238E27FC236}">
                    <a16:creationId xmlns:a16="http://schemas.microsoft.com/office/drawing/2014/main" id="{A48A5721-EB2C-BDB7-B2AB-BF40C9354546}"/>
                  </a:ext>
                </a:extLst>
              </p:cNvPr>
              <p:cNvSpPr/>
              <p:nvPr/>
            </p:nvSpPr>
            <p:spPr>
              <a:xfrm rot="5400000">
                <a:off x="4633210" y="1911050"/>
                <a:ext cx="166977" cy="2750400"/>
              </a:xfrm>
              <a:prstGeom prst="rect">
                <a:avLst/>
              </a:prstGeom>
              <a:solidFill>
                <a:srgbClr val="FFA39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62" name="Freeform 6">
                <a:extLst>
                  <a:ext uri="{FF2B5EF4-FFF2-40B4-BE49-F238E27FC236}">
                    <a16:creationId xmlns:a16="http://schemas.microsoft.com/office/drawing/2014/main" id="{38C127FF-1F74-F1A4-D7E5-A7C073E51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81794" y="2888308"/>
                <a:ext cx="202253" cy="281243"/>
              </a:xfrm>
              <a:custGeom>
                <a:avLst/>
                <a:gdLst>
                  <a:gd name="T0" fmla="*/ 0 w 753"/>
                  <a:gd name="T1" fmla="*/ 750 h 751"/>
                  <a:gd name="T2" fmla="*/ 752 w 753"/>
                  <a:gd name="T3" fmla="*/ 750 h 751"/>
                  <a:gd name="T4" fmla="*/ 752 w 753"/>
                  <a:gd name="T5" fmla="*/ 0 h 751"/>
                  <a:gd name="T6" fmla="*/ 749 w 753"/>
                  <a:gd name="T7" fmla="*/ 0 h 751"/>
                  <a:gd name="T8" fmla="*/ 0 w 753"/>
                  <a:gd name="T9" fmla="*/ 750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3" h="751">
                    <a:moveTo>
                      <a:pt x="0" y="750"/>
                    </a:moveTo>
                    <a:lnTo>
                      <a:pt x="752" y="750"/>
                    </a:lnTo>
                    <a:lnTo>
                      <a:pt x="752" y="0"/>
                    </a:lnTo>
                    <a:lnTo>
                      <a:pt x="749" y="0"/>
                    </a:lnTo>
                    <a:lnTo>
                      <a:pt x="0" y="750"/>
                    </a:lnTo>
                  </a:path>
                </a:pathLst>
              </a:custGeom>
              <a:solidFill>
                <a:srgbClr val="FFA39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grpSp>
            <p:nvGrpSpPr>
              <p:cNvPr id="5" name="Gruppieren 29">
                <a:extLst>
                  <a:ext uri="{FF2B5EF4-FFF2-40B4-BE49-F238E27FC236}">
                    <a16:creationId xmlns:a16="http://schemas.microsoft.com/office/drawing/2014/main" id="{3C9779F7-78F5-DE6E-A1B6-5419EB64EA9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304414" y="2110139"/>
                <a:ext cx="504825" cy="504825"/>
                <a:chOff x="6517025" y="985748"/>
                <a:chExt cx="504000" cy="504000"/>
              </a:xfrm>
            </p:grpSpPr>
            <p:sp>
              <p:nvSpPr>
                <p:cNvPr id="6" name="Ellipse 5">
                  <a:extLst>
                    <a:ext uri="{FF2B5EF4-FFF2-40B4-BE49-F238E27FC236}">
                      <a16:creationId xmlns:a16="http://schemas.microsoft.com/office/drawing/2014/main" id="{2F521130-3841-11FC-6426-D0D203B36461}"/>
                    </a:ext>
                  </a:extLst>
                </p:cNvPr>
                <p:cNvSpPr/>
                <p:nvPr/>
              </p:nvSpPr>
              <p:spPr>
                <a:xfrm>
                  <a:off x="6517025" y="985748"/>
                  <a:ext cx="504000" cy="504000"/>
                </a:xfrm>
                <a:prstGeom prst="ellipse">
                  <a:avLst/>
                </a:prstGeom>
                <a:solidFill>
                  <a:srgbClr val="FFA39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FFFFFF"/>
                    </a:solidFill>
                    <a:latin typeface="+mn-lt"/>
                  </a:endParaRPr>
                </a:p>
              </p:txBody>
            </p:sp>
            <p:pic>
              <p:nvPicPr>
                <p:cNvPr id="7" name="Grafik 6">
                  <a:extLst>
                    <a:ext uri="{FF2B5EF4-FFF2-40B4-BE49-F238E27FC236}">
                      <a16:creationId xmlns:a16="http://schemas.microsoft.com/office/drawing/2014/main" id="{D7418528-9176-F89E-F6EC-7B10312204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email"/>
                <a:stretch>
                  <a:fillRect/>
                </a:stretch>
              </p:blipFill>
              <p:spPr>
                <a:xfrm>
                  <a:off x="6559818" y="995257"/>
                  <a:ext cx="427925" cy="427925"/>
                </a:xfrm>
                <a:prstGeom prst="rect">
                  <a:avLst/>
                </a:prstGeom>
              </p:spPr>
            </p:pic>
          </p:grpSp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59425D32-83FE-FB07-90D6-D14A4A0576BE}"/>
                  </a:ext>
                </a:extLst>
              </p:cNvPr>
              <p:cNvSpPr/>
              <p:nvPr/>
            </p:nvSpPr>
            <p:spPr>
              <a:xfrm>
                <a:off x="3587094" y="4536392"/>
                <a:ext cx="432000" cy="432000"/>
              </a:xfrm>
              <a:prstGeom prst="ellipse">
                <a:avLst/>
              </a:prstGeom>
              <a:solidFill>
                <a:srgbClr val="FFA39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b="1" kern="0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7E406D2B-48DE-6F26-6734-DD76C682399A}"/>
                  </a:ext>
                </a:extLst>
              </p:cNvPr>
              <p:cNvSpPr/>
              <p:nvPr/>
            </p:nvSpPr>
            <p:spPr>
              <a:xfrm>
                <a:off x="3598247" y="4024023"/>
                <a:ext cx="432000" cy="432000"/>
              </a:xfrm>
              <a:prstGeom prst="ellipse">
                <a:avLst/>
              </a:prstGeom>
              <a:solidFill>
                <a:srgbClr val="FFA39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b="1" kern="0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A3590C6B-BEF6-A10E-DCA8-510D0798BE0B}"/>
                  </a:ext>
                </a:extLst>
              </p:cNvPr>
              <p:cNvSpPr/>
              <p:nvPr/>
            </p:nvSpPr>
            <p:spPr>
              <a:xfrm>
                <a:off x="3598339" y="3510077"/>
                <a:ext cx="432000" cy="432000"/>
              </a:xfrm>
              <a:prstGeom prst="ellipse">
                <a:avLst/>
              </a:prstGeom>
              <a:solidFill>
                <a:srgbClr val="FFA39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b="1" kern="0">
                  <a:solidFill>
                    <a:srgbClr val="FFFFFF"/>
                  </a:solidFill>
                  <a:latin typeface="+mn-lt"/>
                </a:endParaRPr>
              </a:p>
            </p:txBody>
          </p:sp>
          <p:pic>
            <p:nvPicPr>
              <p:cNvPr id="31" name="Grafik 30">
                <a:extLst>
                  <a:ext uri="{FF2B5EF4-FFF2-40B4-BE49-F238E27FC236}">
                    <a16:creationId xmlns:a16="http://schemas.microsoft.com/office/drawing/2014/main" id="{E405B8C8-B14B-5B0D-254E-437036152B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605094" y="4554393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1417CB15-4A6B-08CA-3F76-F6864BF727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616339" y="3528077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33" name="Grafik 32">
                <a:extLst>
                  <a:ext uri="{FF2B5EF4-FFF2-40B4-BE49-F238E27FC236}">
                    <a16:creationId xmlns:a16="http://schemas.microsoft.com/office/drawing/2014/main" id="{8CF3F6D3-2C18-0488-5EEF-FD069456AB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16247" y="4042023"/>
                <a:ext cx="396000" cy="396000"/>
              </a:xfrm>
              <a:prstGeom prst="rect">
                <a:avLst/>
              </a:prstGeom>
            </p:spPr>
          </p:pic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D36881BE-7BA9-EF4F-37A7-7E708E7BBA0E}"/>
                  </a:ext>
                </a:extLst>
              </p:cNvPr>
              <p:cNvSpPr txBox="1"/>
              <p:nvPr/>
            </p:nvSpPr>
            <p:spPr>
              <a:xfrm>
                <a:off x="4030339" y="3604726"/>
                <a:ext cx="1648678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de-DE"/>
                </a:defPPr>
                <a:lvl1pPr algn="ctr" eaLnBrk="1" hangingPunct="1">
                  <a:defRPr sz="1000"/>
                </a:lvl1pPr>
              </a:lstStyle>
              <a:p>
                <a:pPr algn="l"/>
                <a:r>
                  <a:rPr lang="de-DE" altLang="de-DE" sz="1050"/>
                  <a:t>Isolierte Betrachtung</a:t>
                </a: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96E360CC-CF37-51B4-0506-B10DD6F21856}"/>
                  </a:ext>
                </a:extLst>
              </p:cNvPr>
              <p:cNvSpPr txBox="1"/>
              <p:nvPr/>
            </p:nvSpPr>
            <p:spPr>
              <a:xfrm>
                <a:off x="4046141" y="4032274"/>
                <a:ext cx="1977498" cy="4154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de-DE"/>
                </a:defPPr>
                <a:lvl1pPr algn="ctr" eaLnBrk="1" hangingPunct="1">
                  <a:defRPr sz="1000"/>
                </a:lvl1pPr>
              </a:lstStyle>
              <a:p>
                <a:pPr algn="l" eaLnBrk="1" hangingPunct="1"/>
                <a:r>
                  <a:rPr lang="de-DE" altLang="de-DE" sz="1050"/>
                  <a:t>Expertentools für Reporting &amp; Compliance Anforderungen</a:t>
                </a:r>
              </a:p>
            </p:txBody>
          </p:sp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54A95534-57F9-7097-9BE5-4C8BBD5A6FAE}"/>
                  </a:ext>
                </a:extLst>
              </p:cNvPr>
              <p:cNvSpPr txBox="1"/>
              <p:nvPr/>
            </p:nvSpPr>
            <p:spPr>
              <a:xfrm>
                <a:off x="4019094" y="4625434"/>
                <a:ext cx="1648678" cy="2539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de-DE"/>
                </a:defPPr>
                <a:lvl1pPr algn="ctr" eaLnBrk="1" hangingPunct="1">
                  <a:defRPr sz="1000"/>
                </a:lvl1pPr>
              </a:lstStyle>
              <a:p>
                <a:pPr algn="l"/>
                <a:r>
                  <a:rPr lang="de-DE" altLang="de-DE" sz="1050"/>
                  <a:t>Rudimentäre Strategie</a:t>
                </a:r>
              </a:p>
            </p:txBody>
          </p:sp>
        </p:grp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133B29C-CB35-650B-6E12-E7176552D51C}"/>
              </a:ext>
            </a:extLst>
          </p:cNvPr>
          <p:cNvGrpSpPr/>
          <p:nvPr/>
        </p:nvGrpSpPr>
        <p:grpSpPr>
          <a:xfrm>
            <a:off x="6097590" y="1747456"/>
            <a:ext cx="2762286" cy="3224051"/>
            <a:chOff x="6109532" y="1630911"/>
            <a:chExt cx="2762286" cy="3224051"/>
          </a:xfrm>
        </p:grpSpPr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0A1E1097-243C-2A75-700E-C3BC3FF416ED}"/>
                </a:ext>
              </a:extLst>
            </p:cNvPr>
            <p:cNvSpPr/>
            <p:nvPr/>
          </p:nvSpPr>
          <p:spPr>
            <a:xfrm>
              <a:off x="6117663" y="2908539"/>
              <a:ext cx="182155" cy="1946423"/>
            </a:xfrm>
            <a:prstGeom prst="rect">
              <a:avLst/>
            </a:prstGeom>
            <a:solidFill>
              <a:srgbClr val="3C4BC8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FCBF2D19-29F4-FDA3-0791-F055199442F8}"/>
                </a:ext>
              </a:extLst>
            </p:cNvPr>
            <p:cNvSpPr/>
            <p:nvPr/>
          </p:nvSpPr>
          <p:spPr>
            <a:xfrm rot="5400000">
              <a:off x="7406697" y="1622031"/>
              <a:ext cx="179837" cy="2750405"/>
            </a:xfrm>
            <a:prstGeom prst="rect">
              <a:avLst/>
            </a:prstGeom>
            <a:solidFill>
              <a:srgbClr val="3C4BC8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7" name="TextBox 66">
              <a:extLst>
                <a:ext uri="{FF2B5EF4-FFF2-40B4-BE49-F238E27FC236}">
                  <a16:creationId xmlns:a16="http://schemas.microsoft.com/office/drawing/2014/main" id="{9FF3FF64-6D68-3677-E854-519985D8531B}"/>
                </a:ext>
              </a:extLst>
            </p:cNvPr>
            <p:cNvSpPr txBox="1"/>
            <p:nvPr/>
          </p:nvSpPr>
          <p:spPr>
            <a:xfrm>
              <a:off x="6109532" y="2168260"/>
              <a:ext cx="2408840" cy="73866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pc="40" err="1">
                  <a:latin typeface="Segoe UI Semibold"/>
                </a:rPr>
                <a:t>Optimized</a:t>
              </a:r>
              <a:endParaRPr lang="de-DE" sz="1400" spc="40">
                <a:latin typeface="Segoe UI Semibold"/>
              </a:endParaRPr>
            </a:p>
            <a:p>
              <a:pPr algn="ctr"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pc="40">
                  <a:latin typeface="Segoe UI Semibold"/>
                </a:rPr>
                <a:t>Operationalisierung von Nachhaltigkeit </a:t>
              </a:r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9B51B890-2CC5-E49E-A15F-3E41C3654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9565" y="2585032"/>
              <a:ext cx="202253" cy="281243"/>
            </a:xfrm>
            <a:custGeom>
              <a:avLst/>
              <a:gdLst>
                <a:gd name="T0" fmla="*/ 0 w 753"/>
                <a:gd name="T1" fmla="*/ 750 h 751"/>
                <a:gd name="T2" fmla="*/ 752 w 753"/>
                <a:gd name="T3" fmla="*/ 750 h 751"/>
                <a:gd name="T4" fmla="*/ 752 w 753"/>
                <a:gd name="T5" fmla="*/ 0 h 751"/>
                <a:gd name="T6" fmla="*/ 749 w 753"/>
                <a:gd name="T7" fmla="*/ 0 h 751"/>
                <a:gd name="T8" fmla="*/ 0 w 753"/>
                <a:gd name="T9" fmla="*/ 750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3" h="751">
                  <a:moveTo>
                    <a:pt x="0" y="750"/>
                  </a:moveTo>
                  <a:lnTo>
                    <a:pt x="752" y="750"/>
                  </a:lnTo>
                  <a:lnTo>
                    <a:pt x="752" y="0"/>
                  </a:lnTo>
                  <a:lnTo>
                    <a:pt x="749" y="0"/>
                  </a:lnTo>
                  <a:lnTo>
                    <a:pt x="0" y="750"/>
                  </a:lnTo>
                </a:path>
              </a:pathLst>
            </a:custGeom>
            <a:solidFill>
              <a:srgbClr val="3C4BC8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69C2744D-971F-0D41-26CB-EA22C0EFDE65}"/>
                </a:ext>
              </a:extLst>
            </p:cNvPr>
            <p:cNvGrpSpPr/>
            <p:nvPr/>
          </p:nvGrpSpPr>
          <p:grpSpPr>
            <a:xfrm>
              <a:off x="7075673" y="1630911"/>
              <a:ext cx="523773" cy="534820"/>
              <a:chOff x="9537460" y="2081446"/>
              <a:chExt cx="360000" cy="360000"/>
            </a:xfrm>
            <a:solidFill>
              <a:schemeClr val="accent2"/>
            </a:solidFill>
          </p:grpSpPr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C129B6B3-8A84-E59B-1D13-21E5AB214442}"/>
                  </a:ext>
                </a:extLst>
              </p:cNvPr>
              <p:cNvSpPr/>
              <p:nvPr/>
            </p:nvSpPr>
            <p:spPr>
              <a:xfrm>
                <a:off x="9537460" y="2081446"/>
                <a:ext cx="360000" cy="360000"/>
              </a:xfrm>
              <a:prstGeom prst="ellipse">
                <a:avLst/>
              </a:prstGeom>
              <a:solidFill>
                <a:srgbClr val="8A93D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FFFFFF"/>
                  </a:solidFill>
                  <a:latin typeface="+mn-lt"/>
                </a:endParaRPr>
              </a:p>
            </p:txBody>
          </p:sp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628F7F3E-CD64-9C21-0365-399E20B27B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/>
              <a:stretch>
                <a:fillRect/>
              </a:stretch>
            </p:blipFill>
            <p:spPr>
              <a:xfrm>
                <a:off x="9573460" y="2117446"/>
                <a:ext cx="288000" cy="288000"/>
              </a:xfrm>
              <a:prstGeom prst="rect">
                <a:avLst/>
              </a:prstGeom>
            </p:spPr>
          </p:pic>
        </p:grp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B2B2C733-9A2F-A0F1-967D-CBF70818FFE8}"/>
                </a:ext>
              </a:extLst>
            </p:cNvPr>
            <p:cNvSpPr/>
            <p:nvPr/>
          </p:nvSpPr>
          <p:spPr>
            <a:xfrm>
              <a:off x="6365318" y="4248484"/>
              <a:ext cx="432000" cy="432000"/>
            </a:xfrm>
            <a:prstGeom prst="ellipse">
              <a:avLst/>
            </a:prstGeom>
            <a:solidFill>
              <a:srgbClr val="8A93D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DFE10427-6901-834B-E964-C89592BC0F7B}"/>
                </a:ext>
              </a:extLst>
            </p:cNvPr>
            <p:cNvSpPr/>
            <p:nvPr/>
          </p:nvSpPr>
          <p:spPr>
            <a:xfrm>
              <a:off x="6376471" y="3736115"/>
              <a:ext cx="432000" cy="432000"/>
            </a:xfrm>
            <a:prstGeom prst="ellipse">
              <a:avLst/>
            </a:prstGeom>
            <a:solidFill>
              <a:srgbClr val="8A93D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F1B02BAD-4C63-C4B2-6ED4-43768EA923C8}"/>
                </a:ext>
              </a:extLst>
            </p:cNvPr>
            <p:cNvSpPr/>
            <p:nvPr/>
          </p:nvSpPr>
          <p:spPr>
            <a:xfrm>
              <a:off x="6376563" y="3222169"/>
              <a:ext cx="432000" cy="432000"/>
            </a:xfrm>
            <a:prstGeom prst="ellipse">
              <a:avLst/>
            </a:prstGeom>
            <a:solidFill>
              <a:srgbClr val="8A93D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9CB42317-07A9-0ADE-6093-E6AEDA607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383318" y="4266485"/>
              <a:ext cx="396000" cy="396000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9CA111-D00B-DE71-8808-FA951D7E4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94563" y="3240169"/>
              <a:ext cx="396000" cy="396000"/>
            </a:xfrm>
            <a:prstGeom prst="rect">
              <a:avLst/>
            </a:prstGeom>
          </p:spPr>
        </p:pic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AE5930F9-24E6-1C05-30CA-CA0BB9817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94471" y="3754115"/>
              <a:ext cx="396000" cy="396000"/>
            </a:xfrm>
            <a:prstGeom prst="rect">
              <a:avLst/>
            </a:prstGeom>
          </p:spPr>
        </p:pic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B113D12-ECFA-ED3E-AD0B-E598B11F0B48}"/>
                </a:ext>
              </a:extLst>
            </p:cNvPr>
            <p:cNvSpPr txBox="1"/>
            <p:nvPr/>
          </p:nvSpPr>
          <p:spPr>
            <a:xfrm>
              <a:off x="6764631" y="3231209"/>
              <a:ext cx="2096134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 eaLnBrk="1" hangingPunct="1"/>
              <a:r>
                <a:rPr lang="de-DE" altLang="de-DE" sz="1050">
                  <a:latin typeface="+mj-lt"/>
                </a:rPr>
                <a:t>Integration von Nachhaltigkeit in relevante Kernprozesse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B36A14EE-15F1-1DFA-F749-C2E1A7A4B326}"/>
                </a:ext>
              </a:extLst>
            </p:cNvPr>
            <p:cNvSpPr txBox="1"/>
            <p:nvPr/>
          </p:nvSpPr>
          <p:spPr>
            <a:xfrm>
              <a:off x="6814410" y="3744366"/>
              <a:ext cx="2046355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/>
              <a:r>
                <a:rPr lang="de-DE" sz="1050"/>
                <a:t>Tools und KI für die Erhöhung der NHP in Kernprozessen</a:t>
              </a:r>
              <a:endParaRPr lang="de-DE" altLang="de-DE" sz="1050"/>
            </a:p>
          </p:txBody>
        </p: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3A306F47-9F3C-5D23-8907-E0D7F1792727}"/>
                </a:ext>
              </a:extLst>
            </p:cNvPr>
            <p:cNvSpPr txBox="1"/>
            <p:nvPr/>
          </p:nvSpPr>
          <p:spPr>
            <a:xfrm>
              <a:off x="6803453" y="4264986"/>
              <a:ext cx="1965893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 eaLnBrk="1" hangingPunct="1"/>
              <a:r>
                <a:rPr lang="de-DE" altLang="de-DE" sz="1050"/>
                <a:t>Detaillierte Strategie definiert,</a:t>
              </a:r>
              <a:br>
                <a:rPr lang="de-DE" altLang="de-DE" sz="1050"/>
              </a:br>
              <a:r>
                <a:rPr lang="de-DE" altLang="de-DE" sz="1050"/>
                <a:t>in Teilen Umgesetzt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5027E10-EE73-FCFA-080E-90D8730866BD}"/>
              </a:ext>
            </a:extLst>
          </p:cNvPr>
          <p:cNvGrpSpPr/>
          <p:nvPr/>
        </p:nvGrpSpPr>
        <p:grpSpPr>
          <a:xfrm>
            <a:off x="8876019" y="1432022"/>
            <a:ext cx="2765119" cy="3214822"/>
            <a:chOff x="8902338" y="1307163"/>
            <a:chExt cx="2765119" cy="3214822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8B9E61A8-206F-6845-2A9D-DE248A00B0B5}"/>
                </a:ext>
              </a:extLst>
            </p:cNvPr>
            <p:cNvSpPr/>
            <p:nvPr/>
          </p:nvSpPr>
          <p:spPr>
            <a:xfrm>
              <a:off x="8917057" y="2575562"/>
              <a:ext cx="182155" cy="1946423"/>
            </a:xfrm>
            <a:prstGeom prst="rect">
              <a:avLst/>
            </a:prstGeom>
            <a:solidFill>
              <a:srgbClr val="3C4B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73122260-4489-DF12-478F-7A04017DBD67}"/>
                </a:ext>
              </a:extLst>
            </p:cNvPr>
            <p:cNvSpPr/>
            <p:nvPr/>
          </p:nvSpPr>
          <p:spPr>
            <a:xfrm rot="5400000">
              <a:off x="10202257" y="1270758"/>
              <a:ext cx="180000" cy="2750400"/>
            </a:xfrm>
            <a:prstGeom prst="rect">
              <a:avLst/>
            </a:prstGeom>
            <a:solidFill>
              <a:srgbClr val="3C4B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9" name="TextBox 66">
              <a:extLst>
                <a:ext uri="{FF2B5EF4-FFF2-40B4-BE49-F238E27FC236}">
                  <a16:creationId xmlns:a16="http://schemas.microsoft.com/office/drawing/2014/main" id="{8C3C448F-E450-26D1-8186-17411E9555E9}"/>
                </a:ext>
              </a:extLst>
            </p:cNvPr>
            <p:cNvSpPr txBox="1"/>
            <p:nvPr/>
          </p:nvSpPr>
          <p:spPr>
            <a:xfrm>
              <a:off x="8902338" y="1841983"/>
              <a:ext cx="2408840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 anchorCtr="0">
              <a:spAutoFit/>
            </a:bodyPr>
            <a:lstStyle/>
            <a:p>
              <a:pPr algn="ctr"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pc="40" err="1">
                  <a:latin typeface="Segoe UI Semibold"/>
                </a:rPr>
                <a:t>Leading</a:t>
              </a:r>
              <a:endParaRPr lang="de-DE" sz="1400" spc="40">
                <a:latin typeface="Segoe UI Semibold"/>
              </a:endParaRPr>
            </a:p>
            <a:p>
              <a:pPr algn="ctr"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pc="40">
                  <a:latin typeface="Segoe UI Semibold"/>
                </a:rPr>
                <a:t>Transformative Nachhaltigkeit</a:t>
              </a:r>
            </a:p>
          </p:txBody>
        </p:sp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54B20E8E-B3E8-F3DD-E6E9-C9DE227C9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65204" y="2249075"/>
              <a:ext cx="202253" cy="281243"/>
            </a:xfrm>
            <a:custGeom>
              <a:avLst/>
              <a:gdLst>
                <a:gd name="T0" fmla="*/ 0 w 753"/>
                <a:gd name="T1" fmla="*/ 750 h 751"/>
                <a:gd name="T2" fmla="*/ 752 w 753"/>
                <a:gd name="T3" fmla="*/ 750 h 751"/>
                <a:gd name="T4" fmla="*/ 752 w 753"/>
                <a:gd name="T5" fmla="*/ 0 h 751"/>
                <a:gd name="T6" fmla="*/ 749 w 753"/>
                <a:gd name="T7" fmla="*/ 0 h 751"/>
                <a:gd name="T8" fmla="*/ 0 w 753"/>
                <a:gd name="T9" fmla="*/ 750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3" h="751">
                  <a:moveTo>
                    <a:pt x="0" y="750"/>
                  </a:moveTo>
                  <a:lnTo>
                    <a:pt x="752" y="750"/>
                  </a:lnTo>
                  <a:lnTo>
                    <a:pt x="752" y="0"/>
                  </a:lnTo>
                  <a:lnTo>
                    <a:pt x="749" y="0"/>
                  </a:lnTo>
                  <a:lnTo>
                    <a:pt x="0" y="750"/>
                  </a:lnTo>
                </a:path>
              </a:pathLst>
            </a:custGeom>
            <a:solidFill>
              <a:srgbClr val="3C4B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9DB4D396-4192-5FB3-BD02-CA0F2C3D10DC}"/>
                </a:ext>
              </a:extLst>
            </p:cNvPr>
            <p:cNvGrpSpPr/>
            <p:nvPr/>
          </p:nvGrpSpPr>
          <p:grpSpPr>
            <a:xfrm>
              <a:off x="9844871" y="1307163"/>
              <a:ext cx="523773" cy="534820"/>
              <a:chOff x="7075995" y="2417305"/>
              <a:chExt cx="360000" cy="360000"/>
            </a:xfrm>
            <a:solidFill>
              <a:schemeClr val="accent2"/>
            </a:solidFill>
          </p:grpSpPr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364E57B3-4DBE-B66A-E653-741A2A5DF71C}"/>
                  </a:ext>
                </a:extLst>
              </p:cNvPr>
              <p:cNvSpPr/>
              <p:nvPr/>
            </p:nvSpPr>
            <p:spPr>
              <a:xfrm>
                <a:off x="7075995" y="2417305"/>
                <a:ext cx="360000" cy="360000"/>
              </a:xfrm>
              <a:prstGeom prst="ellipse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FFFFFF"/>
                  </a:solidFill>
                  <a:latin typeface="+mn-lt"/>
                </a:endParaRPr>
              </a:p>
            </p:txBody>
          </p:sp>
          <p:pic>
            <p:nvPicPr>
              <p:cNvPr id="14" name="Grafik 13">
                <a:extLst>
                  <a:ext uri="{FF2B5EF4-FFF2-40B4-BE49-F238E27FC236}">
                    <a16:creationId xmlns:a16="http://schemas.microsoft.com/office/drawing/2014/main" id="{69B79005-902D-BF97-75C9-A854CB8AC7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/>
              <a:stretch>
                <a:fillRect/>
              </a:stretch>
            </p:blipFill>
            <p:spPr>
              <a:xfrm>
                <a:off x="7111995" y="2453305"/>
                <a:ext cx="288000" cy="288000"/>
              </a:xfrm>
              <a:prstGeom prst="rect">
                <a:avLst/>
              </a:prstGeom>
            </p:spPr>
          </p:pic>
        </p:grp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7AFD6DF3-B2D5-5665-6139-A1E46C2B0613}"/>
                </a:ext>
              </a:extLst>
            </p:cNvPr>
            <p:cNvSpPr/>
            <p:nvPr/>
          </p:nvSpPr>
          <p:spPr>
            <a:xfrm>
              <a:off x="9172560" y="3934114"/>
              <a:ext cx="432000" cy="432000"/>
            </a:xfrm>
            <a:prstGeom prst="ellips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D036710C-EB3A-C9A5-2D83-6E9E976FFFCA}"/>
                </a:ext>
              </a:extLst>
            </p:cNvPr>
            <p:cNvSpPr/>
            <p:nvPr/>
          </p:nvSpPr>
          <p:spPr>
            <a:xfrm>
              <a:off x="9183713" y="3421745"/>
              <a:ext cx="432000" cy="432000"/>
            </a:xfrm>
            <a:prstGeom prst="ellips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649F352B-A027-F8EF-B4B1-E2602BE9374F}"/>
                </a:ext>
              </a:extLst>
            </p:cNvPr>
            <p:cNvSpPr/>
            <p:nvPr/>
          </p:nvSpPr>
          <p:spPr>
            <a:xfrm>
              <a:off x="9183805" y="2907799"/>
              <a:ext cx="432000" cy="432000"/>
            </a:xfrm>
            <a:prstGeom prst="ellips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70" name="Grafik 69">
              <a:extLst>
                <a:ext uri="{FF2B5EF4-FFF2-40B4-BE49-F238E27FC236}">
                  <a16:creationId xmlns:a16="http://schemas.microsoft.com/office/drawing/2014/main" id="{9BECD779-5F78-880A-D589-53807563A5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190560" y="3952115"/>
              <a:ext cx="396000" cy="396000"/>
            </a:xfrm>
            <a:prstGeom prst="rect">
              <a:avLst/>
            </a:prstGeom>
          </p:spPr>
        </p:pic>
        <p:pic>
          <p:nvPicPr>
            <p:cNvPr id="71" name="Grafik 70">
              <a:extLst>
                <a:ext uri="{FF2B5EF4-FFF2-40B4-BE49-F238E27FC236}">
                  <a16:creationId xmlns:a16="http://schemas.microsoft.com/office/drawing/2014/main" id="{9AD56454-652B-9EA1-AA56-0300F6A9D0A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01805" y="2925799"/>
              <a:ext cx="396000" cy="396000"/>
            </a:xfrm>
            <a:prstGeom prst="rect">
              <a:avLst/>
            </a:prstGeom>
          </p:spPr>
        </p:pic>
        <p:pic>
          <p:nvPicPr>
            <p:cNvPr id="72" name="Grafik 71">
              <a:extLst>
                <a:ext uri="{FF2B5EF4-FFF2-40B4-BE49-F238E27FC236}">
                  <a16:creationId xmlns:a16="http://schemas.microsoft.com/office/drawing/2014/main" id="{A389937A-B21B-04B5-D377-8291877BE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201713" y="3439745"/>
              <a:ext cx="396000" cy="396000"/>
            </a:xfrm>
            <a:prstGeom prst="rect">
              <a:avLst/>
            </a:prstGeom>
          </p:spPr>
        </p:pic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6F3B7B84-9962-542C-9081-3E53EB8BA185}"/>
                </a:ext>
              </a:extLst>
            </p:cNvPr>
            <p:cNvSpPr txBox="1"/>
            <p:nvPr/>
          </p:nvSpPr>
          <p:spPr>
            <a:xfrm>
              <a:off x="9571873" y="2916839"/>
              <a:ext cx="2082446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 eaLnBrk="1" hangingPunct="1"/>
              <a:r>
                <a:rPr lang="de-DE" altLang="de-DE" sz="1050">
                  <a:latin typeface="+mj-lt"/>
                </a:rPr>
                <a:t>Vollständige Integration in alle Kern- und Supportprozesse</a:t>
              </a: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E2E14FA5-E1CC-B718-B27E-90AADF1F523A}"/>
                </a:ext>
              </a:extLst>
            </p:cNvPr>
            <p:cNvSpPr txBox="1"/>
            <p:nvPr/>
          </p:nvSpPr>
          <p:spPr>
            <a:xfrm>
              <a:off x="9615713" y="3349204"/>
              <a:ext cx="2046355" cy="577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 eaLnBrk="1" hangingPunct="1"/>
              <a:r>
                <a:rPr lang="de-DE" altLang="de-DE" sz="1050"/>
                <a:t>Einbezug von Nachhaltigkeit in alle Tools unter Nutzung fortschrittlicher Technologien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357532F8-A6AC-D929-A13A-04DA9BC03D5A}"/>
                </a:ext>
              </a:extLst>
            </p:cNvPr>
            <p:cNvSpPr txBox="1"/>
            <p:nvPr/>
          </p:nvSpPr>
          <p:spPr>
            <a:xfrm>
              <a:off x="9610695" y="3950616"/>
              <a:ext cx="1965893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 eaLnBrk="1" hangingPunct="1"/>
              <a:r>
                <a:rPr lang="de-DE" altLang="de-DE" sz="1050"/>
                <a:t>Strategie wird lückenlos umgesetzt</a:t>
              </a:r>
            </a:p>
          </p:txBody>
        </p:sp>
      </p:grpSp>
      <p:sp>
        <p:nvSpPr>
          <p:cNvPr id="77" name="Rechtwinkliges Dreieck 76">
            <a:extLst>
              <a:ext uri="{FF2B5EF4-FFF2-40B4-BE49-F238E27FC236}">
                <a16:creationId xmlns:a16="http://schemas.microsoft.com/office/drawing/2014/main" id="{EC7AEDE7-D545-A5F3-77C0-58DACD351404}"/>
              </a:ext>
            </a:extLst>
          </p:cNvPr>
          <p:cNvSpPr/>
          <p:nvPr/>
        </p:nvSpPr>
        <p:spPr>
          <a:xfrm flipV="1">
            <a:off x="551229" y="5642695"/>
            <a:ext cx="11109316" cy="485217"/>
          </a:xfrm>
          <a:prstGeom prst="rtTriangle">
            <a:avLst/>
          </a:prstGeom>
          <a:gradFill flip="none" rotWithShape="1">
            <a:gsLst>
              <a:gs pos="0">
                <a:srgbClr val="FF4B4B"/>
              </a:gs>
              <a:gs pos="51000">
                <a:srgbClr val="FF744F">
                  <a:alpha val="70000"/>
                </a:srgbClr>
              </a:gs>
              <a:gs pos="100000">
                <a:srgbClr val="FDF2DF"/>
              </a:gs>
            </a:gsLst>
            <a:lin ang="0" scaled="1"/>
            <a:tileRect/>
          </a:gradFill>
          <a:ln w="9525" cap="flat">
            <a:noFill/>
            <a:prstDash val="solid"/>
            <a:miter/>
          </a:ln>
        </p:spPr>
        <p:txBody>
          <a:bodyPr lIns="144000" tIns="144000" rIns="144000" bIns="72000"/>
          <a:lstStyle/>
          <a:p>
            <a:pPr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78" name="Rechtwinkliges Dreieck 77">
            <a:extLst>
              <a:ext uri="{FF2B5EF4-FFF2-40B4-BE49-F238E27FC236}">
                <a16:creationId xmlns:a16="http://schemas.microsoft.com/office/drawing/2014/main" id="{148DA0E2-29C6-BA97-D5FE-83451DEE1041}"/>
              </a:ext>
            </a:extLst>
          </p:cNvPr>
          <p:cNvSpPr/>
          <p:nvPr/>
        </p:nvSpPr>
        <p:spPr>
          <a:xfrm flipH="1">
            <a:off x="551225" y="5688172"/>
            <a:ext cx="11109320" cy="439739"/>
          </a:xfrm>
          <a:prstGeom prst="rtTriangle">
            <a:avLst/>
          </a:prstGeom>
          <a:gradFill>
            <a:gsLst>
              <a:gs pos="35000">
                <a:schemeClr val="accent2"/>
              </a:gs>
              <a:gs pos="100000">
                <a:srgbClr val="FFFFFF"/>
              </a:gs>
            </a:gsLst>
            <a:lin ang="2700000" scaled="0"/>
          </a:gradFill>
          <a:ln w="9525" cap="flat">
            <a:noFill/>
            <a:prstDash val="solid"/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72000"/>
          <a:lstStyle/>
          <a:p>
            <a:pPr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AB4DCA7C-417D-98D6-5326-420C26CF7A5E}"/>
              </a:ext>
            </a:extLst>
          </p:cNvPr>
          <p:cNvSpPr/>
          <p:nvPr/>
        </p:nvSpPr>
        <p:spPr>
          <a:xfrm>
            <a:off x="559057" y="5639068"/>
            <a:ext cx="4395787" cy="285750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de-DE" sz="1400" ker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eringerer Aufwand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5CC3D013-0AD5-1125-CADC-9408A99E5C57}"/>
              </a:ext>
            </a:extLst>
          </p:cNvPr>
          <p:cNvSpPr/>
          <p:nvPr/>
        </p:nvSpPr>
        <p:spPr>
          <a:xfrm>
            <a:off x="7270758" y="5842001"/>
            <a:ext cx="4395787" cy="2873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de-DE" sz="1400" ker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eigender Nutzen</a:t>
            </a:r>
          </a:p>
        </p:txBody>
      </p: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198D68C2-5587-A50F-8084-3F259B5EA2BB}"/>
              </a:ext>
            </a:extLst>
          </p:cNvPr>
          <p:cNvGrpSpPr/>
          <p:nvPr/>
        </p:nvGrpSpPr>
        <p:grpSpPr>
          <a:xfrm>
            <a:off x="8757404" y="5359083"/>
            <a:ext cx="1002487" cy="241920"/>
            <a:chOff x="3806001" y="6176378"/>
            <a:chExt cx="1253109" cy="302400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E4C61ADA-3FEA-A652-C13F-4E17AE3CAA1B}"/>
                </a:ext>
              </a:extLst>
            </p:cNvPr>
            <p:cNvSpPr>
              <a:spLocks/>
            </p:cNvSpPr>
            <p:nvPr/>
          </p:nvSpPr>
          <p:spPr>
            <a:xfrm>
              <a:off x="3806001" y="6176378"/>
              <a:ext cx="302400" cy="302400"/>
            </a:xfrm>
            <a:prstGeom prst="ellipse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51206" tIns="25603" rIns="51206" bIns="25603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76" name="Grafik 75">
              <a:extLst>
                <a:ext uri="{FF2B5EF4-FFF2-40B4-BE49-F238E27FC236}">
                  <a16:creationId xmlns:a16="http://schemas.microsoft.com/office/drawing/2014/main" id="{6E3DBED3-9AC2-43E7-DE84-F23AEA131D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824001" y="6188978"/>
              <a:ext cx="277200" cy="277200"/>
            </a:xfrm>
            <a:prstGeom prst="rect">
              <a:avLst/>
            </a:prstGeom>
          </p:spPr>
        </p:pic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707E18E2-38D1-EC7C-4104-F103EA50B0C9}"/>
                </a:ext>
              </a:extLst>
            </p:cNvPr>
            <p:cNvSpPr txBox="1"/>
            <p:nvPr/>
          </p:nvSpPr>
          <p:spPr>
            <a:xfrm>
              <a:off x="4108401" y="6196773"/>
              <a:ext cx="950709" cy="203133"/>
            </a:xfrm>
            <a:prstGeom prst="rect">
              <a:avLst/>
            </a:prstGeom>
            <a:noFill/>
          </p:spPr>
          <p:txBody>
            <a:bodyPr wrap="square" lIns="73152" tIns="36576" rIns="73152" bIns="36576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/>
              <a:r>
                <a:rPr lang="de-DE" altLang="de-DE" sz="840"/>
                <a:t>Integriertheit</a:t>
              </a:r>
            </a:p>
          </p:txBody>
        </p:sp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4606FBC2-5766-8747-2E77-D3B34D5695C9}"/>
              </a:ext>
            </a:extLst>
          </p:cNvPr>
          <p:cNvGrpSpPr/>
          <p:nvPr/>
        </p:nvGrpSpPr>
        <p:grpSpPr>
          <a:xfrm>
            <a:off x="9873005" y="5356449"/>
            <a:ext cx="647501" cy="241920"/>
            <a:chOff x="5077110" y="6186593"/>
            <a:chExt cx="809377" cy="302400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20904C08-6560-0419-19BE-71790E96E7FC}"/>
                </a:ext>
              </a:extLst>
            </p:cNvPr>
            <p:cNvSpPr>
              <a:spLocks/>
            </p:cNvSpPr>
            <p:nvPr/>
          </p:nvSpPr>
          <p:spPr>
            <a:xfrm>
              <a:off x="5077110" y="6186593"/>
              <a:ext cx="302400" cy="302400"/>
            </a:xfrm>
            <a:prstGeom prst="ellipse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51206" tIns="25603" rIns="51206" bIns="25603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197CDE80-9D78-DE80-ED2C-69C4E25021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89710" y="6199193"/>
              <a:ext cx="277200" cy="277200"/>
            </a:xfrm>
            <a:prstGeom prst="rect">
              <a:avLst/>
            </a:prstGeom>
          </p:spPr>
        </p:pic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285DD8A-63DE-560C-8AF5-FA3A0ED09B97}"/>
                </a:ext>
              </a:extLst>
            </p:cNvPr>
            <p:cNvSpPr txBox="1"/>
            <p:nvPr/>
          </p:nvSpPr>
          <p:spPr>
            <a:xfrm>
              <a:off x="5379509" y="6206988"/>
              <a:ext cx="506978" cy="203133"/>
            </a:xfrm>
            <a:prstGeom prst="rect">
              <a:avLst/>
            </a:prstGeom>
            <a:noFill/>
          </p:spPr>
          <p:txBody>
            <a:bodyPr wrap="square" lIns="73152" tIns="36576" rIns="73152" bIns="36576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/>
              <a:r>
                <a:rPr lang="de-DE" altLang="de-DE" sz="840"/>
                <a:t>Tools</a:t>
              </a:r>
            </a:p>
          </p:txBody>
        </p:sp>
      </p:grp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044C1C57-65CB-431F-7312-7376F603ED6E}"/>
              </a:ext>
            </a:extLst>
          </p:cNvPr>
          <p:cNvGrpSpPr/>
          <p:nvPr/>
        </p:nvGrpSpPr>
        <p:grpSpPr>
          <a:xfrm>
            <a:off x="10612571" y="5366529"/>
            <a:ext cx="1002240" cy="241920"/>
            <a:chOff x="6171642" y="6159066"/>
            <a:chExt cx="1252800" cy="302400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BB9FD43A-0406-D830-E792-AFBB7917B118}"/>
                </a:ext>
              </a:extLst>
            </p:cNvPr>
            <p:cNvSpPr>
              <a:spLocks/>
            </p:cNvSpPr>
            <p:nvPr/>
          </p:nvSpPr>
          <p:spPr>
            <a:xfrm>
              <a:off x="6171642" y="6159066"/>
              <a:ext cx="302400" cy="302400"/>
            </a:xfrm>
            <a:prstGeom prst="ellipse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51206" tIns="25603" rIns="51206" bIns="25603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b="1" kern="0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75C0E59E-3A21-ED9E-41B9-79FAE83F73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84242" y="6171666"/>
              <a:ext cx="277200" cy="277200"/>
            </a:xfrm>
            <a:prstGeom prst="rect">
              <a:avLst/>
            </a:prstGeom>
          </p:spPr>
        </p:pic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916510D-A3F1-408C-1DBB-225746B0CB13}"/>
                </a:ext>
              </a:extLst>
            </p:cNvPr>
            <p:cNvSpPr txBox="1"/>
            <p:nvPr/>
          </p:nvSpPr>
          <p:spPr>
            <a:xfrm>
              <a:off x="6474042" y="6179461"/>
              <a:ext cx="950400" cy="203133"/>
            </a:xfrm>
            <a:prstGeom prst="rect">
              <a:avLst/>
            </a:prstGeom>
            <a:noFill/>
          </p:spPr>
          <p:txBody>
            <a:bodyPr wrap="square" lIns="73152" tIns="36576" rIns="73152" bIns="36576">
              <a:spAutoFit/>
            </a:bodyPr>
            <a:lstStyle>
              <a:defPPr>
                <a:defRPr lang="de-DE"/>
              </a:defPPr>
              <a:lvl1pPr algn="ctr" eaLnBrk="1" hangingPunct="1">
                <a:defRPr sz="1000"/>
              </a:lvl1pPr>
            </a:lstStyle>
            <a:p>
              <a:pPr algn="l"/>
              <a:r>
                <a:rPr lang="de-DE" altLang="de-DE" sz="840"/>
                <a:t>Strategie</a:t>
              </a:r>
            </a:p>
          </p:txBody>
        </p:sp>
      </p:grpSp>
      <p:sp>
        <p:nvSpPr>
          <p:cNvPr id="88" name="Ellipse 87">
            <a:extLst>
              <a:ext uri="{FF2B5EF4-FFF2-40B4-BE49-F238E27FC236}">
                <a16:creationId xmlns:a16="http://schemas.microsoft.com/office/drawing/2014/main" id="{DB548C8B-81A7-338E-93E3-BAE2EB24EE52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89" name="Grafik 88">
            <a:extLst>
              <a:ext uri="{FF2B5EF4-FFF2-40B4-BE49-F238E27FC236}">
                <a16:creationId xmlns:a16="http://schemas.microsoft.com/office/drawing/2014/main" id="{45D995DC-CB23-A75A-F032-D469C8A88A1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90" name="shape">
            <a:extLst>
              <a:ext uri="{FF2B5EF4-FFF2-40B4-BE49-F238E27FC236}">
                <a16:creationId xmlns:a16="http://schemas.microsoft.com/office/drawing/2014/main" id="{E69F8556-76C4-3FC9-553B-065207DC9E4F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91" name="Picture Placeholder 21">
            <a:extLst>
              <a:ext uri="{FF2B5EF4-FFF2-40B4-BE49-F238E27FC236}">
                <a16:creationId xmlns:a16="http://schemas.microsoft.com/office/drawing/2014/main" id="{693DC46E-83AC-D166-6736-F87F3C343E06}"/>
              </a:ext>
            </a:extLst>
          </p:cNvPr>
          <p:cNvPicPr>
            <a:picLocks noChangeAspect="1"/>
          </p:cNvPicPr>
          <p:nvPr/>
        </p:nvPicPr>
        <p:blipFill>
          <a:blip r:embed="rId13">
            <a:lum bright="100000"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15" name="Foliennummernplatzhalter 1">
            <a:extLst>
              <a:ext uri="{FF2B5EF4-FFF2-40B4-BE49-F238E27FC236}">
                <a16:creationId xmlns:a16="http://schemas.microsoft.com/office/drawing/2014/main" id="{95C7B1FF-3120-16F3-F780-26A836CC0A17}"/>
              </a:ext>
            </a:extLst>
          </p:cNvPr>
          <p:cNvSpPr txBox="1">
            <a:spLocks/>
          </p:cNvSpPr>
          <p:nvPr/>
        </p:nvSpPr>
        <p:spPr>
          <a:xfrm>
            <a:off x="11416638" y="6379200"/>
            <a:ext cx="407062" cy="82800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573BCF-C0F1-4720-B5E7-944FE630E67D}" type="slidenum">
              <a:rPr lang="en-US" sz="800" smtClean="0"/>
              <a:pPr/>
              <a:t>13</a:t>
            </a:fld>
            <a:endParaRPr lang="en-US" sz="800"/>
          </a:p>
        </p:txBody>
      </p: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647ADA47-A367-9D9C-B4DF-F67F6E45EB9E}"/>
              </a:ext>
            </a:extLst>
          </p:cNvPr>
          <p:cNvGrpSpPr/>
          <p:nvPr/>
        </p:nvGrpSpPr>
        <p:grpSpPr>
          <a:xfrm>
            <a:off x="574338" y="1498774"/>
            <a:ext cx="3267605" cy="701725"/>
            <a:chOff x="574338" y="1498774"/>
            <a:chExt cx="3267605" cy="701725"/>
          </a:xfrm>
        </p:grpSpPr>
        <p:sp>
          <p:nvSpPr>
            <p:cNvPr id="93" name="Rechteck: abgerundete Ecken 92">
              <a:extLst>
                <a:ext uri="{FF2B5EF4-FFF2-40B4-BE49-F238E27FC236}">
                  <a16:creationId xmlns:a16="http://schemas.microsoft.com/office/drawing/2014/main" id="{5FBF47F9-A2D8-9EE6-4D32-23204C000799}"/>
                </a:ext>
              </a:extLst>
            </p:cNvPr>
            <p:cNvSpPr/>
            <p:nvPr/>
          </p:nvSpPr>
          <p:spPr>
            <a:xfrm>
              <a:off x="574338" y="1498774"/>
              <a:ext cx="3267605" cy="701725"/>
            </a:xfrm>
            <a:prstGeom prst="roundRect">
              <a:avLst>
                <a:gd name="adj" fmla="val 4802"/>
              </a:avLst>
            </a:pr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468000" tIns="72000" rIns="72000" bIns="72000" rtlCol="0" anchor="ctr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de-DE">
                  <a:solidFill>
                    <a:schemeClr val="bg1"/>
                  </a:solidFill>
                  <a:latin typeface="+mj-lt"/>
                </a:rPr>
                <a:t>Wie ordnen Sie Ihr Unternehmen ein?</a:t>
              </a:r>
              <a:endParaRPr lang="de-DE" b="1" i="0">
                <a:solidFill>
                  <a:schemeClr val="bg1"/>
                </a:solidFill>
                <a:effectLst/>
                <a:latin typeface="+mj-lt"/>
              </a:endParaRPr>
            </a:p>
          </p:txBody>
        </p:sp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A7383632-BB22-A00B-C0DD-1732E8B66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16667" y="1565678"/>
              <a:ext cx="557667" cy="5576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2171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A36FCD-50F7-9A81-2DE7-0266EE12CA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00B02050-C853-2544-FF47-17CA494C28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87FD556-63B7-AB10-0521-35F5A5E06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as Reifegradmodell zeigt, wie weit Unternehmen in der Verknüpfung von Digitalisierung und Nachhaltigkeit bereits sind und wo noch Potenziale lie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645516-EC70-CB23-BD3F-6817501012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ie geht es weiter? </a:t>
            </a:r>
          </a:p>
          <a:p>
            <a:endParaRPr lang="de-DE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B37C9CE-0EE0-DD7E-11F8-9C6074780DDD}"/>
              </a:ext>
            </a:extLst>
          </p:cNvPr>
          <p:cNvSpPr/>
          <p:nvPr/>
        </p:nvSpPr>
        <p:spPr>
          <a:xfrm>
            <a:off x="557505" y="3643406"/>
            <a:ext cx="182155" cy="1946423"/>
          </a:xfrm>
          <a:prstGeom prst="rect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6653020-8CFB-D496-7C7F-E4FA148F2C6B}"/>
              </a:ext>
            </a:extLst>
          </p:cNvPr>
          <p:cNvSpPr/>
          <p:nvPr/>
        </p:nvSpPr>
        <p:spPr>
          <a:xfrm rot="5400000">
            <a:off x="1837456" y="2362399"/>
            <a:ext cx="195364" cy="2750400"/>
          </a:xfrm>
          <a:prstGeom prst="rect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0" name="TextBox 66">
            <a:extLst>
              <a:ext uri="{FF2B5EF4-FFF2-40B4-BE49-F238E27FC236}">
                <a16:creationId xmlns:a16="http://schemas.microsoft.com/office/drawing/2014/main" id="{504B1B69-DBAF-FEFD-0515-614BB16C5B29}"/>
              </a:ext>
            </a:extLst>
          </p:cNvPr>
          <p:cNvSpPr txBox="1"/>
          <p:nvPr/>
        </p:nvSpPr>
        <p:spPr>
          <a:xfrm>
            <a:off x="560379" y="3053092"/>
            <a:ext cx="240884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 err="1">
                <a:latin typeface="Segoe UI Semibold"/>
              </a:rPr>
              <a:t>Initiating</a:t>
            </a:r>
            <a:endParaRPr lang="de-DE" sz="1400" spc="40">
              <a:latin typeface="Segoe UI Semibold"/>
            </a:endParaRPr>
          </a:p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>
                <a:latin typeface="Segoe UI Semibold"/>
                <a:sym typeface="Wingdings" panose="05000000000000000000" pitchFamily="2" charset="2"/>
              </a:rPr>
              <a:t>Beginner</a:t>
            </a:r>
            <a:endParaRPr lang="de-DE" sz="1400" spc="40">
              <a:latin typeface="Segoe UI Semibold"/>
            </a:endParaRPr>
          </a:p>
        </p:txBody>
      </p:sp>
      <p:sp>
        <p:nvSpPr>
          <p:cNvPr id="64" name="Freeform 6">
            <a:extLst>
              <a:ext uri="{FF2B5EF4-FFF2-40B4-BE49-F238E27FC236}">
                <a16:creationId xmlns:a16="http://schemas.microsoft.com/office/drawing/2014/main" id="{6AD836E7-EBB3-82C9-3DAB-0535BED25E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9009" y="3336528"/>
            <a:ext cx="202253" cy="281243"/>
          </a:xfrm>
          <a:custGeom>
            <a:avLst/>
            <a:gdLst>
              <a:gd name="T0" fmla="*/ 0 w 753"/>
              <a:gd name="T1" fmla="*/ 750 h 751"/>
              <a:gd name="T2" fmla="*/ 752 w 753"/>
              <a:gd name="T3" fmla="*/ 750 h 751"/>
              <a:gd name="T4" fmla="*/ 752 w 753"/>
              <a:gd name="T5" fmla="*/ 0 h 751"/>
              <a:gd name="T6" fmla="*/ 749 w 753"/>
              <a:gd name="T7" fmla="*/ 0 h 751"/>
              <a:gd name="T8" fmla="*/ 0 w 753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1">
                <a:moveTo>
                  <a:pt x="0" y="750"/>
                </a:moveTo>
                <a:lnTo>
                  <a:pt x="752" y="750"/>
                </a:lnTo>
                <a:lnTo>
                  <a:pt x="752" y="0"/>
                </a:lnTo>
                <a:lnTo>
                  <a:pt x="749" y="0"/>
                </a:lnTo>
                <a:lnTo>
                  <a:pt x="0" y="750"/>
                </a:lnTo>
              </a:path>
            </a:pathLst>
          </a:custGeom>
          <a:solidFill>
            <a:srgbClr val="FF4B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4D096B71-8308-5F17-A2DE-CD08E16711A8}"/>
              </a:ext>
            </a:extLst>
          </p:cNvPr>
          <p:cNvSpPr/>
          <p:nvPr/>
        </p:nvSpPr>
        <p:spPr>
          <a:xfrm>
            <a:off x="1524988" y="2546216"/>
            <a:ext cx="504825" cy="504825"/>
          </a:xfrm>
          <a:prstGeom prst="ellipse">
            <a:avLst/>
          </a:prstGeom>
          <a:solidFill>
            <a:srgbClr val="FF4D4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kern="0">
                <a:solidFill>
                  <a:srgbClr val="FFFFFF"/>
                </a:solidFill>
                <a:latin typeface="+mn-lt"/>
              </a:rPr>
              <a:t>?</a:t>
            </a:r>
          </a:p>
        </p:txBody>
      </p:sp>
      <p:sp>
        <p:nvSpPr>
          <p:cNvPr id="58" name="TextBox 66">
            <a:extLst>
              <a:ext uri="{FF2B5EF4-FFF2-40B4-BE49-F238E27FC236}">
                <a16:creationId xmlns:a16="http://schemas.microsoft.com/office/drawing/2014/main" id="{4B383653-CBFD-8631-F11B-05D165B91664}"/>
              </a:ext>
            </a:extLst>
          </p:cNvPr>
          <p:cNvSpPr txBox="1"/>
          <p:nvPr/>
        </p:nvSpPr>
        <p:spPr>
          <a:xfrm>
            <a:off x="3397003" y="2736784"/>
            <a:ext cx="240884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>
                <a:latin typeface="Segoe UI Semibold"/>
              </a:rPr>
              <a:t>Emerging</a:t>
            </a:r>
          </a:p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>
                <a:latin typeface="Segoe UI Semibold"/>
              </a:rPr>
              <a:t>Fokus auf Complianc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797C79C-048D-1FA4-AB85-C1330F11E8DF}"/>
              </a:ext>
            </a:extLst>
          </p:cNvPr>
          <p:cNvSpPr/>
          <p:nvPr/>
        </p:nvSpPr>
        <p:spPr>
          <a:xfrm>
            <a:off x="3326480" y="3319957"/>
            <a:ext cx="182155" cy="1946423"/>
          </a:xfrm>
          <a:prstGeom prst="rect">
            <a:avLst/>
          </a:prstGeom>
          <a:solidFill>
            <a:srgbClr val="FFA39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9BE8B96-20E8-021C-9AF4-933E3F687805}"/>
              </a:ext>
            </a:extLst>
          </p:cNvPr>
          <p:cNvSpPr/>
          <p:nvPr/>
        </p:nvSpPr>
        <p:spPr>
          <a:xfrm rot="5400000">
            <a:off x="4622759" y="2027595"/>
            <a:ext cx="166977" cy="2750400"/>
          </a:xfrm>
          <a:prstGeom prst="rect">
            <a:avLst/>
          </a:prstGeom>
          <a:solidFill>
            <a:srgbClr val="FFA39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2" name="Freeform 6">
            <a:extLst>
              <a:ext uri="{FF2B5EF4-FFF2-40B4-BE49-F238E27FC236}">
                <a16:creationId xmlns:a16="http://schemas.microsoft.com/office/drawing/2014/main" id="{BBC45171-9B47-477F-776C-8F7497D8C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1343" y="3004853"/>
            <a:ext cx="202253" cy="281243"/>
          </a:xfrm>
          <a:custGeom>
            <a:avLst/>
            <a:gdLst>
              <a:gd name="T0" fmla="*/ 0 w 753"/>
              <a:gd name="T1" fmla="*/ 750 h 751"/>
              <a:gd name="T2" fmla="*/ 752 w 753"/>
              <a:gd name="T3" fmla="*/ 750 h 751"/>
              <a:gd name="T4" fmla="*/ 752 w 753"/>
              <a:gd name="T5" fmla="*/ 0 h 751"/>
              <a:gd name="T6" fmla="*/ 749 w 753"/>
              <a:gd name="T7" fmla="*/ 0 h 751"/>
              <a:gd name="T8" fmla="*/ 0 w 753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1">
                <a:moveTo>
                  <a:pt x="0" y="750"/>
                </a:moveTo>
                <a:lnTo>
                  <a:pt x="752" y="750"/>
                </a:lnTo>
                <a:lnTo>
                  <a:pt x="752" y="0"/>
                </a:lnTo>
                <a:lnTo>
                  <a:pt x="749" y="0"/>
                </a:lnTo>
                <a:lnTo>
                  <a:pt x="0" y="750"/>
                </a:lnTo>
              </a:path>
            </a:pathLst>
          </a:custGeom>
          <a:solidFill>
            <a:srgbClr val="FFA39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grpSp>
        <p:nvGrpSpPr>
          <p:cNvPr id="5" name="Gruppieren 29">
            <a:extLst>
              <a:ext uri="{FF2B5EF4-FFF2-40B4-BE49-F238E27FC236}">
                <a16:creationId xmlns:a16="http://schemas.microsoft.com/office/drawing/2014/main" id="{E269699A-D883-7219-A2DE-35C73F27C36A}"/>
              </a:ext>
            </a:extLst>
          </p:cNvPr>
          <p:cNvGrpSpPr>
            <a:grpSpLocks/>
          </p:cNvGrpSpPr>
          <p:nvPr/>
        </p:nvGrpSpPr>
        <p:grpSpPr bwMode="auto">
          <a:xfrm>
            <a:off x="4293963" y="2226684"/>
            <a:ext cx="504825" cy="504825"/>
            <a:chOff x="6517025" y="985748"/>
            <a:chExt cx="504000" cy="504000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DE7D3C47-A18D-3EB8-24A2-8BF589352A5C}"/>
                </a:ext>
              </a:extLst>
            </p:cNvPr>
            <p:cNvSpPr/>
            <p:nvPr/>
          </p:nvSpPr>
          <p:spPr>
            <a:xfrm>
              <a:off x="6517025" y="985748"/>
              <a:ext cx="504000" cy="504000"/>
            </a:xfrm>
            <a:prstGeom prst="ellipse">
              <a:avLst/>
            </a:prstGeom>
            <a:solidFill>
              <a:srgbClr val="FFA39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C080E986-7511-D6F1-EECE-16004CCEE2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559818" y="995257"/>
              <a:ext cx="427925" cy="427925"/>
            </a:xfrm>
            <a:prstGeom prst="rect">
              <a:avLst/>
            </a:prstGeom>
          </p:spPr>
        </p:pic>
      </p:grpSp>
      <p:sp>
        <p:nvSpPr>
          <p:cNvPr id="49" name="Rechteck 48">
            <a:extLst>
              <a:ext uri="{FF2B5EF4-FFF2-40B4-BE49-F238E27FC236}">
                <a16:creationId xmlns:a16="http://schemas.microsoft.com/office/drawing/2014/main" id="{2D0D4F54-D189-D29F-32C7-F50AC0916917}"/>
              </a:ext>
            </a:extLst>
          </p:cNvPr>
          <p:cNvSpPr/>
          <p:nvPr/>
        </p:nvSpPr>
        <p:spPr>
          <a:xfrm>
            <a:off x="6105721" y="3025084"/>
            <a:ext cx="182155" cy="1946423"/>
          </a:xfrm>
          <a:prstGeom prst="rect">
            <a:avLst/>
          </a:prstGeom>
          <a:solidFill>
            <a:srgbClr val="3C4BC8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B600E5C-BDA7-9D52-1776-3393C78741D7}"/>
              </a:ext>
            </a:extLst>
          </p:cNvPr>
          <p:cNvSpPr/>
          <p:nvPr/>
        </p:nvSpPr>
        <p:spPr>
          <a:xfrm rot="5400000">
            <a:off x="7394755" y="1738576"/>
            <a:ext cx="179837" cy="2750405"/>
          </a:xfrm>
          <a:prstGeom prst="rect">
            <a:avLst/>
          </a:prstGeom>
          <a:solidFill>
            <a:srgbClr val="3C4BC8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57" name="TextBox 66">
            <a:extLst>
              <a:ext uri="{FF2B5EF4-FFF2-40B4-BE49-F238E27FC236}">
                <a16:creationId xmlns:a16="http://schemas.microsoft.com/office/drawing/2014/main" id="{08C38730-9B9A-65DD-46F6-4A2310280535}"/>
              </a:ext>
            </a:extLst>
          </p:cNvPr>
          <p:cNvSpPr txBox="1"/>
          <p:nvPr/>
        </p:nvSpPr>
        <p:spPr>
          <a:xfrm>
            <a:off x="6097590" y="2284805"/>
            <a:ext cx="2408840" cy="7386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 err="1">
                <a:latin typeface="Segoe UI Semibold"/>
              </a:rPr>
              <a:t>Optimized</a:t>
            </a:r>
            <a:endParaRPr lang="de-DE" sz="1400" spc="40">
              <a:latin typeface="Segoe UI Semibold"/>
            </a:endParaRPr>
          </a:p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>
                <a:latin typeface="Segoe UI Semibold"/>
              </a:rPr>
              <a:t>Operationalisierung von Nachhaltigkeit </a:t>
            </a:r>
          </a:p>
        </p:txBody>
      </p:sp>
      <p:sp>
        <p:nvSpPr>
          <p:cNvPr id="61" name="Freeform 6">
            <a:extLst>
              <a:ext uri="{FF2B5EF4-FFF2-40B4-BE49-F238E27FC236}">
                <a16:creationId xmlns:a16="http://schemas.microsoft.com/office/drawing/2014/main" id="{45B7B409-BBFC-11DE-CE16-AAFD8EE5E6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7623" y="2701577"/>
            <a:ext cx="202253" cy="281243"/>
          </a:xfrm>
          <a:custGeom>
            <a:avLst/>
            <a:gdLst>
              <a:gd name="T0" fmla="*/ 0 w 753"/>
              <a:gd name="T1" fmla="*/ 750 h 751"/>
              <a:gd name="T2" fmla="*/ 752 w 753"/>
              <a:gd name="T3" fmla="*/ 750 h 751"/>
              <a:gd name="T4" fmla="*/ 752 w 753"/>
              <a:gd name="T5" fmla="*/ 0 h 751"/>
              <a:gd name="T6" fmla="*/ 749 w 753"/>
              <a:gd name="T7" fmla="*/ 0 h 751"/>
              <a:gd name="T8" fmla="*/ 0 w 753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1">
                <a:moveTo>
                  <a:pt x="0" y="750"/>
                </a:moveTo>
                <a:lnTo>
                  <a:pt x="752" y="750"/>
                </a:lnTo>
                <a:lnTo>
                  <a:pt x="752" y="0"/>
                </a:lnTo>
                <a:lnTo>
                  <a:pt x="749" y="0"/>
                </a:lnTo>
                <a:lnTo>
                  <a:pt x="0" y="750"/>
                </a:lnTo>
              </a:path>
            </a:pathLst>
          </a:custGeom>
          <a:solidFill>
            <a:srgbClr val="3C4BC8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9A33924-4F3F-65D0-1170-AB27DC057E19}"/>
              </a:ext>
            </a:extLst>
          </p:cNvPr>
          <p:cNvGrpSpPr/>
          <p:nvPr/>
        </p:nvGrpSpPr>
        <p:grpSpPr>
          <a:xfrm>
            <a:off x="7063731" y="1747456"/>
            <a:ext cx="523773" cy="534820"/>
            <a:chOff x="9537460" y="2081446"/>
            <a:chExt cx="360000" cy="360000"/>
          </a:xfrm>
          <a:solidFill>
            <a:schemeClr val="accent2"/>
          </a:solidFill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A67D47A3-0D60-79D2-BF9A-8761E1B75290}"/>
                </a:ext>
              </a:extLst>
            </p:cNvPr>
            <p:cNvSpPr/>
            <p:nvPr/>
          </p:nvSpPr>
          <p:spPr>
            <a:xfrm>
              <a:off x="9537460" y="2081446"/>
              <a:ext cx="360000" cy="360000"/>
            </a:xfrm>
            <a:prstGeom prst="ellipse">
              <a:avLst/>
            </a:prstGeom>
            <a:solidFill>
              <a:srgbClr val="8A93D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67AE0E8-38E3-BDFB-121D-C96DC28799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/>
            <a:stretch>
              <a:fillRect/>
            </a:stretch>
          </p:blipFill>
          <p:spPr>
            <a:xfrm>
              <a:off x="9573460" y="2117446"/>
              <a:ext cx="288000" cy="288000"/>
            </a:xfrm>
            <a:prstGeom prst="rect">
              <a:avLst/>
            </a:prstGeom>
          </p:spPr>
        </p:pic>
      </p:grpSp>
      <p:sp>
        <p:nvSpPr>
          <p:cNvPr id="51" name="Rechteck 50">
            <a:extLst>
              <a:ext uri="{FF2B5EF4-FFF2-40B4-BE49-F238E27FC236}">
                <a16:creationId xmlns:a16="http://schemas.microsoft.com/office/drawing/2014/main" id="{779409FE-DBF2-10E8-37DF-A65A3D1EF52B}"/>
              </a:ext>
            </a:extLst>
          </p:cNvPr>
          <p:cNvSpPr/>
          <p:nvPr/>
        </p:nvSpPr>
        <p:spPr>
          <a:xfrm>
            <a:off x="8890738" y="2700421"/>
            <a:ext cx="182155" cy="1946423"/>
          </a:xfrm>
          <a:prstGeom prst="rect">
            <a:avLst/>
          </a:prstGeom>
          <a:solidFill>
            <a:srgbClr val="3C4BC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277C8C3-8843-C6F8-0C02-7CF46B586B0F}"/>
              </a:ext>
            </a:extLst>
          </p:cNvPr>
          <p:cNvSpPr/>
          <p:nvPr/>
        </p:nvSpPr>
        <p:spPr>
          <a:xfrm rot="5400000">
            <a:off x="10175938" y="1395617"/>
            <a:ext cx="180000" cy="2750400"/>
          </a:xfrm>
          <a:prstGeom prst="rect">
            <a:avLst/>
          </a:prstGeom>
          <a:solidFill>
            <a:srgbClr val="3C4BC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59" name="TextBox 66">
            <a:extLst>
              <a:ext uri="{FF2B5EF4-FFF2-40B4-BE49-F238E27FC236}">
                <a16:creationId xmlns:a16="http://schemas.microsoft.com/office/drawing/2014/main" id="{5FEC821E-8783-DD31-E682-79C2E54C6A45}"/>
              </a:ext>
            </a:extLst>
          </p:cNvPr>
          <p:cNvSpPr txBox="1"/>
          <p:nvPr/>
        </p:nvSpPr>
        <p:spPr>
          <a:xfrm>
            <a:off x="8876019" y="1966842"/>
            <a:ext cx="2408840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 err="1">
                <a:latin typeface="Segoe UI Semibold"/>
              </a:rPr>
              <a:t>Leading</a:t>
            </a:r>
            <a:endParaRPr lang="de-DE" sz="1400" spc="40">
              <a:latin typeface="Segoe UI Semibold"/>
            </a:endParaRPr>
          </a:p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spc="40">
                <a:latin typeface="Segoe UI Semibold"/>
              </a:rPr>
              <a:t>Transformative Nachhaltigkeit</a:t>
            </a:r>
          </a:p>
        </p:txBody>
      </p:sp>
      <p:sp>
        <p:nvSpPr>
          <p:cNvPr id="63" name="Freeform 6">
            <a:extLst>
              <a:ext uri="{FF2B5EF4-FFF2-40B4-BE49-F238E27FC236}">
                <a16:creationId xmlns:a16="http://schemas.microsoft.com/office/drawing/2014/main" id="{7D292C6F-D567-CF82-E81D-68FA8C5E3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8885" y="2373934"/>
            <a:ext cx="202253" cy="281243"/>
          </a:xfrm>
          <a:custGeom>
            <a:avLst/>
            <a:gdLst>
              <a:gd name="T0" fmla="*/ 0 w 753"/>
              <a:gd name="T1" fmla="*/ 750 h 751"/>
              <a:gd name="T2" fmla="*/ 752 w 753"/>
              <a:gd name="T3" fmla="*/ 750 h 751"/>
              <a:gd name="T4" fmla="*/ 752 w 753"/>
              <a:gd name="T5" fmla="*/ 0 h 751"/>
              <a:gd name="T6" fmla="*/ 749 w 753"/>
              <a:gd name="T7" fmla="*/ 0 h 751"/>
              <a:gd name="T8" fmla="*/ 0 w 753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1">
                <a:moveTo>
                  <a:pt x="0" y="750"/>
                </a:moveTo>
                <a:lnTo>
                  <a:pt x="752" y="750"/>
                </a:lnTo>
                <a:lnTo>
                  <a:pt x="752" y="0"/>
                </a:lnTo>
                <a:lnTo>
                  <a:pt x="749" y="0"/>
                </a:lnTo>
                <a:lnTo>
                  <a:pt x="0" y="750"/>
                </a:lnTo>
              </a:path>
            </a:pathLst>
          </a:custGeom>
          <a:solidFill>
            <a:srgbClr val="3C4BC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8A4CFEF-80B2-21E9-4090-7D6576249DCB}"/>
              </a:ext>
            </a:extLst>
          </p:cNvPr>
          <p:cNvGrpSpPr/>
          <p:nvPr/>
        </p:nvGrpSpPr>
        <p:grpSpPr>
          <a:xfrm>
            <a:off x="9818552" y="1432022"/>
            <a:ext cx="523773" cy="534820"/>
            <a:chOff x="7075995" y="2417305"/>
            <a:chExt cx="360000" cy="360000"/>
          </a:xfrm>
          <a:solidFill>
            <a:schemeClr val="accent2"/>
          </a:solidFill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480C8D16-AD4B-F7C7-836C-38B9387D69D1}"/>
                </a:ext>
              </a:extLst>
            </p:cNvPr>
            <p:cNvSpPr/>
            <p:nvPr/>
          </p:nvSpPr>
          <p:spPr>
            <a:xfrm>
              <a:off x="7075995" y="2417305"/>
              <a:ext cx="360000" cy="360000"/>
            </a:xfrm>
            <a:prstGeom prst="ellips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rgbClr val="FFFFFF"/>
                </a:solidFill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A9BB49D2-85B8-3037-9932-7ACE7EB7F6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/>
            <a:stretch>
              <a:fillRect/>
            </a:stretch>
          </p:blipFill>
          <p:spPr>
            <a:xfrm>
              <a:off x="7111995" y="2453305"/>
              <a:ext cx="288000" cy="288000"/>
            </a:xfrm>
            <a:prstGeom prst="rect">
              <a:avLst/>
            </a:prstGeom>
          </p:spPr>
        </p:pic>
      </p:grpSp>
      <p:sp>
        <p:nvSpPr>
          <p:cNvPr id="88" name="Ellipse 87">
            <a:extLst>
              <a:ext uri="{FF2B5EF4-FFF2-40B4-BE49-F238E27FC236}">
                <a16:creationId xmlns:a16="http://schemas.microsoft.com/office/drawing/2014/main" id="{68F857CB-BF70-7A1F-7EA8-279F4961E8EF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89" name="Grafik 88">
            <a:extLst>
              <a:ext uri="{FF2B5EF4-FFF2-40B4-BE49-F238E27FC236}">
                <a16:creationId xmlns:a16="http://schemas.microsoft.com/office/drawing/2014/main" id="{BB028840-8A2B-15C1-3B4A-460394171B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90" name="shape">
            <a:extLst>
              <a:ext uri="{FF2B5EF4-FFF2-40B4-BE49-F238E27FC236}">
                <a16:creationId xmlns:a16="http://schemas.microsoft.com/office/drawing/2014/main" id="{4770F379-BD32-575D-4E2C-741DBCC75405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91" name="Picture Placeholder 21">
            <a:extLst>
              <a:ext uri="{FF2B5EF4-FFF2-40B4-BE49-F238E27FC236}">
                <a16:creationId xmlns:a16="http://schemas.microsoft.com/office/drawing/2014/main" id="{D19C6E0F-05B9-7AC1-48F6-B9716A3B1A99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100000"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21930EB3-848F-4648-DCD4-0DF4CC239C0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35663" y="3902428"/>
            <a:ext cx="540000" cy="54000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BA81FFA0-6A0C-BAF0-AA8E-58196C595A8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225322" y="3535523"/>
            <a:ext cx="965177" cy="965177"/>
          </a:xfrm>
          <a:prstGeom prst="rect">
            <a:avLst/>
          </a:prstGeom>
        </p:spPr>
      </p:pic>
      <p:sp>
        <p:nvSpPr>
          <p:cNvPr id="97" name="Rechteck: abgerundete Ecken 96">
            <a:extLst>
              <a:ext uri="{FF2B5EF4-FFF2-40B4-BE49-F238E27FC236}">
                <a16:creationId xmlns:a16="http://schemas.microsoft.com/office/drawing/2014/main" id="{619B4F07-FA6E-DF0C-9059-331C7878C056}"/>
              </a:ext>
            </a:extLst>
          </p:cNvPr>
          <p:cNvSpPr/>
          <p:nvPr/>
        </p:nvSpPr>
        <p:spPr>
          <a:xfrm>
            <a:off x="3748226" y="4433678"/>
            <a:ext cx="2034449" cy="722522"/>
          </a:xfrm>
          <a:prstGeom prst="roundRect">
            <a:avLst/>
          </a:prstGeom>
          <a:solidFill>
            <a:srgbClr val="FFA39C"/>
          </a:solidFill>
          <a:ln w="9525" cap="flat">
            <a:noFill/>
            <a:prstDash val="solid"/>
            <a:miter/>
          </a:ln>
        </p:spPr>
        <p:txBody>
          <a:bodyPr lIns="72000" tIns="72000" rIns="72000" bIns="7200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400">
                <a:solidFill>
                  <a:schemeClr val="tx2"/>
                </a:solidFill>
                <a:latin typeface="+mj-lt"/>
              </a:rPr>
              <a:t>Selbsteinschätzung der Unternehmen</a:t>
            </a:r>
            <a:endParaRPr lang="de-DE" sz="14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98" name="Rechteck: abgerundete Ecken 97">
            <a:extLst>
              <a:ext uri="{FF2B5EF4-FFF2-40B4-BE49-F238E27FC236}">
                <a16:creationId xmlns:a16="http://schemas.microsoft.com/office/drawing/2014/main" id="{68AECAEE-07DF-057A-E6A5-69E506C27161}"/>
              </a:ext>
            </a:extLst>
          </p:cNvPr>
          <p:cNvSpPr/>
          <p:nvPr/>
        </p:nvSpPr>
        <p:spPr>
          <a:xfrm>
            <a:off x="6513990" y="4433678"/>
            <a:ext cx="2034449" cy="722522"/>
          </a:xfrm>
          <a:prstGeom prst="roundRect">
            <a:avLst/>
          </a:prstGeom>
          <a:solidFill>
            <a:srgbClr val="8A93DE"/>
          </a:solidFill>
          <a:ln w="9525" cap="flat">
            <a:noFill/>
            <a:prstDash val="solid"/>
            <a:miter/>
          </a:ln>
        </p:spPr>
        <p:txBody>
          <a:bodyPr lIns="72000" tIns="72000" rIns="72000" bIns="7200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400">
                <a:solidFill>
                  <a:schemeClr val="tx2"/>
                </a:solidFill>
                <a:latin typeface="+mj-lt"/>
              </a:rPr>
              <a:t>Einschätzung des Wettbewerbs</a:t>
            </a:r>
            <a:endParaRPr lang="de-DE" sz="14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00" name="Foliennummernplatzhalter 2">
            <a:extLst>
              <a:ext uri="{FF2B5EF4-FFF2-40B4-BE49-F238E27FC236}">
                <a16:creationId xmlns:a16="http://schemas.microsoft.com/office/drawing/2014/main" id="{0802B599-A4B2-E6C8-F8D0-561777E76BB0}"/>
              </a:ext>
            </a:extLst>
          </p:cNvPr>
          <p:cNvSpPr txBox="1">
            <a:spLocks/>
          </p:cNvSpPr>
          <p:nvPr/>
        </p:nvSpPr>
        <p:spPr>
          <a:xfrm>
            <a:off x="11049000" y="6379200"/>
            <a:ext cx="668338" cy="180000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E40DA38-4FCE-7148-A83C-D7BBB7580802}" type="slidenum">
              <a:rPr lang="de-DE" altLang="x-none" sz="800" smtClean="0">
                <a:solidFill>
                  <a:srgbClr val="CDCDCD">
                    <a:lumMod val="75000"/>
                  </a:srgbClr>
                </a:solidFill>
                <a:latin typeface="Arial" charset="0"/>
                <a:cs typeface="Arial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de-DE" altLang="x-none" sz="800">
              <a:solidFill>
                <a:srgbClr val="CDCDCD">
                  <a:lumMod val="75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02" name="Grafik 101">
            <a:extLst>
              <a:ext uri="{FF2B5EF4-FFF2-40B4-BE49-F238E27FC236}">
                <a16:creationId xmlns:a16="http://schemas.microsoft.com/office/drawing/2014/main" id="{4E8FCE38-E331-877D-9D8D-4594118CC4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14618" y="3902428"/>
            <a:ext cx="540000" cy="540000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11978D5F-93DC-2C1E-2CA6-9B3838CED5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57779" y="3902428"/>
            <a:ext cx="540000" cy="540000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5C5F29E0-BD99-7EEF-790B-9871195966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42867" y="3432412"/>
            <a:ext cx="540000" cy="540000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F5279FBB-59A1-2930-C4F4-DE1B855C291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10589" y="3432412"/>
            <a:ext cx="540000" cy="540000"/>
          </a:xfrm>
          <a:prstGeom prst="rect">
            <a:avLst/>
          </a:prstGeom>
        </p:spPr>
      </p:pic>
      <p:sp>
        <p:nvSpPr>
          <p:cNvPr id="107" name="Pfeil: nach links und rechts 106">
            <a:extLst>
              <a:ext uri="{FF2B5EF4-FFF2-40B4-BE49-F238E27FC236}">
                <a16:creationId xmlns:a16="http://schemas.microsoft.com/office/drawing/2014/main" id="{9299545D-F801-D3F0-F78D-4B3FCF332B0F}"/>
              </a:ext>
            </a:extLst>
          </p:cNvPr>
          <p:cNvSpPr/>
          <p:nvPr/>
        </p:nvSpPr>
        <p:spPr>
          <a:xfrm>
            <a:off x="5805843" y="5000929"/>
            <a:ext cx="708147" cy="347600"/>
          </a:xfrm>
          <a:prstGeom prst="leftRightArrow">
            <a:avLst/>
          </a:pr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9FE160C2-0181-D0E4-E66A-2940ECF0E2E4}"/>
              </a:ext>
            </a:extLst>
          </p:cNvPr>
          <p:cNvSpPr/>
          <p:nvPr/>
        </p:nvSpPr>
        <p:spPr>
          <a:xfrm>
            <a:off x="5047228" y="5463744"/>
            <a:ext cx="2299140" cy="722522"/>
          </a:xfrm>
          <a:prstGeom prst="roundRect">
            <a:avLst/>
          </a:pr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lIns="72000" tIns="72000" rIns="72000" bIns="7200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400">
                <a:latin typeface="+mj-lt"/>
              </a:rPr>
              <a:t>Wahrgenommene Transformationslücke</a:t>
            </a:r>
            <a:br>
              <a:rPr lang="de-DE" sz="1400">
                <a:latin typeface="+mj-lt"/>
              </a:rPr>
            </a:br>
            <a:r>
              <a:rPr lang="de-DE" sz="1400">
                <a:latin typeface="+mj-lt"/>
              </a:rPr>
              <a:t>„Hinterhersein“</a:t>
            </a:r>
            <a:endParaRPr lang="de-DE" sz="1400" b="1" i="0"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7664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24AB51-F314-C4CD-EC8F-6D0E191540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 36">
            <a:extLst>
              <a:ext uri="{FF2B5EF4-FFF2-40B4-BE49-F238E27FC236}">
                <a16:creationId xmlns:a16="http://schemas.microsoft.com/office/drawing/2014/main" id="{5E0EEF98-3D0A-8445-52C1-4A963FE8E4C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600" b="1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832C59B-2157-35A2-1276-2E3AC9609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573BCF-C0F1-4720-B5E7-944FE630E67D}" type="slidenum">
              <a:rPr lang="en-US">
                <a:solidFill>
                  <a:srgbClr val="CDCDCD">
                    <a:lumMod val="75000"/>
                  </a:srgbClr>
                </a:solidFill>
                <a:latin typeface="Arial" charset="0"/>
                <a:cs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>
              <a:solidFill>
                <a:srgbClr val="CDCDCD">
                  <a:lumMod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057D898-A861-159A-6E30-09E07B7DC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Unsere Lösungsansätze für eine erfolgreiche Twin Transformation: </a:t>
            </a:r>
            <a:br>
              <a:rPr lang="de-DE"/>
            </a:br>
            <a:r>
              <a:rPr lang="de-DE"/>
              <a:t>Robuste Datenarchitektur, digitale Tools und strategischer KI-Einsatz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A4E998-9950-FF3B-B488-BD419C724A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ie geht es weiter?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9C7A9D5E-9DAF-263D-6FE6-785B3A00CDC2}"/>
              </a:ext>
            </a:extLst>
          </p:cNvPr>
          <p:cNvSpPr/>
          <p:nvPr/>
        </p:nvSpPr>
        <p:spPr>
          <a:xfrm>
            <a:off x="8981817" y="-6285264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BBC8C01-20D0-AC67-2F5C-CC86EE227B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1516" y="43149"/>
            <a:ext cx="1613009" cy="635715"/>
          </a:xfrm>
          <a:prstGeom prst="rect">
            <a:avLst/>
          </a:prstGeom>
        </p:spPr>
      </p:pic>
      <p:sp>
        <p:nvSpPr>
          <p:cNvPr id="9" name="shape">
            <a:extLst>
              <a:ext uri="{FF2B5EF4-FFF2-40B4-BE49-F238E27FC236}">
                <a16:creationId xmlns:a16="http://schemas.microsoft.com/office/drawing/2014/main" id="{2CC24473-903F-149E-A568-025569879D6E}"/>
              </a:ext>
            </a:extLst>
          </p:cNvPr>
          <p:cNvSpPr/>
          <p:nvPr/>
        </p:nvSpPr>
        <p:spPr>
          <a:xfrm rot="10800000">
            <a:off x="-1664273" y="5242230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31" name="Picture Placeholder 21">
            <a:extLst>
              <a:ext uri="{FF2B5EF4-FFF2-40B4-BE49-F238E27FC236}">
                <a16:creationId xmlns:a16="http://schemas.microsoft.com/office/drawing/2014/main" id="{227F3D1D-9270-0FEC-8CE7-76266A42E28F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10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" r="56"/>
          <a:stretch/>
        </p:blipFill>
        <p:spPr>
          <a:xfrm>
            <a:off x="232606" y="6324749"/>
            <a:ext cx="1400055" cy="539635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1F76B51-B999-2563-568D-C74397096E67}"/>
              </a:ext>
            </a:extLst>
          </p:cNvPr>
          <p:cNvSpPr txBox="1">
            <a:spLocks/>
          </p:cNvSpPr>
          <p:nvPr/>
        </p:nvSpPr>
        <p:spPr>
          <a:xfrm>
            <a:off x="629792" y="2076219"/>
            <a:ext cx="10777137" cy="90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4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4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400" b="0" kern="1200" cap="none" spc="10" baseline="0" noProof="0" dirty="0" smtClean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400" b="0" kern="1200" cap="none" spc="40" baseline="0" noProof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nl-NL" sz="14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nl-NL" sz="1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400" i="0" kern="1200" cap="all" spc="100" baseline="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431989" lvl="3" indent="0">
              <a:buNone/>
            </a:pPr>
            <a:r>
              <a:rPr lang="de-DE" sz="1600">
                <a:latin typeface="+mj-lt"/>
              </a:rPr>
              <a:t>	Systemarchitektur &amp; Datenmanagement</a:t>
            </a:r>
            <a:br>
              <a:rPr lang="de-DE" sz="1600">
                <a:latin typeface="+mj-lt"/>
              </a:rPr>
            </a:br>
            <a:r>
              <a:rPr lang="de-DE" sz="1600">
                <a:latin typeface="+mj-lt"/>
              </a:rPr>
              <a:t>	</a:t>
            </a:r>
            <a:r>
              <a:rPr lang="de-DE" sz="1600"/>
              <a:t>Unterstützung für den Aufbau einer skalierbaren und standardisierten ESG-Datenstruktur als Grundlage 	für Automatisierung, Reporting und strategische Steuerung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3128364A-FDFB-98BD-905F-27CF33F74819}"/>
              </a:ext>
            </a:extLst>
          </p:cNvPr>
          <p:cNvSpPr txBox="1">
            <a:spLocks/>
          </p:cNvSpPr>
          <p:nvPr/>
        </p:nvSpPr>
        <p:spPr>
          <a:xfrm>
            <a:off x="593792" y="3351883"/>
            <a:ext cx="10813137" cy="90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4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4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400" b="0" kern="1200" cap="none" spc="10" baseline="0" noProof="0" dirty="0" smtClean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400" b="0" kern="1200" cap="none" spc="40" baseline="0" noProof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nl-NL" sz="14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nl-NL" sz="1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400" i="0" kern="1200" cap="all" spc="100" baseline="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431989" lvl="3" indent="0">
              <a:buNone/>
            </a:pPr>
            <a:r>
              <a:rPr lang="de-DE" sz="1600" b="1" spc="11">
                <a:solidFill>
                  <a:srgbClr val="100C2A"/>
                </a:solidFill>
                <a:latin typeface="Segoe UI Semibold"/>
              </a:rPr>
              <a:t>	Auswahl des passenden ESG-Tools-Set</a:t>
            </a:r>
            <a:br>
              <a:rPr lang="de-DE" sz="1600" spc="11">
                <a:solidFill>
                  <a:srgbClr val="100C2A"/>
                </a:solidFill>
                <a:latin typeface="Segoe UI"/>
              </a:rPr>
            </a:br>
            <a:r>
              <a:rPr lang="de-DE" sz="1600" spc="11">
                <a:solidFill>
                  <a:srgbClr val="100C2A"/>
                </a:solidFill>
                <a:latin typeface="Segoe UI"/>
              </a:rPr>
              <a:t> 	Leitfaden zur Auswahl geeigneter Tools, das regulatorische Anforderungen erfüllt, in bestehende 	Systeme integrierbar ist und Skalierung sowie Datentransparenz ermöglicht</a:t>
            </a:r>
            <a:endParaRPr lang="de-DE" sz="160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52CC841D-F484-E6D3-5E5A-84FC9ED27459}"/>
              </a:ext>
            </a:extLst>
          </p:cNvPr>
          <p:cNvSpPr txBox="1">
            <a:spLocks/>
          </p:cNvSpPr>
          <p:nvPr/>
        </p:nvSpPr>
        <p:spPr>
          <a:xfrm>
            <a:off x="593789" y="4609616"/>
            <a:ext cx="10802275" cy="90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4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4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400" b="0" kern="1200" cap="none" spc="10" baseline="0" noProof="0" dirty="0" smtClean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400" b="0" kern="1200" cap="none" spc="40" baseline="0" noProof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nl-NL" sz="14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nl-NL" sz="1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400" i="0" kern="1200" cap="all" spc="100" baseline="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431989" lvl="3" indent="0">
              <a:buNone/>
            </a:pPr>
            <a:r>
              <a:rPr lang="de-DE" b="1">
                <a:latin typeface="+mj-lt"/>
              </a:rPr>
              <a:t>	</a:t>
            </a:r>
            <a:r>
              <a:rPr lang="de-DE" sz="1600">
                <a:latin typeface="+mj-lt"/>
              </a:rPr>
              <a:t>Einsatz von Künstlicher Intelligenz (KI)</a:t>
            </a:r>
            <a:br>
              <a:rPr lang="de-DE" sz="1600"/>
            </a:br>
            <a:r>
              <a:rPr lang="de-DE" sz="1600"/>
              <a:t>	Konkrete KI-Einsatzmöglichkeiten für Nachhaltigkeit: Generative KI unterstützt ESG-Manager*innen 		gezielt in zentralen Geschäftsprozessen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F869D1EA-9312-830E-044E-2E8D223C9352}"/>
              </a:ext>
            </a:extLst>
          </p:cNvPr>
          <p:cNvSpPr/>
          <p:nvPr/>
        </p:nvSpPr>
        <p:spPr>
          <a:xfrm>
            <a:off x="587883" y="2076219"/>
            <a:ext cx="913132" cy="900000"/>
          </a:xfrm>
          <a:prstGeom prst="ellipse">
            <a:avLst/>
          </a:prstGeom>
          <a:solidFill>
            <a:schemeClr val="accent2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wrap="none"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GB" sz="1351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A67FCD77-6337-610B-512E-AAD75E15CC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4448" y="2166219"/>
            <a:ext cx="720000" cy="720000"/>
          </a:xfrm>
          <a:prstGeom prst="rect">
            <a:avLst/>
          </a:prstGeom>
        </p:spPr>
      </p:pic>
      <p:sp>
        <p:nvSpPr>
          <p:cNvPr id="45" name="Ellipse 44">
            <a:extLst>
              <a:ext uri="{FF2B5EF4-FFF2-40B4-BE49-F238E27FC236}">
                <a16:creationId xmlns:a16="http://schemas.microsoft.com/office/drawing/2014/main" id="{C091C51E-8758-092D-B819-FFC3196E3462}"/>
              </a:ext>
            </a:extLst>
          </p:cNvPr>
          <p:cNvSpPr/>
          <p:nvPr/>
        </p:nvSpPr>
        <p:spPr>
          <a:xfrm>
            <a:off x="587883" y="3341351"/>
            <a:ext cx="913132" cy="900000"/>
          </a:xfrm>
          <a:prstGeom prst="ellipse">
            <a:avLst/>
          </a:prstGeom>
          <a:solidFill>
            <a:schemeClr val="accent2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wrap="none"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GB" sz="1351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0CD04DED-CEDB-5A6C-A4C5-ACBDC83928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2448" y="3449351"/>
            <a:ext cx="684000" cy="684000"/>
          </a:xfrm>
          <a:prstGeom prst="rect">
            <a:avLst/>
          </a:prstGeom>
        </p:spPr>
      </p:pic>
      <p:sp>
        <p:nvSpPr>
          <p:cNvPr id="66" name="Ellipse 65">
            <a:extLst>
              <a:ext uri="{FF2B5EF4-FFF2-40B4-BE49-F238E27FC236}">
                <a16:creationId xmlns:a16="http://schemas.microsoft.com/office/drawing/2014/main" id="{476EC40E-91B2-479A-4AEE-438A6A3C1E0F}"/>
              </a:ext>
            </a:extLst>
          </p:cNvPr>
          <p:cNvSpPr/>
          <p:nvPr/>
        </p:nvSpPr>
        <p:spPr>
          <a:xfrm>
            <a:off x="581955" y="4602436"/>
            <a:ext cx="913132" cy="900000"/>
          </a:xfrm>
          <a:prstGeom prst="ellipse">
            <a:avLst/>
          </a:prstGeom>
          <a:solidFill>
            <a:schemeClr val="accent2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wrap="none"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GB" sz="1351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40600B4A-55FD-46CB-C57E-AC9BD8C71B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8520" y="469243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5929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F8CC9CB4-B980-AF49-7EA2-B76F5FC038F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54D33669-CC18-4984-A2F3-6A3AB55BC9AC}"/>
              </a:ext>
            </a:extLst>
          </p:cNvPr>
          <p:cNvSpPr/>
          <p:nvPr/>
        </p:nvSpPr>
        <p:spPr>
          <a:xfrm>
            <a:off x="2695383" y="4498131"/>
            <a:ext cx="6116577" cy="1702644"/>
          </a:xfrm>
          <a:prstGeom prst="roundRect">
            <a:avLst>
              <a:gd name="adj" fmla="val 444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213A51"/>
                </a:solidFill>
                <a:latin typeface="+mj-lt"/>
              </a:rPr>
              <a:t>Data Lake </a:t>
            </a: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für unstrukturierte </a:t>
            </a: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ESG Informationen </a:t>
            </a: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und Rohdaten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5A15FC14-987C-4F0E-A12E-3504528B462F}"/>
              </a:ext>
            </a:extLst>
          </p:cNvPr>
          <p:cNvSpPr/>
          <p:nvPr/>
        </p:nvSpPr>
        <p:spPr>
          <a:xfrm>
            <a:off x="2695384" y="1601252"/>
            <a:ext cx="235408" cy="2734903"/>
          </a:xfrm>
          <a:prstGeom prst="roundRect">
            <a:avLst>
              <a:gd name="adj" fmla="val 3211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5" name="Gerade Verbindung mit Pfeil 90">
            <a:extLst>
              <a:ext uri="{FF2B5EF4-FFF2-40B4-BE49-F238E27FC236}">
                <a16:creationId xmlns:a16="http://schemas.microsoft.com/office/drawing/2014/main" id="{0FB734BE-5696-81B5-6B40-DAF5FD6A16A7}"/>
              </a:ext>
            </a:extLst>
          </p:cNvPr>
          <p:cNvCxnSpPr>
            <a:cxnSpLocks/>
          </p:cNvCxnSpPr>
          <p:nvPr/>
        </p:nvCxnSpPr>
        <p:spPr>
          <a:xfrm>
            <a:off x="2488975" y="2965120"/>
            <a:ext cx="226768" cy="3166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Gerade Verbindung mit Pfeil 90">
            <a:extLst>
              <a:ext uri="{FF2B5EF4-FFF2-40B4-BE49-F238E27FC236}">
                <a16:creationId xmlns:a16="http://schemas.microsoft.com/office/drawing/2014/main" id="{074E1ED1-7C2E-4AA4-AECA-9023AC3ACDB3}"/>
              </a:ext>
            </a:extLst>
          </p:cNvPr>
          <p:cNvCxnSpPr>
            <a:cxnSpLocks/>
          </p:cNvCxnSpPr>
          <p:nvPr/>
        </p:nvCxnSpPr>
        <p:spPr>
          <a:xfrm>
            <a:off x="2209116" y="5795054"/>
            <a:ext cx="495561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5" name="Rechteck 14">
            <a:extLst>
              <a:ext uri="{FF2B5EF4-FFF2-40B4-BE49-F238E27FC236}">
                <a16:creationId xmlns:a16="http://schemas.microsoft.com/office/drawing/2014/main" id="{59262385-DF8A-44EA-BFFC-8E52E169E98B}"/>
              </a:ext>
            </a:extLst>
          </p:cNvPr>
          <p:cNvSpPr/>
          <p:nvPr/>
        </p:nvSpPr>
        <p:spPr>
          <a:xfrm>
            <a:off x="695325" y="1601252"/>
            <a:ext cx="1591437" cy="1492057"/>
          </a:xfrm>
          <a:prstGeom prst="roundRect">
            <a:avLst>
              <a:gd name="adj" fmla="val 50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RP Systems</a:t>
            </a:r>
            <a:b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z.B. SAP S/4, Microsoft Dynamics Navision</a:t>
            </a:r>
            <a:b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1" name="Rechteck 14">
            <a:extLst>
              <a:ext uri="{FF2B5EF4-FFF2-40B4-BE49-F238E27FC236}">
                <a16:creationId xmlns:a16="http://schemas.microsoft.com/office/drawing/2014/main" id="{8FF65FCE-3A23-4645-83DC-3B31D9ED910C}"/>
              </a:ext>
            </a:extLst>
          </p:cNvPr>
          <p:cNvSpPr/>
          <p:nvPr/>
        </p:nvSpPr>
        <p:spPr>
          <a:xfrm>
            <a:off x="9102640" y="1601252"/>
            <a:ext cx="2415242" cy="2731318"/>
          </a:xfrm>
          <a:prstGeom prst="roundRect">
            <a:avLst>
              <a:gd name="adj" fmla="val 313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213A51"/>
                </a:solidFill>
                <a:latin typeface="+mj-lt"/>
              </a:rPr>
              <a:t>Repor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err="1">
                <a:solidFill>
                  <a:srgbClr val="213A51"/>
                </a:solidFill>
                <a:latin typeface="+mj-lt"/>
              </a:rPr>
              <a:t>Planning</a:t>
            </a:r>
            <a:r>
              <a:rPr lang="de-DE" sz="1100">
                <a:solidFill>
                  <a:srgbClr val="213A51"/>
                </a:solidFill>
                <a:latin typeface="+mj-lt"/>
              </a:rPr>
              <a:t> &amp; </a:t>
            </a:r>
            <a:r>
              <a:rPr lang="de-DE" sz="1100" err="1">
                <a:solidFill>
                  <a:srgbClr val="213A51"/>
                </a:solidFill>
                <a:latin typeface="+mj-lt"/>
              </a:rPr>
              <a:t>Forecasting</a:t>
            </a:r>
            <a:endParaRPr lang="de-DE" sz="1100">
              <a:solidFill>
                <a:srgbClr val="213A5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Foliennummernplatzhalter 2">
            <a:extLst>
              <a:ext uri="{FF2B5EF4-FFF2-40B4-BE49-F238E27FC236}">
                <a16:creationId xmlns:a16="http://schemas.microsoft.com/office/drawing/2014/main" id="{60F22E13-8BC6-6C95-A1A9-B582EC62A7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E40DA38-4FCE-7148-A83C-D7BBB7580802}" type="slidenum">
              <a:rPr lang="de-DE" altLang="x-none" smtClean="0"/>
              <a:pPr/>
              <a:t>16</a:t>
            </a:fld>
            <a:endParaRPr lang="de-DE" altLang="x-non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87034F4-5237-4771-8928-62584A6CF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In einer modernen Corporate Performance Management Zielarchitektur kann der ganze ESG Steuerungsprozess abgebildet werd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7B50F38-A7B6-E7BF-E000-13C1043513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sz="800">
                <a:latin typeface="+mj-lt"/>
              </a:rPr>
              <a:t>Systemarchitektur &amp; Datenmanagement</a:t>
            </a:r>
            <a:endParaRPr lang="de-DE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A51545B1-32AC-4028-86D9-509AADA103E7}"/>
              </a:ext>
            </a:extLst>
          </p:cNvPr>
          <p:cNvSpPr/>
          <p:nvPr/>
        </p:nvSpPr>
        <p:spPr>
          <a:xfrm>
            <a:off x="3075796" y="1601252"/>
            <a:ext cx="5736164" cy="2342163"/>
          </a:xfrm>
          <a:prstGeom prst="roundRect">
            <a:avLst>
              <a:gd name="adj" fmla="val 322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213A51"/>
                </a:solidFill>
                <a:latin typeface="+mj-lt"/>
              </a:rPr>
              <a:t>Data Warehouse </a:t>
            </a: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für strukturierte ESG Informationen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9954076C-4938-4DA0-84B4-88E20009B43C}"/>
              </a:ext>
            </a:extLst>
          </p:cNvPr>
          <p:cNvCxnSpPr/>
          <p:nvPr/>
        </p:nvCxnSpPr>
        <p:spPr>
          <a:xfrm>
            <a:off x="8811960" y="5268071"/>
            <a:ext cx="288000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1C4BDD6D-2300-4BDA-AD4B-E8AA91024715}"/>
              </a:ext>
            </a:extLst>
          </p:cNvPr>
          <p:cNvCxnSpPr>
            <a:cxnSpLocks/>
          </p:cNvCxnSpPr>
          <p:nvPr/>
        </p:nvCxnSpPr>
        <p:spPr>
          <a:xfrm flipV="1">
            <a:off x="2286762" y="2968704"/>
            <a:ext cx="408622" cy="2487453"/>
          </a:xfrm>
          <a:prstGeom prst="bentConnector3">
            <a:avLst>
              <a:gd name="adj1" fmla="val 50000"/>
            </a:avLst>
          </a:prstGeom>
          <a:ln w="6350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C9F2224A-847D-4AAF-8BDB-15E148FC4EFA}"/>
              </a:ext>
            </a:extLst>
          </p:cNvPr>
          <p:cNvCxnSpPr>
            <a:cxnSpLocks/>
          </p:cNvCxnSpPr>
          <p:nvPr/>
        </p:nvCxnSpPr>
        <p:spPr>
          <a:xfrm>
            <a:off x="8811960" y="2547858"/>
            <a:ext cx="288000" cy="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Rechteck 14">
            <a:extLst>
              <a:ext uri="{FF2B5EF4-FFF2-40B4-BE49-F238E27FC236}">
                <a16:creationId xmlns:a16="http://schemas.microsoft.com/office/drawing/2014/main" id="{11419992-2434-4F4E-9A94-8502122BAF5D}"/>
              </a:ext>
            </a:extLst>
          </p:cNvPr>
          <p:cNvSpPr/>
          <p:nvPr/>
        </p:nvSpPr>
        <p:spPr>
          <a:xfrm>
            <a:off x="2695384" y="4097163"/>
            <a:ext cx="6116576" cy="235408"/>
          </a:xfrm>
          <a:prstGeom prst="roundRect">
            <a:avLst>
              <a:gd name="adj" fmla="val 3211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213A51"/>
                </a:solidFill>
                <a:latin typeface="+mj-lt"/>
              </a:rPr>
              <a:t>Data Integration Layer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2BBC561A-E5E2-4934-A87E-36F57C86E7C8}"/>
              </a:ext>
            </a:extLst>
          </p:cNvPr>
          <p:cNvSpPr/>
          <p:nvPr/>
        </p:nvSpPr>
        <p:spPr>
          <a:xfrm>
            <a:off x="3148719" y="2216728"/>
            <a:ext cx="1751677" cy="1500116"/>
          </a:xfrm>
          <a:prstGeom prst="roundRect">
            <a:avLst>
              <a:gd name="adj" fmla="val 5040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-2500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Data </a:t>
            </a:r>
            <a:r>
              <a:rPr kumimoji="0" lang="de-DE" sz="1200" i="0" u="none" strike="noStrike" kern="1200" cap="none" spc="0" normalizeH="0" baseline="-25000" noProof="0" err="1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Marts</a:t>
            </a:r>
            <a:endParaRPr kumimoji="0" lang="de-DE" sz="1200" i="0" u="none" strike="noStrike" kern="1200" cap="none" spc="0" normalizeH="0" baseline="-2500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Calibri" panose="020F0502020204030204" pitchFamily="34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mwel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C40FA5-5FB3-4648-BF48-99EB1770AED8}"/>
              </a:ext>
            </a:extLst>
          </p:cNvPr>
          <p:cNvGrpSpPr/>
          <p:nvPr/>
        </p:nvGrpSpPr>
        <p:grpSpPr>
          <a:xfrm>
            <a:off x="3607657" y="2819730"/>
            <a:ext cx="833802" cy="630600"/>
            <a:chOff x="3610884" y="2119891"/>
            <a:chExt cx="863880" cy="653348"/>
          </a:xfrm>
        </p:grpSpPr>
        <p:sp>
          <p:nvSpPr>
            <p:cNvPr id="51" name="Freeform 1194">
              <a:extLst>
                <a:ext uri="{FF2B5EF4-FFF2-40B4-BE49-F238E27FC236}">
                  <a16:creationId xmlns:a16="http://schemas.microsoft.com/office/drawing/2014/main" id="{FC33A7EF-85F0-4478-B4EB-5F090516A64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859317" y="2119891"/>
              <a:ext cx="367013" cy="304752"/>
            </a:xfrm>
            <a:custGeom>
              <a:avLst/>
              <a:gdLst>
                <a:gd name="T0" fmla="*/ 711 w 711"/>
                <a:gd name="T1" fmla="*/ 471 h 586"/>
                <a:gd name="T2" fmla="*/ 687 w 711"/>
                <a:gd name="T3" fmla="*/ 508 h 586"/>
                <a:gd name="T4" fmla="*/ 541 w 711"/>
                <a:gd name="T5" fmla="*/ 581 h 586"/>
                <a:gd name="T6" fmla="*/ 522 w 711"/>
                <a:gd name="T7" fmla="*/ 586 h 586"/>
                <a:gd name="T8" fmla="*/ 504 w 711"/>
                <a:gd name="T9" fmla="*/ 581 h 586"/>
                <a:gd name="T10" fmla="*/ 357 w 711"/>
                <a:gd name="T11" fmla="*/ 508 h 586"/>
                <a:gd name="T12" fmla="*/ 355 w 711"/>
                <a:gd name="T13" fmla="*/ 506 h 586"/>
                <a:gd name="T14" fmla="*/ 353 w 711"/>
                <a:gd name="T15" fmla="*/ 508 h 586"/>
                <a:gd name="T16" fmla="*/ 206 w 711"/>
                <a:gd name="T17" fmla="*/ 581 h 586"/>
                <a:gd name="T18" fmla="*/ 188 w 711"/>
                <a:gd name="T19" fmla="*/ 586 h 586"/>
                <a:gd name="T20" fmla="*/ 169 w 711"/>
                <a:gd name="T21" fmla="*/ 581 h 586"/>
                <a:gd name="T22" fmla="*/ 23 w 711"/>
                <a:gd name="T23" fmla="*/ 508 h 586"/>
                <a:gd name="T24" fmla="*/ 0 w 711"/>
                <a:gd name="T25" fmla="*/ 471 h 586"/>
                <a:gd name="T26" fmla="*/ 0 w 711"/>
                <a:gd name="T27" fmla="*/ 335 h 586"/>
                <a:gd name="T28" fmla="*/ 25 w 711"/>
                <a:gd name="T29" fmla="*/ 296 h 586"/>
                <a:gd name="T30" fmla="*/ 167 w 711"/>
                <a:gd name="T31" fmla="*/ 235 h 586"/>
                <a:gd name="T32" fmla="*/ 167 w 711"/>
                <a:gd name="T33" fmla="*/ 105 h 586"/>
                <a:gd name="T34" fmla="*/ 192 w 711"/>
                <a:gd name="T35" fmla="*/ 66 h 586"/>
                <a:gd name="T36" fmla="*/ 339 w 711"/>
                <a:gd name="T37" fmla="*/ 3 h 586"/>
                <a:gd name="T38" fmla="*/ 355 w 711"/>
                <a:gd name="T39" fmla="*/ 0 h 586"/>
                <a:gd name="T40" fmla="*/ 371 w 711"/>
                <a:gd name="T41" fmla="*/ 3 h 586"/>
                <a:gd name="T42" fmla="*/ 518 w 711"/>
                <a:gd name="T43" fmla="*/ 66 h 586"/>
                <a:gd name="T44" fmla="*/ 543 w 711"/>
                <a:gd name="T45" fmla="*/ 105 h 586"/>
                <a:gd name="T46" fmla="*/ 543 w 711"/>
                <a:gd name="T47" fmla="*/ 235 h 586"/>
                <a:gd name="T48" fmla="*/ 685 w 711"/>
                <a:gd name="T49" fmla="*/ 296 h 586"/>
                <a:gd name="T50" fmla="*/ 711 w 711"/>
                <a:gd name="T51" fmla="*/ 335 h 586"/>
                <a:gd name="T52" fmla="*/ 711 w 711"/>
                <a:gd name="T53" fmla="*/ 471 h 586"/>
                <a:gd name="T54" fmla="*/ 320 w 711"/>
                <a:gd name="T55" fmla="*/ 328 h 586"/>
                <a:gd name="T56" fmla="*/ 188 w 711"/>
                <a:gd name="T57" fmla="*/ 272 h 586"/>
                <a:gd name="T58" fmla="*/ 56 w 711"/>
                <a:gd name="T59" fmla="*/ 328 h 586"/>
                <a:gd name="T60" fmla="*/ 188 w 711"/>
                <a:gd name="T61" fmla="*/ 385 h 586"/>
                <a:gd name="T62" fmla="*/ 320 w 711"/>
                <a:gd name="T63" fmla="*/ 328 h 586"/>
                <a:gd name="T64" fmla="*/ 334 w 711"/>
                <a:gd name="T65" fmla="*/ 471 h 586"/>
                <a:gd name="T66" fmla="*/ 334 w 711"/>
                <a:gd name="T67" fmla="*/ 368 h 586"/>
                <a:gd name="T68" fmla="*/ 209 w 711"/>
                <a:gd name="T69" fmla="*/ 422 h 586"/>
                <a:gd name="T70" fmla="*/ 209 w 711"/>
                <a:gd name="T71" fmla="*/ 533 h 586"/>
                <a:gd name="T72" fmla="*/ 334 w 711"/>
                <a:gd name="T73" fmla="*/ 471 h 586"/>
                <a:gd name="T74" fmla="*/ 499 w 711"/>
                <a:gd name="T75" fmla="*/ 104 h 586"/>
                <a:gd name="T76" fmla="*/ 355 w 711"/>
                <a:gd name="T77" fmla="*/ 42 h 586"/>
                <a:gd name="T78" fmla="*/ 211 w 711"/>
                <a:gd name="T79" fmla="*/ 104 h 586"/>
                <a:gd name="T80" fmla="*/ 355 w 711"/>
                <a:gd name="T81" fmla="*/ 165 h 586"/>
                <a:gd name="T82" fmla="*/ 499 w 711"/>
                <a:gd name="T83" fmla="*/ 104 h 586"/>
                <a:gd name="T84" fmla="*/ 501 w 711"/>
                <a:gd name="T85" fmla="*/ 235 h 586"/>
                <a:gd name="T86" fmla="*/ 501 w 711"/>
                <a:gd name="T87" fmla="*/ 148 h 586"/>
                <a:gd name="T88" fmla="*/ 376 w 711"/>
                <a:gd name="T89" fmla="*/ 202 h 586"/>
                <a:gd name="T90" fmla="*/ 376 w 711"/>
                <a:gd name="T91" fmla="*/ 289 h 586"/>
                <a:gd name="T92" fmla="*/ 501 w 711"/>
                <a:gd name="T93" fmla="*/ 235 h 586"/>
                <a:gd name="T94" fmla="*/ 654 w 711"/>
                <a:gd name="T95" fmla="*/ 328 h 586"/>
                <a:gd name="T96" fmla="*/ 522 w 711"/>
                <a:gd name="T97" fmla="*/ 272 h 586"/>
                <a:gd name="T98" fmla="*/ 390 w 711"/>
                <a:gd name="T99" fmla="*/ 328 h 586"/>
                <a:gd name="T100" fmla="*/ 522 w 711"/>
                <a:gd name="T101" fmla="*/ 385 h 586"/>
                <a:gd name="T102" fmla="*/ 654 w 711"/>
                <a:gd name="T103" fmla="*/ 328 h 586"/>
                <a:gd name="T104" fmla="*/ 669 w 711"/>
                <a:gd name="T105" fmla="*/ 471 h 586"/>
                <a:gd name="T106" fmla="*/ 669 w 711"/>
                <a:gd name="T107" fmla="*/ 368 h 586"/>
                <a:gd name="T108" fmla="*/ 543 w 711"/>
                <a:gd name="T109" fmla="*/ 422 h 586"/>
                <a:gd name="T110" fmla="*/ 543 w 711"/>
                <a:gd name="T111" fmla="*/ 533 h 586"/>
                <a:gd name="T112" fmla="*/ 669 w 711"/>
                <a:gd name="T113" fmla="*/ 471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1" h="586">
                  <a:moveTo>
                    <a:pt x="711" y="471"/>
                  </a:moveTo>
                  <a:cubicBezTo>
                    <a:pt x="711" y="486"/>
                    <a:pt x="702" y="501"/>
                    <a:pt x="687" y="508"/>
                  </a:cubicBezTo>
                  <a:cubicBezTo>
                    <a:pt x="541" y="581"/>
                    <a:pt x="541" y="581"/>
                    <a:pt x="541" y="581"/>
                  </a:cubicBezTo>
                  <a:cubicBezTo>
                    <a:pt x="535" y="584"/>
                    <a:pt x="529" y="586"/>
                    <a:pt x="522" y="586"/>
                  </a:cubicBezTo>
                  <a:cubicBezTo>
                    <a:pt x="516" y="586"/>
                    <a:pt x="510" y="584"/>
                    <a:pt x="504" y="581"/>
                  </a:cubicBezTo>
                  <a:cubicBezTo>
                    <a:pt x="357" y="508"/>
                    <a:pt x="357" y="508"/>
                    <a:pt x="357" y="508"/>
                  </a:cubicBezTo>
                  <a:cubicBezTo>
                    <a:pt x="356" y="507"/>
                    <a:pt x="356" y="507"/>
                    <a:pt x="355" y="506"/>
                  </a:cubicBezTo>
                  <a:cubicBezTo>
                    <a:pt x="354" y="507"/>
                    <a:pt x="354" y="507"/>
                    <a:pt x="353" y="508"/>
                  </a:cubicBezTo>
                  <a:cubicBezTo>
                    <a:pt x="206" y="581"/>
                    <a:pt x="206" y="581"/>
                    <a:pt x="206" y="581"/>
                  </a:cubicBezTo>
                  <a:cubicBezTo>
                    <a:pt x="200" y="584"/>
                    <a:pt x="194" y="586"/>
                    <a:pt x="188" y="586"/>
                  </a:cubicBezTo>
                  <a:cubicBezTo>
                    <a:pt x="181" y="586"/>
                    <a:pt x="175" y="584"/>
                    <a:pt x="169" y="581"/>
                  </a:cubicBezTo>
                  <a:cubicBezTo>
                    <a:pt x="23" y="508"/>
                    <a:pt x="23" y="508"/>
                    <a:pt x="23" y="508"/>
                  </a:cubicBezTo>
                  <a:cubicBezTo>
                    <a:pt x="8" y="501"/>
                    <a:pt x="0" y="486"/>
                    <a:pt x="0" y="471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18"/>
                    <a:pt x="10" y="303"/>
                    <a:pt x="25" y="296"/>
                  </a:cubicBezTo>
                  <a:cubicBezTo>
                    <a:pt x="167" y="235"/>
                    <a:pt x="167" y="235"/>
                    <a:pt x="167" y="235"/>
                  </a:cubicBezTo>
                  <a:cubicBezTo>
                    <a:pt x="167" y="105"/>
                    <a:pt x="167" y="105"/>
                    <a:pt x="167" y="105"/>
                  </a:cubicBezTo>
                  <a:cubicBezTo>
                    <a:pt x="167" y="88"/>
                    <a:pt x="177" y="73"/>
                    <a:pt x="192" y="66"/>
                  </a:cubicBezTo>
                  <a:cubicBezTo>
                    <a:pt x="339" y="3"/>
                    <a:pt x="339" y="3"/>
                    <a:pt x="339" y="3"/>
                  </a:cubicBezTo>
                  <a:cubicBezTo>
                    <a:pt x="344" y="1"/>
                    <a:pt x="349" y="0"/>
                    <a:pt x="355" y="0"/>
                  </a:cubicBezTo>
                  <a:cubicBezTo>
                    <a:pt x="361" y="0"/>
                    <a:pt x="366" y="1"/>
                    <a:pt x="371" y="3"/>
                  </a:cubicBezTo>
                  <a:cubicBezTo>
                    <a:pt x="518" y="66"/>
                    <a:pt x="518" y="66"/>
                    <a:pt x="518" y="66"/>
                  </a:cubicBezTo>
                  <a:cubicBezTo>
                    <a:pt x="533" y="73"/>
                    <a:pt x="543" y="88"/>
                    <a:pt x="543" y="105"/>
                  </a:cubicBezTo>
                  <a:cubicBezTo>
                    <a:pt x="543" y="235"/>
                    <a:pt x="543" y="235"/>
                    <a:pt x="543" y="235"/>
                  </a:cubicBezTo>
                  <a:cubicBezTo>
                    <a:pt x="685" y="296"/>
                    <a:pt x="685" y="296"/>
                    <a:pt x="685" y="296"/>
                  </a:cubicBezTo>
                  <a:cubicBezTo>
                    <a:pt x="701" y="303"/>
                    <a:pt x="711" y="318"/>
                    <a:pt x="711" y="335"/>
                  </a:cubicBezTo>
                  <a:lnTo>
                    <a:pt x="711" y="471"/>
                  </a:lnTo>
                  <a:close/>
                  <a:moveTo>
                    <a:pt x="320" y="328"/>
                  </a:moveTo>
                  <a:cubicBezTo>
                    <a:pt x="188" y="272"/>
                    <a:pt x="188" y="272"/>
                    <a:pt x="188" y="272"/>
                  </a:cubicBezTo>
                  <a:cubicBezTo>
                    <a:pt x="56" y="328"/>
                    <a:pt x="56" y="328"/>
                    <a:pt x="56" y="328"/>
                  </a:cubicBezTo>
                  <a:cubicBezTo>
                    <a:pt x="188" y="385"/>
                    <a:pt x="188" y="385"/>
                    <a:pt x="188" y="385"/>
                  </a:cubicBezTo>
                  <a:lnTo>
                    <a:pt x="320" y="328"/>
                  </a:lnTo>
                  <a:close/>
                  <a:moveTo>
                    <a:pt x="334" y="471"/>
                  </a:moveTo>
                  <a:cubicBezTo>
                    <a:pt x="334" y="368"/>
                    <a:pt x="334" y="368"/>
                    <a:pt x="334" y="368"/>
                  </a:cubicBezTo>
                  <a:cubicBezTo>
                    <a:pt x="209" y="422"/>
                    <a:pt x="209" y="422"/>
                    <a:pt x="209" y="422"/>
                  </a:cubicBezTo>
                  <a:cubicBezTo>
                    <a:pt x="209" y="533"/>
                    <a:pt x="209" y="533"/>
                    <a:pt x="209" y="533"/>
                  </a:cubicBezTo>
                  <a:lnTo>
                    <a:pt x="334" y="471"/>
                  </a:lnTo>
                  <a:close/>
                  <a:moveTo>
                    <a:pt x="499" y="104"/>
                  </a:moveTo>
                  <a:cubicBezTo>
                    <a:pt x="355" y="42"/>
                    <a:pt x="355" y="42"/>
                    <a:pt x="355" y="42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355" y="165"/>
                    <a:pt x="355" y="165"/>
                    <a:pt x="355" y="165"/>
                  </a:cubicBezTo>
                  <a:lnTo>
                    <a:pt x="499" y="104"/>
                  </a:lnTo>
                  <a:close/>
                  <a:moveTo>
                    <a:pt x="501" y="235"/>
                  </a:moveTo>
                  <a:cubicBezTo>
                    <a:pt x="501" y="148"/>
                    <a:pt x="501" y="148"/>
                    <a:pt x="501" y="148"/>
                  </a:cubicBezTo>
                  <a:cubicBezTo>
                    <a:pt x="376" y="202"/>
                    <a:pt x="376" y="202"/>
                    <a:pt x="376" y="202"/>
                  </a:cubicBezTo>
                  <a:cubicBezTo>
                    <a:pt x="376" y="289"/>
                    <a:pt x="376" y="289"/>
                    <a:pt x="376" y="289"/>
                  </a:cubicBezTo>
                  <a:lnTo>
                    <a:pt x="501" y="235"/>
                  </a:lnTo>
                  <a:close/>
                  <a:moveTo>
                    <a:pt x="654" y="328"/>
                  </a:moveTo>
                  <a:cubicBezTo>
                    <a:pt x="522" y="272"/>
                    <a:pt x="522" y="272"/>
                    <a:pt x="522" y="272"/>
                  </a:cubicBezTo>
                  <a:cubicBezTo>
                    <a:pt x="390" y="328"/>
                    <a:pt x="390" y="328"/>
                    <a:pt x="390" y="328"/>
                  </a:cubicBezTo>
                  <a:cubicBezTo>
                    <a:pt x="522" y="385"/>
                    <a:pt x="522" y="385"/>
                    <a:pt x="522" y="385"/>
                  </a:cubicBezTo>
                  <a:lnTo>
                    <a:pt x="654" y="328"/>
                  </a:lnTo>
                  <a:close/>
                  <a:moveTo>
                    <a:pt x="669" y="471"/>
                  </a:moveTo>
                  <a:cubicBezTo>
                    <a:pt x="669" y="368"/>
                    <a:pt x="669" y="368"/>
                    <a:pt x="669" y="368"/>
                  </a:cubicBezTo>
                  <a:cubicBezTo>
                    <a:pt x="543" y="422"/>
                    <a:pt x="543" y="422"/>
                    <a:pt x="543" y="422"/>
                  </a:cubicBezTo>
                  <a:cubicBezTo>
                    <a:pt x="543" y="533"/>
                    <a:pt x="543" y="533"/>
                    <a:pt x="543" y="533"/>
                  </a:cubicBezTo>
                  <a:lnTo>
                    <a:pt x="669" y="4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73148" tIns="36575" rIns="73148" bIns="3657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2" name="Freeform 1194">
              <a:extLst>
                <a:ext uri="{FF2B5EF4-FFF2-40B4-BE49-F238E27FC236}">
                  <a16:creationId xmlns:a16="http://schemas.microsoft.com/office/drawing/2014/main" id="{51FA3873-98F0-4992-AA5C-692982A75C1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107751" y="2468487"/>
              <a:ext cx="367013" cy="304752"/>
            </a:xfrm>
            <a:custGeom>
              <a:avLst/>
              <a:gdLst>
                <a:gd name="T0" fmla="*/ 711 w 711"/>
                <a:gd name="T1" fmla="*/ 471 h 586"/>
                <a:gd name="T2" fmla="*/ 687 w 711"/>
                <a:gd name="T3" fmla="*/ 508 h 586"/>
                <a:gd name="T4" fmla="*/ 541 w 711"/>
                <a:gd name="T5" fmla="*/ 581 h 586"/>
                <a:gd name="T6" fmla="*/ 522 w 711"/>
                <a:gd name="T7" fmla="*/ 586 h 586"/>
                <a:gd name="T8" fmla="*/ 504 w 711"/>
                <a:gd name="T9" fmla="*/ 581 h 586"/>
                <a:gd name="T10" fmla="*/ 357 w 711"/>
                <a:gd name="T11" fmla="*/ 508 h 586"/>
                <a:gd name="T12" fmla="*/ 355 w 711"/>
                <a:gd name="T13" fmla="*/ 506 h 586"/>
                <a:gd name="T14" fmla="*/ 353 w 711"/>
                <a:gd name="T15" fmla="*/ 508 h 586"/>
                <a:gd name="T16" fmla="*/ 206 w 711"/>
                <a:gd name="T17" fmla="*/ 581 h 586"/>
                <a:gd name="T18" fmla="*/ 188 w 711"/>
                <a:gd name="T19" fmla="*/ 586 h 586"/>
                <a:gd name="T20" fmla="*/ 169 w 711"/>
                <a:gd name="T21" fmla="*/ 581 h 586"/>
                <a:gd name="T22" fmla="*/ 23 w 711"/>
                <a:gd name="T23" fmla="*/ 508 h 586"/>
                <a:gd name="T24" fmla="*/ 0 w 711"/>
                <a:gd name="T25" fmla="*/ 471 h 586"/>
                <a:gd name="T26" fmla="*/ 0 w 711"/>
                <a:gd name="T27" fmla="*/ 335 h 586"/>
                <a:gd name="T28" fmla="*/ 25 w 711"/>
                <a:gd name="T29" fmla="*/ 296 h 586"/>
                <a:gd name="T30" fmla="*/ 167 w 711"/>
                <a:gd name="T31" fmla="*/ 235 h 586"/>
                <a:gd name="T32" fmla="*/ 167 w 711"/>
                <a:gd name="T33" fmla="*/ 105 h 586"/>
                <a:gd name="T34" fmla="*/ 192 w 711"/>
                <a:gd name="T35" fmla="*/ 66 h 586"/>
                <a:gd name="T36" fmla="*/ 339 w 711"/>
                <a:gd name="T37" fmla="*/ 3 h 586"/>
                <a:gd name="T38" fmla="*/ 355 w 711"/>
                <a:gd name="T39" fmla="*/ 0 h 586"/>
                <a:gd name="T40" fmla="*/ 371 w 711"/>
                <a:gd name="T41" fmla="*/ 3 h 586"/>
                <a:gd name="T42" fmla="*/ 518 w 711"/>
                <a:gd name="T43" fmla="*/ 66 h 586"/>
                <a:gd name="T44" fmla="*/ 543 w 711"/>
                <a:gd name="T45" fmla="*/ 105 h 586"/>
                <a:gd name="T46" fmla="*/ 543 w 711"/>
                <a:gd name="T47" fmla="*/ 235 h 586"/>
                <a:gd name="T48" fmla="*/ 685 w 711"/>
                <a:gd name="T49" fmla="*/ 296 h 586"/>
                <a:gd name="T50" fmla="*/ 711 w 711"/>
                <a:gd name="T51" fmla="*/ 335 h 586"/>
                <a:gd name="T52" fmla="*/ 711 w 711"/>
                <a:gd name="T53" fmla="*/ 471 h 586"/>
                <a:gd name="T54" fmla="*/ 320 w 711"/>
                <a:gd name="T55" fmla="*/ 328 h 586"/>
                <a:gd name="T56" fmla="*/ 188 w 711"/>
                <a:gd name="T57" fmla="*/ 272 h 586"/>
                <a:gd name="T58" fmla="*/ 56 w 711"/>
                <a:gd name="T59" fmla="*/ 328 h 586"/>
                <a:gd name="T60" fmla="*/ 188 w 711"/>
                <a:gd name="T61" fmla="*/ 385 h 586"/>
                <a:gd name="T62" fmla="*/ 320 w 711"/>
                <a:gd name="T63" fmla="*/ 328 h 586"/>
                <a:gd name="T64" fmla="*/ 334 w 711"/>
                <a:gd name="T65" fmla="*/ 471 h 586"/>
                <a:gd name="T66" fmla="*/ 334 w 711"/>
                <a:gd name="T67" fmla="*/ 368 h 586"/>
                <a:gd name="T68" fmla="*/ 209 w 711"/>
                <a:gd name="T69" fmla="*/ 422 h 586"/>
                <a:gd name="T70" fmla="*/ 209 w 711"/>
                <a:gd name="T71" fmla="*/ 533 h 586"/>
                <a:gd name="T72" fmla="*/ 334 w 711"/>
                <a:gd name="T73" fmla="*/ 471 h 586"/>
                <a:gd name="T74" fmla="*/ 499 w 711"/>
                <a:gd name="T75" fmla="*/ 104 h 586"/>
                <a:gd name="T76" fmla="*/ 355 w 711"/>
                <a:gd name="T77" fmla="*/ 42 h 586"/>
                <a:gd name="T78" fmla="*/ 211 w 711"/>
                <a:gd name="T79" fmla="*/ 104 h 586"/>
                <a:gd name="T80" fmla="*/ 355 w 711"/>
                <a:gd name="T81" fmla="*/ 165 h 586"/>
                <a:gd name="T82" fmla="*/ 499 w 711"/>
                <a:gd name="T83" fmla="*/ 104 h 586"/>
                <a:gd name="T84" fmla="*/ 501 w 711"/>
                <a:gd name="T85" fmla="*/ 235 h 586"/>
                <a:gd name="T86" fmla="*/ 501 w 711"/>
                <a:gd name="T87" fmla="*/ 148 h 586"/>
                <a:gd name="T88" fmla="*/ 376 w 711"/>
                <a:gd name="T89" fmla="*/ 202 h 586"/>
                <a:gd name="T90" fmla="*/ 376 w 711"/>
                <a:gd name="T91" fmla="*/ 289 h 586"/>
                <a:gd name="T92" fmla="*/ 501 w 711"/>
                <a:gd name="T93" fmla="*/ 235 h 586"/>
                <a:gd name="T94" fmla="*/ 654 w 711"/>
                <a:gd name="T95" fmla="*/ 328 h 586"/>
                <a:gd name="T96" fmla="*/ 522 w 711"/>
                <a:gd name="T97" fmla="*/ 272 h 586"/>
                <a:gd name="T98" fmla="*/ 390 w 711"/>
                <a:gd name="T99" fmla="*/ 328 h 586"/>
                <a:gd name="T100" fmla="*/ 522 w 711"/>
                <a:gd name="T101" fmla="*/ 385 h 586"/>
                <a:gd name="T102" fmla="*/ 654 w 711"/>
                <a:gd name="T103" fmla="*/ 328 h 586"/>
                <a:gd name="T104" fmla="*/ 669 w 711"/>
                <a:gd name="T105" fmla="*/ 471 h 586"/>
                <a:gd name="T106" fmla="*/ 669 w 711"/>
                <a:gd name="T107" fmla="*/ 368 h 586"/>
                <a:gd name="T108" fmla="*/ 543 w 711"/>
                <a:gd name="T109" fmla="*/ 422 h 586"/>
                <a:gd name="T110" fmla="*/ 543 w 711"/>
                <a:gd name="T111" fmla="*/ 533 h 586"/>
                <a:gd name="T112" fmla="*/ 669 w 711"/>
                <a:gd name="T113" fmla="*/ 471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1" h="586">
                  <a:moveTo>
                    <a:pt x="711" y="471"/>
                  </a:moveTo>
                  <a:cubicBezTo>
                    <a:pt x="711" y="486"/>
                    <a:pt x="702" y="501"/>
                    <a:pt x="687" y="508"/>
                  </a:cubicBezTo>
                  <a:cubicBezTo>
                    <a:pt x="541" y="581"/>
                    <a:pt x="541" y="581"/>
                    <a:pt x="541" y="581"/>
                  </a:cubicBezTo>
                  <a:cubicBezTo>
                    <a:pt x="535" y="584"/>
                    <a:pt x="529" y="586"/>
                    <a:pt x="522" y="586"/>
                  </a:cubicBezTo>
                  <a:cubicBezTo>
                    <a:pt x="516" y="586"/>
                    <a:pt x="510" y="584"/>
                    <a:pt x="504" y="581"/>
                  </a:cubicBezTo>
                  <a:cubicBezTo>
                    <a:pt x="357" y="508"/>
                    <a:pt x="357" y="508"/>
                    <a:pt x="357" y="508"/>
                  </a:cubicBezTo>
                  <a:cubicBezTo>
                    <a:pt x="356" y="507"/>
                    <a:pt x="356" y="507"/>
                    <a:pt x="355" y="506"/>
                  </a:cubicBezTo>
                  <a:cubicBezTo>
                    <a:pt x="354" y="507"/>
                    <a:pt x="354" y="507"/>
                    <a:pt x="353" y="508"/>
                  </a:cubicBezTo>
                  <a:cubicBezTo>
                    <a:pt x="206" y="581"/>
                    <a:pt x="206" y="581"/>
                    <a:pt x="206" y="581"/>
                  </a:cubicBezTo>
                  <a:cubicBezTo>
                    <a:pt x="200" y="584"/>
                    <a:pt x="194" y="586"/>
                    <a:pt x="188" y="586"/>
                  </a:cubicBezTo>
                  <a:cubicBezTo>
                    <a:pt x="181" y="586"/>
                    <a:pt x="175" y="584"/>
                    <a:pt x="169" y="581"/>
                  </a:cubicBezTo>
                  <a:cubicBezTo>
                    <a:pt x="23" y="508"/>
                    <a:pt x="23" y="508"/>
                    <a:pt x="23" y="508"/>
                  </a:cubicBezTo>
                  <a:cubicBezTo>
                    <a:pt x="8" y="501"/>
                    <a:pt x="0" y="486"/>
                    <a:pt x="0" y="471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18"/>
                    <a:pt x="10" y="303"/>
                    <a:pt x="25" y="296"/>
                  </a:cubicBezTo>
                  <a:cubicBezTo>
                    <a:pt x="167" y="235"/>
                    <a:pt x="167" y="235"/>
                    <a:pt x="167" y="235"/>
                  </a:cubicBezTo>
                  <a:cubicBezTo>
                    <a:pt x="167" y="105"/>
                    <a:pt x="167" y="105"/>
                    <a:pt x="167" y="105"/>
                  </a:cubicBezTo>
                  <a:cubicBezTo>
                    <a:pt x="167" y="88"/>
                    <a:pt x="177" y="73"/>
                    <a:pt x="192" y="66"/>
                  </a:cubicBezTo>
                  <a:cubicBezTo>
                    <a:pt x="339" y="3"/>
                    <a:pt x="339" y="3"/>
                    <a:pt x="339" y="3"/>
                  </a:cubicBezTo>
                  <a:cubicBezTo>
                    <a:pt x="344" y="1"/>
                    <a:pt x="349" y="0"/>
                    <a:pt x="355" y="0"/>
                  </a:cubicBezTo>
                  <a:cubicBezTo>
                    <a:pt x="361" y="0"/>
                    <a:pt x="366" y="1"/>
                    <a:pt x="371" y="3"/>
                  </a:cubicBezTo>
                  <a:cubicBezTo>
                    <a:pt x="518" y="66"/>
                    <a:pt x="518" y="66"/>
                    <a:pt x="518" y="66"/>
                  </a:cubicBezTo>
                  <a:cubicBezTo>
                    <a:pt x="533" y="73"/>
                    <a:pt x="543" y="88"/>
                    <a:pt x="543" y="105"/>
                  </a:cubicBezTo>
                  <a:cubicBezTo>
                    <a:pt x="543" y="235"/>
                    <a:pt x="543" y="235"/>
                    <a:pt x="543" y="235"/>
                  </a:cubicBezTo>
                  <a:cubicBezTo>
                    <a:pt x="685" y="296"/>
                    <a:pt x="685" y="296"/>
                    <a:pt x="685" y="296"/>
                  </a:cubicBezTo>
                  <a:cubicBezTo>
                    <a:pt x="701" y="303"/>
                    <a:pt x="711" y="318"/>
                    <a:pt x="711" y="335"/>
                  </a:cubicBezTo>
                  <a:lnTo>
                    <a:pt x="711" y="471"/>
                  </a:lnTo>
                  <a:close/>
                  <a:moveTo>
                    <a:pt x="320" y="328"/>
                  </a:moveTo>
                  <a:cubicBezTo>
                    <a:pt x="188" y="272"/>
                    <a:pt x="188" y="272"/>
                    <a:pt x="188" y="272"/>
                  </a:cubicBezTo>
                  <a:cubicBezTo>
                    <a:pt x="56" y="328"/>
                    <a:pt x="56" y="328"/>
                    <a:pt x="56" y="328"/>
                  </a:cubicBezTo>
                  <a:cubicBezTo>
                    <a:pt x="188" y="385"/>
                    <a:pt x="188" y="385"/>
                    <a:pt x="188" y="385"/>
                  </a:cubicBezTo>
                  <a:lnTo>
                    <a:pt x="320" y="328"/>
                  </a:lnTo>
                  <a:close/>
                  <a:moveTo>
                    <a:pt x="334" y="471"/>
                  </a:moveTo>
                  <a:cubicBezTo>
                    <a:pt x="334" y="368"/>
                    <a:pt x="334" y="368"/>
                    <a:pt x="334" y="368"/>
                  </a:cubicBezTo>
                  <a:cubicBezTo>
                    <a:pt x="209" y="422"/>
                    <a:pt x="209" y="422"/>
                    <a:pt x="209" y="422"/>
                  </a:cubicBezTo>
                  <a:cubicBezTo>
                    <a:pt x="209" y="533"/>
                    <a:pt x="209" y="533"/>
                    <a:pt x="209" y="533"/>
                  </a:cubicBezTo>
                  <a:lnTo>
                    <a:pt x="334" y="471"/>
                  </a:lnTo>
                  <a:close/>
                  <a:moveTo>
                    <a:pt x="499" y="104"/>
                  </a:moveTo>
                  <a:cubicBezTo>
                    <a:pt x="355" y="42"/>
                    <a:pt x="355" y="42"/>
                    <a:pt x="355" y="42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355" y="165"/>
                    <a:pt x="355" y="165"/>
                    <a:pt x="355" y="165"/>
                  </a:cubicBezTo>
                  <a:lnTo>
                    <a:pt x="499" y="104"/>
                  </a:lnTo>
                  <a:close/>
                  <a:moveTo>
                    <a:pt x="501" y="235"/>
                  </a:moveTo>
                  <a:cubicBezTo>
                    <a:pt x="501" y="148"/>
                    <a:pt x="501" y="148"/>
                    <a:pt x="501" y="148"/>
                  </a:cubicBezTo>
                  <a:cubicBezTo>
                    <a:pt x="376" y="202"/>
                    <a:pt x="376" y="202"/>
                    <a:pt x="376" y="202"/>
                  </a:cubicBezTo>
                  <a:cubicBezTo>
                    <a:pt x="376" y="289"/>
                    <a:pt x="376" y="289"/>
                    <a:pt x="376" y="289"/>
                  </a:cubicBezTo>
                  <a:lnTo>
                    <a:pt x="501" y="235"/>
                  </a:lnTo>
                  <a:close/>
                  <a:moveTo>
                    <a:pt x="654" y="328"/>
                  </a:moveTo>
                  <a:cubicBezTo>
                    <a:pt x="522" y="272"/>
                    <a:pt x="522" y="272"/>
                    <a:pt x="522" y="272"/>
                  </a:cubicBezTo>
                  <a:cubicBezTo>
                    <a:pt x="390" y="328"/>
                    <a:pt x="390" y="328"/>
                    <a:pt x="390" y="328"/>
                  </a:cubicBezTo>
                  <a:cubicBezTo>
                    <a:pt x="522" y="385"/>
                    <a:pt x="522" y="385"/>
                    <a:pt x="522" y="385"/>
                  </a:cubicBezTo>
                  <a:lnTo>
                    <a:pt x="654" y="328"/>
                  </a:lnTo>
                  <a:close/>
                  <a:moveTo>
                    <a:pt x="669" y="471"/>
                  </a:moveTo>
                  <a:cubicBezTo>
                    <a:pt x="669" y="368"/>
                    <a:pt x="669" y="368"/>
                    <a:pt x="669" y="368"/>
                  </a:cubicBezTo>
                  <a:cubicBezTo>
                    <a:pt x="543" y="422"/>
                    <a:pt x="543" y="422"/>
                    <a:pt x="543" y="422"/>
                  </a:cubicBezTo>
                  <a:cubicBezTo>
                    <a:pt x="543" y="533"/>
                    <a:pt x="543" y="533"/>
                    <a:pt x="543" y="533"/>
                  </a:cubicBezTo>
                  <a:lnTo>
                    <a:pt x="669" y="4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73148" tIns="36575" rIns="73148" bIns="3657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8" name="Freeform 1194">
              <a:extLst>
                <a:ext uri="{FF2B5EF4-FFF2-40B4-BE49-F238E27FC236}">
                  <a16:creationId xmlns:a16="http://schemas.microsoft.com/office/drawing/2014/main" id="{3AEEEEBD-1CEF-4F46-90EA-F044DB4165D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610884" y="2468487"/>
              <a:ext cx="367013" cy="304752"/>
            </a:xfrm>
            <a:custGeom>
              <a:avLst/>
              <a:gdLst>
                <a:gd name="T0" fmla="*/ 711 w 711"/>
                <a:gd name="T1" fmla="*/ 471 h 586"/>
                <a:gd name="T2" fmla="*/ 687 w 711"/>
                <a:gd name="T3" fmla="*/ 508 h 586"/>
                <a:gd name="T4" fmla="*/ 541 w 711"/>
                <a:gd name="T5" fmla="*/ 581 h 586"/>
                <a:gd name="T6" fmla="*/ 522 w 711"/>
                <a:gd name="T7" fmla="*/ 586 h 586"/>
                <a:gd name="T8" fmla="*/ 504 w 711"/>
                <a:gd name="T9" fmla="*/ 581 h 586"/>
                <a:gd name="T10" fmla="*/ 357 w 711"/>
                <a:gd name="T11" fmla="*/ 508 h 586"/>
                <a:gd name="T12" fmla="*/ 355 w 711"/>
                <a:gd name="T13" fmla="*/ 506 h 586"/>
                <a:gd name="T14" fmla="*/ 353 w 711"/>
                <a:gd name="T15" fmla="*/ 508 h 586"/>
                <a:gd name="T16" fmla="*/ 206 w 711"/>
                <a:gd name="T17" fmla="*/ 581 h 586"/>
                <a:gd name="T18" fmla="*/ 188 w 711"/>
                <a:gd name="T19" fmla="*/ 586 h 586"/>
                <a:gd name="T20" fmla="*/ 169 w 711"/>
                <a:gd name="T21" fmla="*/ 581 h 586"/>
                <a:gd name="T22" fmla="*/ 23 w 711"/>
                <a:gd name="T23" fmla="*/ 508 h 586"/>
                <a:gd name="T24" fmla="*/ 0 w 711"/>
                <a:gd name="T25" fmla="*/ 471 h 586"/>
                <a:gd name="T26" fmla="*/ 0 w 711"/>
                <a:gd name="T27" fmla="*/ 335 h 586"/>
                <a:gd name="T28" fmla="*/ 25 w 711"/>
                <a:gd name="T29" fmla="*/ 296 h 586"/>
                <a:gd name="T30" fmla="*/ 167 w 711"/>
                <a:gd name="T31" fmla="*/ 235 h 586"/>
                <a:gd name="T32" fmla="*/ 167 w 711"/>
                <a:gd name="T33" fmla="*/ 105 h 586"/>
                <a:gd name="T34" fmla="*/ 192 w 711"/>
                <a:gd name="T35" fmla="*/ 66 h 586"/>
                <a:gd name="T36" fmla="*/ 339 w 711"/>
                <a:gd name="T37" fmla="*/ 3 h 586"/>
                <a:gd name="T38" fmla="*/ 355 w 711"/>
                <a:gd name="T39" fmla="*/ 0 h 586"/>
                <a:gd name="T40" fmla="*/ 371 w 711"/>
                <a:gd name="T41" fmla="*/ 3 h 586"/>
                <a:gd name="T42" fmla="*/ 518 w 711"/>
                <a:gd name="T43" fmla="*/ 66 h 586"/>
                <a:gd name="T44" fmla="*/ 543 w 711"/>
                <a:gd name="T45" fmla="*/ 105 h 586"/>
                <a:gd name="T46" fmla="*/ 543 w 711"/>
                <a:gd name="T47" fmla="*/ 235 h 586"/>
                <a:gd name="T48" fmla="*/ 685 w 711"/>
                <a:gd name="T49" fmla="*/ 296 h 586"/>
                <a:gd name="T50" fmla="*/ 711 w 711"/>
                <a:gd name="T51" fmla="*/ 335 h 586"/>
                <a:gd name="T52" fmla="*/ 711 w 711"/>
                <a:gd name="T53" fmla="*/ 471 h 586"/>
                <a:gd name="T54" fmla="*/ 320 w 711"/>
                <a:gd name="T55" fmla="*/ 328 h 586"/>
                <a:gd name="T56" fmla="*/ 188 w 711"/>
                <a:gd name="T57" fmla="*/ 272 h 586"/>
                <a:gd name="T58" fmla="*/ 56 w 711"/>
                <a:gd name="T59" fmla="*/ 328 h 586"/>
                <a:gd name="T60" fmla="*/ 188 w 711"/>
                <a:gd name="T61" fmla="*/ 385 h 586"/>
                <a:gd name="T62" fmla="*/ 320 w 711"/>
                <a:gd name="T63" fmla="*/ 328 h 586"/>
                <a:gd name="T64" fmla="*/ 334 w 711"/>
                <a:gd name="T65" fmla="*/ 471 h 586"/>
                <a:gd name="T66" fmla="*/ 334 w 711"/>
                <a:gd name="T67" fmla="*/ 368 h 586"/>
                <a:gd name="T68" fmla="*/ 209 w 711"/>
                <a:gd name="T69" fmla="*/ 422 h 586"/>
                <a:gd name="T70" fmla="*/ 209 w 711"/>
                <a:gd name="T71" fmla="*/ 533 h 586"/>
                <a:gd name="T72" fmla="*/ 334 w 711"/>
                <a:gd name="T73" fmla="*/ 471 h 586"/>
                <a:gd name="T74" fmla="*/ 499 w 711"/>
                <a:gd name="T75" fmla="*/ 104 h 586"/>
                <a:gd name="T76" fmla="*/ 355 w 711"/>
                <a:gd name="T77" fmla="*/ 42 h 586"/>
                <a:gd name="T78" fmla="*/ 211 w 711"/>
                <a:gd name="T79" fmla="*/ 104 h 586"/>
                <a:gd name="T80" fmla="*/ 355 w 711"/>
                <a:gd name="T81" fmla="*/ 165 h 586"/>
                <a:gd name="T82" fmla="*/ 499 w 711"/>
                <a:gd name="T83" fmla="*/ 104 h 586"/>
                <a:gd name="T84" fmla="*/ 501 w 711"/>
                <a:gd name="T85" fmla="*/ 235 h 586"/>
                <a:gd name="T86" fmla="*/ 501 w 711"/>
                <a:gd name="T87" fmla="*/ 148 h 586"/>
                <a:gd name="T88" fmla="*/ 376 w 711"/>
                <a:gd name="T89" fmla="*/ 202 h 586"/>
                <a:gd name="T90" fmla="*/ 376 w 711"/>
                <a:gd name="T91" fmla="*/ 289 h 586"/>
                <a:gd name="T92" fmla="*/ 501 w 711"/>
                <a:gd name="T93" fmla="*/ 235 h 586"/>
                <a:gd name="T94" fmla="*/ 654 w 711"/>
                <a:gd name="T95" fmla="*/ 328 h 586"/>
                <a:gd name="T96" fmla="*/ 522 w 711"/>
                <a:gd name="T97" fmla="*/ 272 h 586"/>
                <a:gd name="T98" fmla="*/ 390 w 711"/>
                <a:gd name="T99" fmla="*/ 328 h 586"/>
                <a:gd name="T100" fmla="*/ 522 w 711"/>
                <a:gd name="T101" fmla="*/ 385 h 586"/>
                <a:gd name="T102" fmla="*/ 654 w 711"/>
                <a:gd name="T103" fmla="*/ 328 h 586"/>
                <a:gd name="T104" fmla="*/ 669 w 711"/>
                <a:gd name="T105" fmla="*/ 471 h 586"/>
                <a:gd name="T106" fmla="*/ 669 w 711"/>
                <a:gd name="T107" fmla="*/ 368 h 586"/>
                <a:gd name="T108" fmla="*/ 543 w 711"/>
                <a:gd name="T109" fmla="*/ 422 h 586"/>
                <a:gd name="T110" fmla="*/ 543 w 711"/>
                <a:gd name="T111" fmla="*/ 533 h 586"/>
                <a:gd name="T112" fmla="*/ 669 w 711"/>
                <a:gd name="T113" fmla="*/ 471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1" h="586">
                  <a:moveTo>
                    <a:pt x="711" y="471"/>
                  </a:moveTo>
                  <a:cubicBezTo>
                    <a:pt x="711" y="486"/>
                    <a:pt x="702" y="501"/>
                    <a:pt x="687" y="508"/>
                  </a:cubicBezTo>
                  <a:cubicBezTo>
                    <a:pt x="541" y="581"/>
                    <a:pt x="541" y="581"/>
                    <a:pt x="541" y="581"/>
                  </a:cubicBezTo>
                  <a:cubicBezTo>
                    <a:pt x="535" y="584"/>
                    <a:pt x="529" y="586"/>
                    <a:pt x="522" y="586"/>
                  </a:cubicBezTo>
                  <a:cubicBezTo>
                    <a:pt x="516" y="586"/>
                    <a:pt x="510" y="584"/>
                    <a:pt x="504" y="581"/>
                  </a:cubicBezTo>
                  <a:cubicBezTo>
                    <a:pt x="357" y="508"/>
                    <a:pt x="357" y="508"/>
                    <a:pt x="357" y="508"/>
                  </a:cubicBezTo>
                  <a:cubicBezTo>
                    <a:pt x="356" y="507"/>
                    <a:pt x="356" y="507"/>
                    <a:pt x="355" y="506"/>
                  </a:cubicBezTo>
                  <a:cubicBezTo>
                    <a:pt x="354" y="507"/>
                    <a:pt x="354" y="507"/>
                    <a:pt x="353" y="508"/>
                  </a:cubicBezTo>
                  <a:cubicBezTo>
                    <a:pt x="206" y="581"/>
                    <a:pt x="206" y="581"/>
                    <a:pt x="206" y="581"/>
                  </a:cubicBezTo>
                  <a:cubicBezTo>
                    <a:pt x="200" y="584"/>
                    <a:pt x="194" y="586"/>
                    <a:pt x="188" y="586"/>
                  </a:cubicBezTo>
                  <a:cubicBezTo>
                    <a:pt x="181" y="586"/>
                    <a:pt x="175" y="584"/>
                    <a:pt x="169" y="581"/>
                  </a:cubicBezTo>
                  <a:cubicBezTo>
                    <a:pt x="23" y="508"/>
                    <a:pt x="23" y="508"/>
                    <a:pt x="23" y="508"/>
                  </a:cubicBezTo>
                  <a:cubicBezTo>
                    <a:pt x="8" y="501"/>
                    <a:pt x="0" y="486"/>
                    <a:pt x="0" y="471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18"/>
                    <a:pt x="10" y="303"/>
                    <a:pt x="25" y="296"/>
                  </a:cubicBezTo>
                  <a:cubicBezTo>
                    <a:pt x="167" y="235"/>
                    <a:pt x="167" y="235"/>
                    <a:pt x="167" y="235"/>
                  </a:cubicBezTo>
                  <a:cubicBezTo>
                    <a:pt x="167" y="105"/>
                    <a:pt x="167" y="105"/>
                    <a:pt x="167" y="105"/>
                  </a:cubicBezTo>
                  <a:cubicBezTo>
                    <a:pt x="167" y="88"/>
                    <a:pt x="177" y="73"/>
                    <a:pt x="192" y="66"/>
                  </a:cubicBezTo>
                  <a:cubicBezTo>
                    <a:pt x="339" y="3"/>
                    <a:pt x="339" y="3"/>
                    <a:pt x="339" y="3"/>
                  </a:cubicBezTo>
                  <a:cubicBezTo>
                    <a:pt x="344" y="1"/>
                    <a:pt x="349" y="0"/>
                    <a:pt x="355" y="0"/>
                  </a:cubicBezTo>
                  <a:cubicBezTo>
                    <a:pt x="361" y="0"/>
                    <a:pt x="366" y="1"/>
                    <a:pt x="371" y="3"/>
                  </a:cubicBezTo>
                  <a:cubicBezTo>
                    <a:pt x="518" y="66"/>
                    <a:pt x="518" y="66"/>
                    <a:pt x="518" y="66"/>
                  </a:cubicBezTo>
                  <a:cubicBezTo>
                    <a:pt x="533" y="73"/>
                    <a:pt x="543" y="88"/>
                    <a:pt x="543" y="105"/>
                  </a:cubicBezTo>
                  <a:cubicBezTo>
                    <a:pt x="543" y="235"/>
                    <a:pt x="543" y="235"/>
                    <a:pt x="543" y="235"/>
                  </a:cubicBezTo>
                  <a:cubicBezTo>
                    <a:pt x="685" y="296"/>
                    <a:pt x="685" y="296"/>
                    <a:pt x="685" y="296"/>
                  </a:cubicBezTo>
                  <a:cubicBezTo>
                    <a:pt x="701" y="303"/>
                    <a:pt x="711" y="318"/>
                    <a:pt x="711" y="335"/>
                  </a:cubicBezTo>
                  <a:lnTo>
                    <a:pt x="711" y="471"/>
                  </a:lnTo>
                  <a:close/>
                  <a:moveTo>
                    <a:pt x="320" y="328"/>
                  </a:moveTo>
                  <a:cubicBezTo>
                    <a:pt x="188" y="272"/>
                    <a:pt x="188" y="272"/>
                    <a:pt x="188" y="272"/>
                  </a:cubicBezTo>
                  <a:cubicBezTo>
                    <a:pt x="56" y="328"/>
                    <a:pt x="56" y="328"/>
                    <a:pt x="56" y="328"/>
                  </a:cubicBezTo>
                  <a:cubicBezTo>
                    <a:pt x="188" y="385"/>
                    <a:pt x="188" y="385"/>
                    <a:pt x="188" y="385"/>
                  </a:cubicBezTo>
                  <a:lnTo>
                    <a:pt x="320" y="328"/>
                  </a:lnTo>
                  <a:close/>
                  <a:moveTo>
                    <a:pt x="334" y="471"/>
                  </a:moveTo>
                  <a:cubicBezTo>
                    <a:pt x="334" y="368"/>
                    <a:pt x="334" y="368"/>
                    <a:pt x="334" y="368"/>
                  </a:cubicBezTo>
                  <a:cubicBezTo>
                    <a:pt x="209" y="422"/>
                    <a:pt x="209" y="422"/>
                    <a:pt x="209" y="422"/>
                  </a:cubicBezTo>
                  <a:cubicBezTo>
                    <a:pt x="209" y="533"/>
                    <a:pt x="209" y="533"/>
                    <a:pt x="209" y="533"/>
                  </a:cubicBezTo>
                  <a:lnTo>
                    <a:pt x="334" y="471"/>
                  </a:lnTo>
                  <a:close/>
                  <a:moveTo>
                    <a:pt x="499" y="104"/>
                  </a:moveTo>
                  <a:cubicBezTo>
                    <a:pt x="355" y="42"/>
                    <a:pt x="355" y="42"/>
                    <a:pt x="355" y="42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355" y="165"/>
                    <a:pt x="355" y="165"/>
                    <a:pt x="355" y="165"/>
                  </a:cubicBezTo>
                  <a:lnTo>
                    <a:pt x="499" y="104"/>
                  </a:lnTo>
                  <a:close/>
                  <a:moveTo>
                    <a:pt x="501" y="235"/>
                  </a:moveTo>
                  <a:cubicBezTo>
                    <a:pt x="501" y="148"/>
                    <a:pt x="501" y="148"/>
                    <a:pt x="501" y="148"/>
                  </a:cubicBezTo>
                  <a:cubicBezTo>
                    <a:pt x="376" y="202"/>
                    <a:pt x="376" y="202"/>
                    <a:pt x="376" y="202"/>
                  </a:cubicBezTo>
                  <a:cubicBezTo>
                    <a:pt x="376" y="289"/>
                    <a:pt x="376" y="289"/>
                    <a:pt x="376" y="289"/>
                  </a:cubicBezTo>
                  <a:lnTo>
                    <a:pt x="501" y="235"/>
                  </a:lnTo>
                  <a:close/>
                  <a:moveTo>
                    <a:pt x="654" y="328"/>
                  </a:moveTo>
                  <a:cubicBezTo>
                    <a:pt x="522" y="272"/>
                    <a:pt x="522" y="272"/>
                    <a:pt x="522" y="272"/>
                  </a:cubicBezTo>
                  <a:cubicBezTo>
                    <a:pt x="390" y="328"/>
                    <a:pt x="390" y="328"/>
                    <a:pt x="390" y="328"/>
                  </a:cubicBezTo>
                  <a:cubicBezTo>
                    <a:pt x="522" y="385"/>
                    <a:pt x="522" y="385"/>
                    <a:pt x="522" y="385"/>
                  </a:cubicBezTo>
                  <a:lnTo>
                    <a:pt x="654" y="328"/>
                  </a:lnTo>
                  <a:close/>
                  <a:moveTo>
                    <a:pt x="669" y="471"/>
                  </a:moveTo>
                  <a:cubicBezTo>
                    <a:pt x="669" y="368"/>
                    <a:pt x="669" y="368"/>
                    <a:pt x="669" y="368"/>
                  </a:cubicBezTo>
                  <a:cubicBezTo>
                    <a:pt x="543" y="422"/>
                    <a:pt x="543" y="422"/>
                    <a:pt x="543" y="422"/>
                  </a:cubicBezTo>
                  <a:cubicBezTo>
                    <a:pt x="543" y="533"/>
                    <a:pt x="543" y="533"/>
                    <a:pt x="543" y="533"/>
                  </a:cubicBezTo>
                  <a:lnTo>
                    <a:pt x="669" y="4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73148" tIns="36575" rIns="73148" bIns="3657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66" name="Rechteck: abgerundete Ecken 23">
            <a:extLst>
              <a:ext uri="{FF2B5EF4-FFF2-40B4-BE49-F238E27FC236}">
                <a16:creationId xmlns:a16="http://schemas.microsoft.com/office/drawing/2014/main" id="{3C32A778-1EBF-47E2-BE2F-8C51FE73FE05}"/>
              </a:ext>
            </a:extLst>
          </p:cNvPr>
          <p:cNvSpPr/>
          <p:nvPr/>
        </p:nvSpPr>
        <p:spPr>
          <a:xfrm>
            <a:off x="5067386" y="2216728"/>
            <a:ext cx="1751677" cy="1500116"/>
          </a:xfrm>
          <a:prstGeom prst="roundRect">
            <a:avLst>
              <a:gd name="adj" fmla="val 5040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Aft>
                <a:spcPts val="300"/>
              </a:spcAft>
            </a:pPr>
            <a:r>
              <a:rPr lang="de-DE" sz="1200" baseline="-25000">
                <a:solidFill>
                  <a:srgbClr val="213A5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ata </a:t>
            </a:r>
            <a:r>
              <a:rPr lang="de-DE" sz="1200" baseline="-25000" err="1">
                <a:solidFill>
                  <a:srgbClr val="213A5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arts</a:t>
            </a:r>
            <a:endParaRPr lang="de-DE" sz="1200" baseline="-25000">
              <a:solidFill>
                <a:srgbClr val="213A5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de-DE" sz="1200">
                <a:solidFill>
                  <a:srgbClr val="213A5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oziales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D3C532C4-00A1-4D50-8CEC-D752F51835D8}"/>
              </a:ext>
            </a:extLst>
          </p:cNvPr>
          <p:cNvGrpSpPr/>
          <p:nvPr/>
        </p:nvGrpSpPr>
        <p:grpSpPr>
          <a:xfrm>
            <a:off x="5526323" y="2983904"/>
            <a:ext cx="833802" cy="294142"/>
            <a:chOff x="3610884" y="2468487"/>
            <a:chExt cx="863880" cy="304752"/>
          </a:xfrm>
        </p:grpSpPr>
        <p:sp>
          <p:nvSpPr>
            <p:cNvPr id="71" name="Freeform 1194">
              <a:extLst>
                <a:ext uri="{FF2B5EF4-FFF2-40B4-BE49-F238E27FC236}">
                  <a16:creationId xmlns:a16="http://schemas.microsoft.com/office/drawing/2014/main" id="{4D5127C4-EF40-4008-AE45-6A72F74D77C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107751" y="2468487"/>
              <a:ext cx="367013" cy="304752"/>
            </a:xfrm>
            <a:custGeom>
              <a:avLst/>
              <a:gdLst>
                <a:gd name="T0" fmla="*/ 711 w 711"/>
                <a:gd name="T1" fmla="*/ 471 h 586"/>
                <a:gd name="T2" fmla="*/ 687 w 711"/>
                <a:gd name="T3" fmla="*/ 508 h 586"/>
                <a:gd name="T4" fmla="*/ 541 w 711"/>
                <a:gd name="T5" fmla="*/ 581 h 586"/>
                <a:gd name="T6" fmla="*/ 522 w 711"/>
                <a:gd name="T7" fmla="*/ 586 h 586"/>
                <a:gd name="T8" fmla="*/ 504 w 711"/>
                <a:gd name="T9" fmla="*/ 581 h 586"/>
                <a:gd name="T10" fmla="*/ 357 w 711"/>
                <a:gd name="T11" fmla="*/ 508 h 586"/>
                <a:gd name="T12" fmla="*/ 355 w 711"/>
                <a:gd name="T13" fmla="*/ 506 h 586"/>
                <a:gd name="T14" fmla="*/ 353 w 711"/>
                <a:gd name="T15" fmla="*/ 508 h 586"/>
                <a:gd name="T16" fmla="*/ 206 w 711"/>
                <a:gd name="T17" fmla="*/ 581 h 586"/>
                <a:gd name="T18" fmla="*/ 188 w 711"/>
                <a:gd name="T19" fmla="*/ 586 h 586"/>
                <a:gd name="T20" fmla="*/ 169 w 711"/>
                <a:gd name="T21" fmla="*/ 581 h 586"/>
                <a:gd name="T22" fmla="*/ 23 w 711"/>
                <a:gd name="T23" fmla="*/ 508 h 586"/>
                <a:gd name="T24" fmla="*/ 0 w 711"/>
                <a:gd name="T25" fmla="*/ 471 h 586"/>
                <a:gd name="T26" fmla="*/ 0 w 711"/>
                <a:gd name="T27" fmla="*/ 335 h 586"/>
                <a:gd name="T28" fmla="*/ 25 w 711"/>
                <a:gd name="T29" fmla="*/ 296 h 586"/>
                <a:gd name="T30" fmla="*/ 167 w 711"/>
                <a:gd name="T31" fmla="*/ 235 h 586"/>
                <a:gd name="T32" fmla="*/ 167 w 711"/>
                <a:gd name="T33" fmla="*/ 105 h 586"/>
                <a:gd name="T34" fmla="*/ 192 w 711"/>
                <a:gd name="T35" fmla="*/ 66 h 586"/>
                <a:gd name="T36" fmla="*/ 339 w 711"/>
                <a:gd name="T37" fmla="*/ 3 h 586"/>
                <a:gd name="T38" fmla="*/ 355 w 711"/>
                <a:gd name="T39" fmla="*/ 0 h 586"/>
                <a:gd name="T40" fmla="*/ 371 w 711"/>
                <a:gd name="T41" fmla="*/ 3 h 586"/>
                <a:gd name="T42" fmla="*/ 518 w 711"/>
                <a:gd name="T43" fmla="*/ 66 h 586"/>
                <a:gd name="T44" fmla="*/ 543 w 711"/>
                <a:gd name="T45" fmla="*/ 105 h 586"/>
                <a:gd name="T46" fmla="*/ 543 w 711"/>
                <a:gd name="T47" fmla="*/ 235 h 586"/>
                <a:gd name="T48" fmla="*/ 685 w 711"/>
                <a:gd name="T49" fmla="*/ 296 h 586"/>
                <a:gd name="T50" fmla="*/ 711 w 711"/>
                <a:gd name="T51" fmla="*/ 335 h 586"/>
                <a:gd name="T52" fmla="*/ 711 w 711"/>
                <a:gd name="T53" fmla="*/ 471 h 586"/>
                <a:gd name="T54" fmla="*/ 320 w 711"/>
                <a:gd name="T55" fmla="*/ 328 h 586"/>
                <a:gd name="T56" fmla="*/ 188 w 711"/>
                <a:gd name="T57" fmla="*/ 272 h 586"/>
                <a:gd name="T58" fmla="*/ 56 w 711"/>
                <a:gd name="T59" fmla="*/ 328 h 586"/>
                <a:gd name="T60" fmla="*/ 188 w 711"/>
                <a:gd name="T61" fmla="*/ 385 h 586"/>
                <a:gd name="T62" fmla="*/ 320 w 711"/>
                <a:gd name="T63" fmla="*/ 328 h 586"/>
                <a:gd name="T64" fmla="*/ 334 w 711"/>
                <a:gd name="T65" fmla="*/ 471 h 586"/>
                <a:gd name="T66" fmla="*/ 334 w 711"/>
                <a:gd name="T67" fmla="*/ 368 h 586"/>
                <a:gd name="T68" fmla="*/ 209 w 711"/>
                <a:gd name="T69" fmla="*/ 422 h 586"/>
                <a:gd name="T70" fmla="*/ 209 w 711"/>
                <a:gd name="T71" fmla="*/ 533 h 586"/>
                <a:gd name="T72" fmla="*/ 334 w 711"/>
                <a:gd name="T73" fmla="*/ 471 h 586"/>
                <a:gd name="T74" fmla="*/ 499 w 711"/>
                <a:gd name="T75" fmla="*/ 104 h 586"/>
                <a:gd name="T76" fmla="*/ 355 w 711"/>
                <a:gd name="T77" fmla="*/ 42 h 586"/>
                <a:gd name="T78" fmla="*/ 211 w 711"/>
                <a:gd name="T79" fmla="*/ 104 h 586"/>
                <a:gd name="T80" fmla="*/ 355 w 711"/>
                <a:gd name="T81" fmla="*/ 165 h 586"/>
                <a:gd name="T82" fmla="*/ 499 w 711"/>
                <a:gd name="T83" fmla="*/ 104 h 586"/>
                <a:gd name="T84" fmla="*/ 501 w 711"/>
                <a:gd name="T85" fmla="*/ 235 h 586"/>
                <a:gd name="T86" fmla="*/ 501 w 711"/>
                <a:gd name="T87" fmla="*/ 148 h 586"/>
                <a:gd name="T88" fmla="*/ 376 w 711"/>
                <a:gd name="T89" fmla="*/ 202 h 586"/>
                <a:gd name="T90" fmla="*/ 376 w 711"/>
                <a:gd name="T91" fmla="*/ 289 h 586"/>
                <a:gd name="T92" fmla="*/ 501 w 711"/>
                <a:gd name="T93" fmla="*/ 235 h 586"/>
                <a:gd name="T94" fmla="*/ 654 w 711"/>
                <a:gd name="T95" fmla="*/ 328 h 586"/>
                <a:gd name="T96" fmla="*/ 522 w 711"/>
                <a:gd name="T97" fmla="*/ 272 h 586"/>
                <a:gd name="T98" fmla="*/ 390 w 711"/>
                <a:gd name="T99" fmla="*/ 328 h 586"/>
                <a:gd name="T100" fmla="*/ 522 w 711"/>
                <a:gd name="T101" fmla="*/ 385 h 586"/>
                <a:gd name="T102" fmla="*/ 654 w 711"/>
                <a:gd name="T103" fmla="*/ 328 h 586"/>
                <a:gd name="T104" fmla="*/ 669 w 711"/>
                <a:gd name="T105" fmla="*/ 471 h 586"/>
                <a:gd name="T106" fmla="*/ 669 w 711"/>
                <a:gd name="T107" fmla="*/ 368 h 586"/>
                <a:gd name="T108" fmla="*/ 543 w 711"/>
                <a:gd name="T109" fmla="*/ 422 h 586"/>
                <a:gd name="T110" fmla="*/ 543 w 711"/>
                <a:gd name="T111" fmla="*/ 533 h 586"/>
                <a:gd name="T112" fmla="*/ 669 w 711"/>
                <a:gd name="T113" fmla="*/ 471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1" h="586">
                  <a:moveTo>
                    <a:pt x="711" y="471"/>
                  </a:moveTo>
                  <a:cubicBezTo>
                    <a:pt x="711" y="486"/>
                    <a:pt x="702" y="501"/>
                    <a:pt x="687" y="508"/>
                  </a:cubicBezTo>
                  <a:cubicBezTo>
                    <a:pt x="541" y="581"/>
                    <a:pt x="541" y="581"/>
                    <a:pt x="541" y="581"/>
                  </a:cubicBezTo>
                  <a:cubicBezTo>
                    <a:pt x="535" y="584"/>
                    <a:pt x="529" y="586"/>
                    <a:pt x="522" y="586"/>
                  </a:cubicBezTo>
                  <a:cubicBezTo>
                    <a:pt x="516" y="586"/>
                    <a:pt x="510" y="584"/>
                    <a:pt x="504" y="581"/>
                  </a:cubicBezTo>
                  <a:cubicBezTo>
                    <a:pt x="357" y="508"/>
                    <a:pt x="357" y="508"/>
                    <a:pt x="357" y="508"/>
                  </a:cubicBezTo>
                  <a:cubicBezTo>
                    <a:pt x="356" y="507"/>
                    <a:pt x="356" y="507"/>
                    <a:pt x="355" y="506"/>
                  </a:cubicBezTo>
                  <a:cubicBezTo>
                    <a:pt x="354" y="507"/>
                    <a:pt x="354" y="507"/>
                    <a:pt x="353" y="508"/>
                  </a:cubicBezTo>
                  <a:cubicBezTo>
                    <a:pt x="206" y="581"/>
                    <a:pt x="206" y="581"/>
                    <a:pt x="206" y="581"/>
                  </a:cubicBezTo>
                  <a:cubicBezTo>
                    <a:pt x="200" y="584"/>
                    <a:pt x="194" y="586"/>
                    <a:pt x="188" y="586"/>
                  </a:cubicBezTo>
                  <a:cubicBezTo>
                    <a:pt x="181" y="586"/>
                    <a:pt x="175" y="584"/>
                    <a:pt x="169" y="581"/>
                  </a:cubicBezTo>
                  <a:cubicBezTo>
                    <a:pt x="23" y="508"/>
                    <a:pt x="23" y="508"/>
                    <a:pt x="23" y="508"/>
                  </a:cubicBezTo>
                  <a:cubicBezTo>
                    <a:pt x="8" y="501"/>
                    <a:pt x="0" y="486"/>
                    <a:pt x="0" y="471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18"/>
                    <a:pt x="10" y="303"/>
                    <a:pt x="25" y="296"/>
                  </a:cubicBezTo>
                  <a:cubicBezTo>
                    <a:pt x="167" y="235"/>
                    <a:pt x="167" y="235"/>
                    <a:pt x="167" y="235"/>
                  </a:cubicBezTo>
                  <a:cubicBezTo>
                    <a:pt x="167" y="105"/>
                    <a:pt x="167" y="105"/>
                    <a:pt x="167" y="105"/>
                  </a:cubicBezTo>
                  <a:cubicBezTo>
                    <a:pt x="167" y="88"/>
                    <a:pt x="177" y="73"/>
                    <a:pt x="192" y="66"/>
                  </a:cubicBezTo>
                  <a:cubicBezTo>
                    <a:pt x="339" y="3"/>
                    <a:pt x="339" y="3"/>
                    <a:pt x="339" y="3"/>
                  </a:cubicBezTo>
                  <a:cubicBezTo>
                    <a:pt x="344" y="1"/>
                    <a:pt x="349" y="0"/>
                    <a:pt x="355" y="0"/>
                  </a:cubicBezTo>
                  <a:cubicBezTo>
                    <a:pt x="361" y="0"/>
                    <a:pt x="366" y="1"/>
                    <a:pt x="371" y="3"/>
                  </a:cubicBezTo>
                  <a:cubicBezTo>
                    <a:pt x="518" y="66"/>
                    <a:pt x="518" y="66"/>
                    <a:pt x="518" y="66"/>
                  </a:cubicBezTo>
                  <a:cubicBezTo>
                    <a:pt x="533" y="73"/>
                    <a:pt x="543" y="88"/>
                    <a:pt x="543" y="105"/>
                  </a:cubicBezTo>
                  <a:cubicBezTo>
                    <a:pt x="543" y="235"/>
                    <a:pt x="543" y="235"/>
                    <a:pt x="543" y="235"/>
                  </a:cubicBezTo>
                  <a:cubicBezTo>
                    <a:pt x="685" y="296"/>
                    <a:pt x="685" y="296"/>
                    <a:pt x="685" y="296"/>
                  </a:cubicBezTo>
                  <a:cubicBezTo>
                    <a:pt x="701" y="303"/>
                    <a:pt x="711" y="318"/>
                    <a:pt x="711" y="335"/>
                  </a:cubicBezTo>
                  <a:lnTo>
                    <a:pt x="711" y="471"/>
                  </a:lnTo>
                  <a:close/>
                  <a:moveTo>
                    <a:pt x="320" y="328"/>
                  </a:moveTo>
                  <a:cubicBezTo>
                    <a:pt x="188" y="272"/>
                    <a:pt x="188" y="272"/>
                    <a:pt x="188" y="272"/>
                  </a:cubicBezTo>
                  <a:cubicBezTo>
                    <a:pt x="56" y="328"/>
                    <a:pt x="56" y="328"/>
                    <a:pt x="56" y="328"/>
                  </a:cubicBezTo>
                  <a:cubicBezTo>
                    <a:pt x="188" y="385"/>
                    <a:pt x="188" y="385"/>
                    <a:pt x="188" y="385"/>
                  </a:cubicBezTo>
                  <a:lnTo>
                    <a:pt x="320" y="328"/>
                  </a:lnTo>
                  <a:close/>
                  <a:moveTo>
                    <a:pt x="334" y="471"/>
                  </a:moveTo>
                  <a:cubicBezTo>
                    <a:pt x="334" y="368"/>
                    <a:pt x="334" y="368"/>
                    <a:pt x="334" y="368"/>
                  </a:cubicBezTo>
                  <a:cubicBezTo>
                    <a:pt x="209" y="422"/>
                    <a:pt x="209" y="422"/>
                    <a:pt x="209" y="422"/>
                  </a:cubicBezTo>
                  <a:cubicBezTo>
                    <a:pt x="209" y="533"/>
                    <a:pt x="209" y="533"/>
                    <a:pt x="209" y="533"/>
                  </a:cubicBezTo>
                  <a:lnTo>
                    <a:pt x="334" y="471"/>
                  </a:lnTo>
                  <a:close/>
                  <a:moveTo>
                    <a:pt x="499" y="104"/>
                  </a:moveTo>
                  <a:cubicBezTo>
                    <a:pt x="355" y="42"/>
                    <a:pt x="355" y="42"/>
                    <a:pt x="355" y="42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355" y="165"/>
                    <a:pt x="355" y="165"/>
                    <a:pt x="355" y="165"/>
                  </a:cubicBezTo>
                  <a:lnTo>
                    <a:pt x="499" y="104"/>
                  </a:lnTo>
                  <a:close/>
                  <a:moveTo>
                    <a:pt x="501" y="235"/>
                  </a:moveTo>
                  <a:cubicBezTo>
                    <a:pt x="501" y="148"/>
                    <a:pt x="501" y="148"/>
                    <a:pt x="501" y="148"/>
                  </a:cubicBezTo>
                  <a:cubicBezTo>
                    <a:pt x="376" y="202"/>
                    <a:pt x="376" y="202"/>
                    <a:pt x="376" y="202"/>
                  </a:cubicBezTo>
                  <a:cubicBezTo>
                    <a:pt x="376" y="289"/>
                    <a:pt x="376" y="289"/>
                    <a:pt x="376" y="289"/>
                  </a:cubicBezTo>
                  <a:lnTo>
                    <a:pt x="501" y="235"/>
                  </a:lnTo>
                  <a:close/>
                  <a:moveTo>
                    <a:pt x="654" y="328"/>
                  </a:moveTo>
                  <a:cubicBezTo>
                    <a:pt x="522" y="272"/>
                    <a:pt x="522" y="272"/>
                    <a:pt x="522" y="272"/>
                  </a:cubicBezTo>
                  <a:cubicBezTo>
                    <a:pt x="390" y="328"/>
                    <a:pt x="390" y="328"/>
                    <a:pt x="390" y="328"/>
                  </a:cubicBezTo>
                  <a:cubicBezTo>
                    <a:pt x="522" y="385"/>
                    <a:pt x="522" y="385"/>
                    <a:pt x="522" y="385"/>
                  </a:cubicBezTo>
                  <a:lnTo>
                    <a:pt x="654" y="328"/>
                  </a:lnTo>
                  <a:close/>
                  <a:moveTo>
                    <a:pt x="669" y="471"/>
                  </a:moveTo>
                  <a:cubicBezTo>
                    <a:pt x="669" y="368"/>
                    <a:pt x="669" y="368"/>
                    <a:pt x="669" y="368"/>
                  </a:cubicBezTo>
                  <a:cubicBezTo>
                    <a:pt x="543" y="422"/>
                    <a:pt x="543" y="422"/>
                    <a:pt x="543" y="422"/>
                  </a:cubicBezTo>
                  <a:cubicBezTo>
                    <a:pt x="543" y="533"/>
                    <a:pt x="543" y="533"/>
                    <a:pt x="543" y="533"/>
                  </a:cubicBezTo>
                  <a:lnTo>
                    <a:pt x="669" y="4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73148" tIns="36575" rIns="73148" bIns="3657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3" name="Freeform 1194">
              <a:extLst>
                <a:ext uri="{FF2B5EF4-FFF2-40B4-BE49-F238E27FC236}">
                  <a16:creationId xmlns:a16="http://schemas.microsoft.com/office/drawing/2014/main" id="{C9E41421-16FC-47A3-ABF4-624C2D8F4A6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610884" y="2468487"/>
              <a:ext cx="367013" cy="304752"/>
            </a:xfrm>
            <a:custGeom>
              <a:avLst/>
              <a:gdLst>
                <a:gd name="T0" fmla="*/ 711 w 711"/>
                <a:gd name="T1" fmla="*/ 471 h 586"/>
                <a:gd name="T2" fmla="*/ 687 w 711"/>
                <a:gd name="T3" fmla="*/ 508 h 586"/>
                <a:gd name="T4" fmla="*/ 541 w 711"/>
                <a:gd name="T5" fmla="*/ 581 h 586"/>
                <a:gd name="T6" fmla="*/ 522 w 711"/>
                <a:gd name="T7" fmla="*/ 586 h 586"/>
                <a:gd name="T8" fmla="*/ 504 w 711"/>
                <a:gd name="T9" fmla="*/ 581 h 586"/>
                <a:gd name="T10" fmla="*/ 357 w 711"/>
                <a:gd name="T11" fmla="*/ 508 h 586"/>
                <a:gd name="T12" fmla="*/ 355 w 711"/>
                <a:gd name="T13" fmla="*/ 506 h 586"/>
                <a:gd name="T14" fmla="*/ 353 w 711"/>
                <a:gd name="T15" fmla="*/ 508 h 586"/>
                <a:gd name="T16" fmla="*/ 206 w 711"/>
                <a:gd name="T17" fmla="*/ 581 h 586"/>
                <a:gd name="T18" fmla="*/ 188 w 711"/>
                <a:gd name="T19" fmla="*/ 586 h 586"/>
                <a:gd name="T20" fmla="*/ 169 w 711"/>
                <a:gd name="T21" fmla="*/ 581 h 586"/>
                <a:gd name="T22" fmla="*/ 23 w 711"/>
                <a:gd name="T23" fmla="*/ 508 h 586"/>
                <a:gd name="T24" fmla="*/ 0 w 711"/>
                <a:gd name="T25" fmla="*/ 471 h 586"/>
                <a:gd name="T26" fmla="*/ 0 w 711"/>
                <a:gd name="T27" fmla="*/ 335 h 586"/>
                <a:gd name="T28" fmla="*/ 25 w 711"/>
                <a:gd name="T29" fmla="*/ 296 h 586"/>
                <a:gd name="T30" fmla="*/ 167 w 711"/>
                <a:gd name="T31" fmla="*/ 235 h 586"/>
                <a:gd name="T32" fmla="*/ 167 w 711"/>
                <a:gd name="T33" fmla="*/ 105 h 586"/>
                <a:gd name="T34" fmla="*/ 192 w 711"/>
                <a:gd name="T35" fmla="*/ 66 h 586"/>
                <a:gd name="T36" fmla="*/ 339 w 711"/>
                <a:gd name="T37" fmla="*/ 3 h 586"/>
                <a:gd name="T38" fmla="*/ 355 w 711"/>
                <a:gd name="T39" fmla="*/ 0 h 586"/>
                <a:gd name="T40" fmla="*/ 371 w 711"/>
                <a:gd name="T41" fmla="*/ 3 h 586"/>
                <a:gd name="T42" fmla="*/ 518 w 711"/>
                <a:gd name="T43" fmla="*/ 66 h 586"/>
                <a:gd name="T44" fmla="*/ 543 w 711"/>
                <a:gd name="T45" fmla="*/ 105 h 586"/>
                <a:gd name="T46" fmla="*/ 543 w 711"/>
                <a:gd name="T47" fmla="*/ 235 h 586"/>
                <a:gd name="T48" fmla="*/ 685 w 711"/>
                <a:gd name="T49" fmla="*/ 296 h 586"/>
                <a:gd name="T50" fmla="*/ 711 w 711"/>
                <a:gd name="T51" fmla="*/ 335 h 586"/>
                <a:gd name="T52" fmla="*/ 711 w 711"/>
                <a:gd name="T53" fmla="*/ 471 h 586"/>
                <a:gd name="T54" fmla="*/ 320 w 711"/>
                <a:gd name="T55" fmla="*/ 328 h 586"/>
                <a:gd name="T56" fmla="*/ 188 w 711"/>
                <a:gd name="T57" fmla="*/ 272 h 586"/>
                <a:gd name="T58" fmla="*/ 56 w 711"/>
                <a:gd name="T59" fmla="*/ 328 h 586"/>
                <a:gd name="T60" fmla="*/ 188 w 711"/>
                <a:gd name="T61" fmla="*/ 385 h 586"/>
                <a:gd name="T62" fmla="*/ 320 w 711"/>
                <a:gd name="T63" fmla="*/ 328 h 586"/>
                <a:gd name="T64" fmla="*/ 334 w 711"/>
                <a:gd name="T65" fmla="*/ 471 h 586"/>
                <a:gd name="T66" fmla="*/ 334 w 711"/>
                <a:gd name="T67" fmla="*/ 368 h 586"/>
                <a:gd name="T68" fmla="*/ 209 w 711"/>
                <a:gd name="T69" fmla="*/ 422 h 586"/>
                <a:gd name="T70" fmla="*/ 209 w 711"/>
                <a:gd name="T71" fmla="*/ 533 h 586"/>
                <a:gd name="T72" fmla="*/ 334 w 711"/>
                <a:gd name="T73" fmla="*/ 471 h 586"/>
                <a:gd name="T74" fmla="*/ 499 w 711"/>
                <a:gd name="T75" fmla="*/ 104 h 586"/>
                <a:gd name="T76" fmla="*/ 355 w 711"/>
                <a:gd name="T77" fmla="*/ 42 h 586"/>
                <a:gd name="T78" fmla="*/ 211 w 711"/>
                <a:gd name="T79" fmla="*/ 104 h 586"/>
                <a:gd name="T80" fmla="*/ 355 w 711"/>
                <a:gd name="T81" fmla="*/ 165 h 586"/>
                <a:gd name="T82" fmla="*/ 499 w 711"/>
                <a:gd name="T83" fmla="*/ 104 h 586"/>
                <a:gd name="T84" fmla="*/ 501 w 711"/>
                <a:gd name="T85" fmla="*/ 235 h 586"/>
                <a:gd name="T86" fmla="*/ 501 w 711"/>
                <a:gd name="T87" fmla="*/ 148 h 586"/>
                <a:gd name="T88" fmla="*/ 376 w 711"/>
                <a:gd name="T89" fmla="*/ 202 h 586"/>
                <a:gd name="T90" fmla="*/ 376 w 711"/>
                <a:gd name="T91" fmla="*/ 289 h 586"/>
                <a:gd name="T92" fmla="*/ 501 w 711"/>
                <a:gd name="T93" fmla="*/ 235 h 586"/>
                <a:gd name="T94" fmla="*/ 654 w 711"/>
                <a:gd name="T95" fmla="*/ 328 h 586"/>
                <a:gd name="T96" fmla="*/ 522 w 711"/>
                <a:gd name="T97" fmla="*/ 272 h 586"/>
                <a:gd name="T98" fmla="*/ 390 w 711"/>
                <a:gd name="T99" fmla="*/ 328 h 586"/>
                <a:gd name="T100" fmla="*/ 522 w 711"/>
                <a:gd name="T101" fmla="*/ 385 h 586"/>
                <a:gd name="T102" fmla="*/ 654 w 711"/>
                <a:gd name="T103" fmla="*/ 328 h 586"/>
                <a:gd name="T104" fmla="*/ 669 w 711"/>
                <a:gd name="T105" fmla="*/ 471 h 586"/>
                <a:gd name="T106" fmla="*/ 669 w 711"/>
                <a:gd name="T107" fmla="*/ 368 h 586"/>
                <a:gd name="T108" fmla="*/ 543 w 711"/>
                <a:gd name="T109" fmla="*/ 422 h 586"/>
                <a:gd name="T110" fmla="*/ 543 w 711"/>
                <a:gd name="T111" fmla="*/ 533 h 586"/>
                <a:gd name="T112" fmla="*/ 669 w 711"/>
                <a:gd name="T113" fmla="*/ 471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1" h="586">
                  <a:moveTo>
                    <a:pt x="711" y="471"/>
                  </a:moveTo>
                  <a:cubicBezTo>
                    <a:pt x="711" y="486"/>
                    <a:pt x="702" y="501"/>
                    <a:pt x="687" y="508"/>
                  </a:cubicBezTo>
                  <a:cubicBezTo>
                    <a:pt x="541" y="581"/>
                    <a:pt x="541" y="581"/>
                    <a:pt x="541" y="581"/>
                  </a:cubicBezTo>
                  <a:cubicBezTo>
                    <a:pt x="535" y="584"/>
                    <a:pt x="529" y="586"/>
                    <a:pt x="522" y="586"/>
                  </a:cubicBezTo>
                  <a:cubicBezTo>
                    <a:pt x="516" y="586"/>
                    <a:pt x="510" y="584"/>
                    <a:pt x="504" y="581"/>
                  </a:cubicBezTo>
                  <a:cubicBezTo>
                    <a:pt x="357" y="508"/>
                    <a:pt x="357" y="508"/>
                    <a:pt x="357" y="508"/>
                  </a:cubicBezTo>
                  <a:cubicBezTo>
                    <a:pt x="356" y="507"/>
                    <a:pt x="356" y="507"/>
                    <a:pt x="355" y="506"/>
                  </a:cubicBezTo>
                  <a:cubicBezTo>
                    <a:pt x="354" y="507"/>
                    <a:pt x="354" y="507"/>
                    <a:pt x="353" y="508"/>
                  </a:cubicBezTo>
                  <a:cubicBezTo>
                    <a:pt x="206" y="581"/>
                    <a:pt x="206" y="581"/>
                    <a:pt x="206" y="581"/>
                  </a:cubicBezTo>
                  <a:cubicBezTo>
                    <a:pt x="200" y="584"/>
                    <a:pt x="194" y="586"/>
                    <a:pt x="188" y="586"/>
                  </a:cubicBezTo>
                  <a:cubicBezTo>
                    <a:pt x="181" y="586"/>
                    <a:pt x="175" y="584"/>
                    <a:pt x="169" y="581"/>
                  </a:cubicBezTo>
                  <a:cubicBezTo>
                    <a:pt x="23" y="508"/>
                    <a:pt x="23" y="508"/>
                    <a:pt x="23" y="508"/>
                  </a:cubicBezTo>
                  <a:cubicBezTo>
                    <a:pt x="8" y="501"/>
                    <a:pt x="0" y="486"/>
                    <a:pt x="0" y="471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18"/>
                    <a:pt x="10" y="303"/>
                    <a:pt x="25" y="296"/>
                  </a:cubicBezTo>
                  <a:cubicBezTo>
                    <a:pt x="167" y="235"/>
                    <a:pt x="167" y="235"/>
                    <a:pt x="167" y="235"/>
                  </a:cubicBezTo>
                  <a:cubicBezTo>
                    <a:pt x="167" y="105"/>
                    <a:pt x="167" y="105"/>
                    <a:pt x="167" y="105"/>
                  </a:cubicBezTo>
                  <a:cubicBezTo>
                    <a:pt x="167" y="88"/>
                    <a:pt x="177" y="73"/>
                    <a:pt x="192" y="66"/>
                  </a:cubicBezTo>
                  <a:cubicBezTo>
                    <a:pt x="339" y="3"/>
                    <a:pt x="339" y="3"/>
                    <a:pt x="339" y="3"/>
                  </a:cubicBezTo>
                  <a:cubicBezTo>
                    <a:pt x="344" y="1"/>
                    <a:pt x="349" y="0"/>
                    <a:pt x="355" y="0"/>
                  </a:cubicBezTo>
                  <a:cubicBezTo>
                    <a:pt x="361" y="0"/>
                    <a:pt x="366" y="1"/>
                    <a:pt x="371" y="3"/>
                  </a:cubicBezTo>
                  <a:cubicBezTo>
                    <a:pt x="518" y="66"/>
                    <a:pt x="518" y="66"/>
                    <a:pt x="518" y="66"/>
                  </a:cubicBezTo>
                  <a:cubicBezTo>
                    <a:pt x="533" y="73"/>
                    <a:pt x="543" y="88"/>
                    <a:pt x="543" y="105"/>
                  </a:cubicBezTo>
                  <a:cubicBezTo>
                    <a:pt x="543" y="235"/>
                    <a:pt x="543" y="235"/>
                    <a:pt x="543" y="235"/>
                  </a:cubicBezTo>
                  <a:cubicBezTo>
                    <a:pt x="685" y="296"/>
                    <a:pt x="685" y="296"/>
                    <a:pt x="685" y="296"/>
                  </a:cubicBezTo>
                  <a:cubicBezTo>
                    <a:pt x="701" y="303"/>
                    <a:pt x="711" y="318"/>
                    <a:pt x="711" y="335"/>
                  </a:cubicBezTo>
                  <a:lnTo>
                    <a:pt x="711" y="471"/>
                  </a:lnTo>
                  <a:close/>
                  <a:moveTo>
                    <a:pt x="320" y="328"/>
                  </a:moveTo>
                  <a:cubicBezTo>
                    <a:pt x="188" y="272"/>
                    <a:pt x="188" y="272"/>
                    <a:pt x="188" y="272"/>
                  </a:cubicBezTo>
                  <a:cubicBezTo>
                    <a:pt x="56" y="328"/>
                    <a:pt x="56" y="328"/>
                    <a:pt x="56" y="328"/>
                  </a:cubicBezTo>
                  <a:cubicBezTo>
                    <a:pt x="188" y="385"/>
                    <a:pt x="188" y="385"/>
                    <a:pt x="188" y="385"/>
                  </a:cubicBezTo>
                  <a:lnTo>
                    <a:pt x="320" y="328"/>
                  </a:lnTo>
                  <a:close/>
                  <a:moveTo>
                    <a:pt x="334" y="471"/>
                  </a:moveTo>
                  <a:cubicBezTo>
                    <a:pt x="334" y="368"/>
                    <a:pt x="334" y="368"/>
                    <a:pt x="334" y="368"/>
                  </a:cubicBezTo>
                  <a:cubicBezTo>
                    <a:pt x="209" y="422"/>
                    <a:pt x="209" y="422"/>
                    <a:pt x="209" y="422"/>
                  </a:cubicBezTo>
                  <a:cubicBezTo>
                    <a:pt x="209" y="533"/>
                    <a:pt x="209" y="533"/>
                    <a:pt x="209" y="533"/>
                  </a:cubicBezTo>
                  <a:lnTo>
                    <a:pt x="334" y="471"/>
                  </a:lnTo>
                  <a:close/>
                  <a:moveTo>
                    <a:pt x="499" y="104"/>
                  </a:moveTo>
                  <a:cubicBezTo>
                    <a:pt x="355" y="42"/>
                    <a:pt x="355" y="42"/>
                    <a:pt x="355" y="42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355" y="165"/>
                    <a:pt x="355" y="165"/>
                    <a:pt x="355" y="165"/>
                  </a:cubicBezTo>
                  <a:lnTo>
                    <a:pt x="499" y="104"/>
                  </a:lnTo>
                  <a:close/>
                  <a:moveTo>
                    <a:pt x="501" y="235"/>
                  </a:moveTo>
                  <a:cubicBezTo>
                    <a:pt x="501" y="148"/>
                    <a:pt x="501" y="148"/>
                    <a:pt x="501" y="148"/>
                  </a:cubicBezTo>
                  <a:cubicBezTo>
                    <a:pt x="376" y="202"/>
                    <a:pt x="376" y="202"/>
                    <a:pt x="376" y="202"/>
                  </a:cubicBezTo>
                  <a:cubicBezTo>
                    <a:pt x="376" y="289"/>
                    <a:pt x="376" y="289"/>
                    <a:pt x="376" y="289"/>
                  </a:cubicBezTo>
                  <a:lnTo>
                    <a:pt x="501" y="235"/>
                  </a:lnTo>
                  <a:close/>
                  <a:moveTo>
                    <a:pt x="654" y="328"/>
                  </a:moveTo>
                  <a:cubicBezTo>
                    <a:pt x="522" y="272"/>
                    <a:pt x="522" y="272"/>
                    <a:pt x="522" y="272"/>
                  </a:cubicBezTo>
                  <a:cubicBezTo>
                    <a:pt x="390" y="328"/>
                    <a:pt x="390" y="328"/>
                    <a:pt x="390" y="328"/>
                  </a:cubicBezTo>
                  <a:cubicBezTo>
                    <a:pt x="522" y="385"/>
                    <a:pt x="522" y="385"/>
                    <a:pt x="522" y="385"/>
                  </a:cubicBezTo>
                  <a:lnTo>
                    <a:pt x="654" y="328"/>
                  </a:lnTo>
                  <a:close/>
                  <a:moveTo>
                    <a:pt x="669" y="471"/>
                  </a:moveTo>
                  <a:cubicBezTo>
                    <a:pt x="669" y="368"/>
                    <a:pt x="669" y="368"/>
                    <a:pt x="669" y="368"/>
                  </a:cubicBezTo>
                  <a:cubicBezTo>
                    <a:pt x="543" y="422"/>
                    <a:pt x="543" y="422"/>
                    <a:pt x="543" y="422"/>
                  </a:cubicBezTo>
                  <a:cubicBezTo>
                    <a:pt x="543" y="533"/>
                    <a:pt x="543" y="533"/>
                    <a:pt x="543" y="533"/>
                  </a:cubicBezTo>
                  <a:lnTo>
                    <a:pt x="669" y="4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73148" tIns="36575" rIns="73148" bIns="3657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76" name="Rechteck: abgerundete Ecken 23">
            <a:extLst>
              <a:ext uri="{FF2B5EF4-FFF2-40B4-BE49-F238E27FC236}">
                <a16:creationId xmlns:a16="http://schemas.microsoft.com/office/drawing/2014/main" id="{45679197-73FF-48B3-8985-02F7AE77D6B4}"/>
              </a:ext>
            </a:extLst>
          </p:cNvPr>
          <p:cNvSpPr/>
          <p:nvPr/>
        </p:nvSpPr>
        <p:spPr>
          <a:xfrm>
            <a:off x="6986052" y="2216728"/>
            <a:ext cx="1751677" cy="1500116"/>
          </a:xfrm>
          <a:prstGeom prst="roundRect">
            <a:avLst>
              <a:gd name="adj" fmla="val 5040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Aft>
                <a:spcPts val="300"/>
              </a:spcAft>
            </a:pPr>
            <a:r>
              <a:rPr lang="de-DE" sz="1200" baseline="-25000">
                <a:solidFill>
                  <a:srgbClr val="213A5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ata </a:t>
            </a:r>
            <a:r>
              <a:rPr lang="de-DE" sz="1200" baseline="-25000" err="1">
                <a:solidFill>
                  <a:srgbClr val="213A5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arts</a:t>
            </a:r>
            <a:endParaRPr lang="de-DE" sz="1200" baseline="-25000">
              <a:solidFill>
                <a:srgbClr val="213A5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de-DE" sz="1200" err="1">
                <a:solidFill>
                  <a:srgbClr val="213A5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Governance</a:t>
            </a:r>
            <a:endParaRPr lang="de-DE" sz="1200">
              <a:solidFill>
                <a:srgbClr val="213A5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1" name="Freeform 1194">
            <a:extLst>
              <a:ext uri="{FF2B5EF4-FFF2-40B4-BE49-F238E27FC236}">
                <a16:creationId xmlns:a16="http://schemas.microsoft.com/office/drawing/2014/main" id="{BCEE2E7E-97F9-4A99-830E-016861A660E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84774" y="2983904"/>
            <a:ext cx="354236" cy="294142"/>
          </a:xfrm>
          <a:custGeom>
            <a:avLst/>
            <a:gdLst>
              <a:gd name="T0" fmla="*/ 711 w 711"/>
              <a:gd name="T1" fmla="*/ 471 h 586"/>
              <a:gd name="T2" fmla="*/ 687 w 711"/>
              <a:gd name="T3" fmla="*/ 508 h 586"/>
              <a:gd name="T4" fmla="*/ 541 w 711"/>
              <a:gd name="T5" fmla="*/ 581 h 586"/>
              <a:gd name="T6" fmla="*/ 522 w 711"/>
              <a:gd name="T7" fmla="*/ 586 h 586"/>
              <a:gd name="T8" fmla="*/ 504 w 711"/>
              <a:gd name="T9" fmla="*/ 581 h 586"/>
              <a:gd name="T10" fmla="*/ 357 w 711"/>
              <a:gd name="T11" fmla="*/ 508 h 586"/>
              <a:gd name="T12" fmla="*/ 355 w 711"/>
              <a:gd name="T13" fmla="*/ 506 h 586"/>
              <a:gd name="T14" fmla="*/ 353 w 711"/>
              <a:gd name="T15" fmla="*/ 508 h 586"/>
              <a:gd name="T16" fmla="*/ 206 w 711"/>
              <a:gd name="T17" fmla="*/ 581 h 586"/>
              <a:gd name="T18" fmla="*/ 188 w 711"/>
              <a:gd name="T19" fmla="*/ 586 h 586"/>
              <a:gd name="T20" fmla="*/ 169 w 711"/>
              <a:gd name="T21" fmla="*/ 581 h 586"/>
              <a:gd name="T22" fmla="*/ 23 w 711"/>
              <a:gd name="T23" fmla="*/ 508 h 586"/>
              <a:gd name="T24" fmla="*/ 0 w 711"/>
              <a:gd name="T25" fmla="*/ 471 h 586"/>
              <a:gd name="T26" fmla="*/ 0 w 711"/>
              <a:gd name="T27" fmla="*/ 335 h 586"/>
              <a:gd name="T28" fmla="*/ 25 w 711"/>
              <a:gd name="T29" fmla="*/ 296 h 586"/>
              <a:gd name="T30" fmla="*/ 167 w 711"/>
              <a:gd name="T31" fmla="*/ 235 h 586"/>
              <a:gd name="T32" fmla="*/ 167 w 711"/>
              <a:gd name="T33" fmla="*/ 105 h 586"/>
              <a:gd name="T34" fmla="*/ 192 w 711"/>
              <a:gd name="T35" fmla="*/ 66 h 586"/>
              <a:gd name="T36" fmla="*/ 339 w 711"/>
              <a:gd name="T37" fmla="*/ 3 h 586"/>
              <a:gd name="T38" fmla="*/ 355 w 711"/>
              <a:gd name="T39" fmla="*/ 0 h 586"/>
              <a:gd name="T40" fmla="*/ 371 w 711"/>
              <a:gd name="T41" fmla="*/ 3 h 586"/>
              <a:gd name="T42" fmla="*/ 518 w 711"/>
              <a:gd name="T43" fmla="*/ 66 h 586"/>
              <a:gd name="T44" fmla="*/ 543 w 711"/>
              <a:gd name="T45" fmla="*/ 105 h 586"/>
              <a:gd name="T46" fmla="*/ 543 w 711"/>
              <a:gd name="T47" fmla="*/ 235 h 586"/>
              <a:gd name="T48" fmla="*/ 685 w 711"/>
              <a:gd name="T49" fmla="*/ 296 h 586"/>
              <a:gd name="T50" fmla="*/ 711 w 711"/>
              <a:gd name="T51" fmla="*/ 335 h 586"/>
              <a:gd name="T52" fmla="*/ 711 w 711"/>
              <a:gd name="T53" fmla="*/ 471 h 586"/>
              <a:gd name="T54" fmla="*/ 320 w 711"/>
              <a:gd name="T55" fmla="*/ 328 h 586"/>
              <a:gd name="T56" fmla="*/ 188 w 711"/>
              <a:gd name="T57" fmla="*/ 272 h 586"/>
              <a:gd name="T58" fmla="*/ 56 w 711"/>
              <a:gd name="T59" fmla="*/ 328 h 586"/>
              <a:gd name="T60" fmla="*/ 188 w 711"/>
              <a:gd name="T61" fmla="*/ 385 h 586"/>
              <a:gd name="T62" fmla="*/ 320 w 711"/>
              <a:gd name="T63" fmla="*/ 328 h 586"/>
              <a:gd name="T64" fmla="*/ 334 w 711"/>
              <a:gd name="T65" fmla="*/ 471 h 586"/>
              <a:gd name="T66" fmla="*/ 334 w 711"/>
              <a:gd name="T67" fmla="*/ 368 h 586"/>
              <a:gd name="T68" fmla="*/ 209 w 711"/>
              <a:gd name="T69" fmla="*/ 422 h 586"/>
              <a:gd name="T70" fmla="*/ 209 w 711"/>
              <a:gd name="T71" fmla="*/ 533 h 586"/>
              <a:gd name="T72" fmla="*/ 334 w 711"/>
              <a:gd name="T73" fmla="*/ 471 h 586"/>
              <a:gd name="T74" fmla="*/ 499 w 711"/>
              <a:gd name="T75" fmla="*/ 104 h 586"/>
              <a:gd name="T76" fmla="*/ 355 w 711"/>
              <a:gd name="T77" fmla="*/ 42 h 586"/>
              <a:gd name="T78" fmla="*/ 211 w 711"/>
              <a:gd name="T79" fmla="*/ 104 h 586"/>
              <a:gd name="T80" fmla="*/ 355 w 711"/>
              <a:gd name="T81" fmla="*/ 165 h 586"/>
              <a:gd name="T82" fmla="*/ 499 w 711"/>
              <a:gd name="T83" fmla="*/ 104 h 586"/>
              <a:gd name="T84" fmla="*/ 501 w 711"/>
              <a:gd name="T85" fmla="*/ 235 h 586"/>
              <a:gd name="T86" fmla="*/ 501 w 711"/>
              <a:gd name="T87" fmla="*/ 148 h 586"/>
              <a:gd name="T88" fmla="*/ 376 w 711"/>
              <a:gd name="T89" fmla="*/ 202 h 586"/>
              <a:gd name="T90" fmla="*/ 376 w 711"/>
              <a:gd name="T91" fmla="*/ 289 h 586"/>
              <a:gd name="T92" fmla="*/ 501 w 711"/>
              <a:gd name="T93" fmla="*/ 235 h 586"/>
              <a:gd name="T94" fmla="*/ 654 w 711"/>
              <a:gd name="T95" fmla="*/ 328 h 586"/>
              <a:gd name="T96" fmla="*/ 522 w 711"/>
              <a:gd name="T97" fmla="*/ 272 h 586"/>
              <a:gd name="T98" fmla="*/ 390 w 711"/>
              <a:gd name="T99" fmla="*/ 328 h 586"/>
              <a:gd name="T100" fmla="*/ 522 w 711"/>
              <a:gd name="T101" fmla="*/ 385 h 586"/>
              <a:gd name="T102" fmla="*/ 654 w 711"/>
              <a:gd name="T103" fmla="*/ 328 h 586"/>
              <a:gd name="T104" fmla="*/ 669 w 711"/>
              <a:gd name="T105" fmla="*/ 471 h 586"/>
              <a:gd name="T106" fmla="*/ 669 w 711"/>
              <a:gd name="T107" fmla="*/ 368 h 586"/>
              <a:gd name="T108" fmla="*/ 543 w 711"/>
              <a:gd name="T109" fmla="*/ 422 h 586"/>
              <a:gd name="T110" fmla="*/ 543 w 711"/>
              <a:gd name="T111" fmla="*/ 533 h 586"/>
              <a:gd name="T112" fmla="*/ 669 w 711"/>
              <a:gd name="T113" fmla="*/ 471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11" h="586">
                <a:moveTo>
                  <a:pt x="711" y="471"/>
                </a:moveTo>
                <a:cubicBezTo>
                  <a:pt x="711" y="486"/>
                  <a:pt x="702" y="501"/>
                  <a:pt x="687" y="508"/>
                </a:cubicBezTo>
                <a:cubicBezTo>
                  <a:pt x="541" y="581"/>
                  <a:pt x="541" y="581"/>
                  <a:pt x="541" y="581"/>
                </a:cubicBezTo>
                <a:cubicBezTo>
                  <a:pt x="535" y="584"/>
                  <a:pt x="529" y="586"/>
                  <a:pt x="522" y="586"/>
                </a:cubicBezTo>
                <a:cubicBezTo>
                  <a:pt x="516" y="586"/>
                  <a:pt x="510" y="584"/>
                  <a:pt x="504" y="581"/>
                </a:cubicBezTo>
                <a:cubicBezTo>
                  <a:pt x="357" y="508"/>
                  <a:pt x="357" y="508"/>
                  <a:pt x="357" y="508"/>
                </a:cubicBezTo>
                <a:cubicBezTo>
                  <a:pt x="356" y="507"/>
                  <a:pt x="356" y="507"/>
                  <a:pt x="355" y="506"/>
                </a:cubicBezTo>
                <a:cubicBezTo>
                  <a:pt x="354" y="507"/>
                  <a:pt x="354" y="507"/>
                  <a:pt x="353" y="508"/>
                </a:cubicBezTo>
                <a:cubicBezTo>
                  <a:pt x="206" y="581"/>
                  <a:pt x="206" y="581"/>
                  <a:pt x="206" y="581"/>
                </a:cubicBezTo>
                <a:cubicBezTo>
                  <a:pt x="200" y="584"/>
                  <a:pt x="194" y="586"/>
                  <a:pt x="188" y="586"/>
                </a:cubicBezTo>
                <a:cubicBezTo>
                  <a:pt x="181" y="586"/>
                  <a:pt x="175" y="584"/>
                  <a:pt x="169" y="581"/>
                </a:cubicBezTo>
                <a:cubicBezTo>
                  <a:pt x="23" y="508"/>
                  <a:pt x="23" y="508"/>
                  <a:pt x="23" y="508"/>
                </a:cubicBezTo>
                <a:cubicBezTo>
                  <a:pt x="8" y="501"/>
                  <a:pt x="0" y="486"/>
                  <a:pt x="0" y="471"/>
                </a:cubicBezTo>
                <a:cubicBezTo>
                  <a:pt x="0" y="335"/>
                  <a:pt x="0" y="335"/>
                  <a:pt x="0" y="335"/>
                </a:cubicBezTo>
                <a:cubicBezTo>
                  <a:pt x="0" y="318"/>
                  <a:pt x="10" y="303"/>
                  <a:pt x="25" y="296"/>
                </a:cubicBezTo>
                <a:cubicBezTo>
                  <a:pt x="167" y="235"/>
                  <a:pt x="167" y="235"/>
                  <a:pt x="167" y="235"/>
                </a:cubicBezTo>
                <a:cubicBezTo>
                  <a:pt x="167" y="105"/>
                  <a:pt x="167" y="105"/>
                  <a:pt x="167" y="105"/>
                </a:cubicBezTo>
                <a:cubicBezTo>
                  <a:pt x="167" y="88"/>
                  <a:pt x="177" y="73"/>
                  <a:pt x="192" y="66"/>
                </a:cubicBezTo>
                <a:cubicBezTo>
                  <a:pt x="339" y="3"/>
                  <a:pt x="339" y="3"/>
                  <a:pt x="339" y="3"/>
                </a:cubicBezTo>
                <a:cubicBezTo>
                  <a:pt x="344" y="1"/>
                  <a:pt x="349" y="0"/>
                  <a:pt x="355" y="0"/>
                </a:cubicBezTo>
                <a:cubicBezTo>
                  <a:pt x="361" y="0"/>
                  <a:pt x="366" y="1"/>
                  <a:pt x="371" y="3"/>
                </a:cubicBezTo>
                <a:cubicBezTo>
                  <a:pt x="518" y="66"/>
                  <a:pt x="518" y="66"/>
                  <a:pt x="518" y="66"/>
                </a:cubicBezTo>
                <a:cubicBezTo>
                  <a:pt x="533" y="73"/>
                  <a:pt x="543" y="88"/>
                  <a:pt x="543" y="105"/>
                </a:cubicBezTo>
                <a:cubicBezTo>
                  <a:pt x="543" y="235"/>
                  <a:pt x="543" y="235"/>
                  <a:pt x="543" y="235"/>
                </a:cubicBezTo>
                <a:cubicBezTo>
                  <a:pt x="685" y="296"/>
                  <a:pt x="685" y="296"/>
                  <a:pt x="685" y="296"/>
                </a:cubicBezTo>
                <a:cubicBezTo>
                  <a:pt x="701" y="303"/>
                  <a:pt x="711" y="318"/>
                  <a:pt x="711" y="335"/>
                </a:cubicBezTo>
                <a:lnTo>
                  <a:pt x="711" y="471"/>
                </a:lnTo>
                <a:close/>
                <a:moveTo>
                  <a:pt x="320" y="328"/>
                </a:moveTo>
                <a:cubicBezTo>
                  <a:pt x="188" y="272"/>
                  <a:pt x="188" y="272"/>
                  <a:pt x="188" y="272"/>
                </a:cubicBezTo>
                <a:cubicBezTo>
                  <a:pt x="56" y="328"/>
                  <a:pt x="56" y="328"/>
                  <a:pt x="56" y="328"/>
                </a:cubicBezTo>
                <a:cubicBezTo>
                  <a:pt x="188" y="385"/>
                  <a:pt x="188" y="385"/>
                  <a:pt x="188" y="385"/>
                </a:cubicBezTo>
                <a:lnTo>
                  <a:pt x="320" y="328"/>
                </a:lnTo>
                <a:close/>
                <a:moveTo>
                  <a:pt x="334" y="471"/>
                </a:moveTo>
                <a:cubicBezTo>
                  <a:pt x="334" y="368"/>
                  <a:pt x="334" y="368"/>
                  <a:pt x="334" y="368"/>
                </a:cubicBezTo>
                <a:cubicBezTo>
                  <a:pt x="209" y="422"/>
                  <a:pt x="209" y="422"/>
                  <a:pt x="209" y="422"/>
                </a:cubicBezTo>
                <a:cubicBezTo>
                  <a:pt x="209" y="533"/>
                  <a:pt x="209" y="533"/>
                  <a:pt x="209" y="533"/>
                </a:cubicBezTo>
                <a:lnTo>
                  <a:pt x="334" y="471"/>
                </a:lnTo>
                <a:close/>
                <a:moveTo>
                  <a:pt x="499" y="104"/>
                </a:moveTo>
                <a:cubicBezTo>
                  <a:pt x="355" y="42"/>
                  <a:pt x="355" y="42"/>
                  <a:pt x="355" y="42"/>
                </a:cubicBezTo>
                <a:cubicBezTo>
                  <a:pt x="211" y="104"/>
                  <a:pt x="211" y="104"/>
                  <a:pt x="211" y="104"/>
                </a:cubicBezTo>
                <a:cubicBezTo>
                  <a:pt x="355" y="165"/>
                  <a:pt x="355" y="165"/>
                  <a:pt x="355" y="165"/>
                </a:cubicBezTo>
                <a:lnTo>
                  <a:pt x="499" y="104"/>
                </a:lnTo>
                <a:close/>
                <a:moveTo>
                  <a:pt x="501" y="235"/>
                </a:moveTo>
                <a:cubicBezTo>
                  <a:pt x="501" y="148"/>
                  <a:pt x="501" y="148"/>
                  <a:pt x="501" y="148"/>
                </a:cubicBezTo>
                <a:cubicBezTo>
                  <a:pt x="376" y="202"/>
                  <a:pt x="376" y="202"/>
                  <a:pt x="376" y="202"/>
                </a:cubicBezTo>
                <a:cubicBezTo>
                  <a:pt x="376" y="289"/>
                  <a:pt x="376" y="289"/>
                  <a:pt x="376" y="289"/>
                </a:cubicBezTo>
                <a:lnTo>
                  <a:pt x="501" y="235"/>
                </a:lnTo>
                <a:close/>
                <a:moveTo>
                  <a:pt x="654" y="328"/>
                </a:moveTo>
                <a:cubicBezTo>
                  <a:pt x="522" y="272"/>
                  <a:pt x="522" y="272"/>
                  <a:pt x="522" y="272"/>
                </a:cubicBezTo>
                <a:cubicBezTo>
                  <a:pt x="390" y="328"/>
                  <a:pt x="390" y="328"/>
                  <a:pt x="390" y="328"/>
                </a:cubicBezTo>
                <a:cubicBezTo>
                  <a:pt x="522" y="385"/>
                  <a:pt x="522" y="385"/>
                  <a:pt x="522" y="385"/>
                </a:cubicBezTo>
                <a:lnTo>
                  <a:pt x="654" y="328"/>
                </a:lnTo>
                <a:close/>
                <a:moveTo>
                  <a:pt x="669" y="471"/>
                </a:moveTo>
                <a:cubicBezTo>
                  <a:pt x="669" y="368"/>
                  <a:pt x="669" y="368"/>
                  <a:pt x="669" y="368"/>
                </a:cubicBezTo>
                <a:cubicBezTo>
                  <a:pt x="543" y="422"/>
                  <a:pt x="543" y="422"/>
                  <a:pt x="543" y="422"/>
                </a:cubicBezTo>
                <a:cubicBezTo>
                  <a:pt x="543" y="533"/>
                  <a:pt x="543" y="533"/>
                  <a:pt x="543" y="533"/>
                </a:cubicBezTo>
                <a:lnTo>
                  <a:pt x="669" y="4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73148" tIns="36575" rIns="73148" bIns="3657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83" name="Picture 2">
            <a:extLst>
              <a:ext uri="{FF2B5EF4-FFF2-40B4-BE49-F238E27FC236}">
                <a16:creationId xmlns:a16="http://schemas.microsoft.com/office/drawing/2014/main" id="{F29A6F0C-4402-455A-BB05-4D1B271C8E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3971592" y="4542077"/>
            <a:ext cx="4220418" cy="1494420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218166E1-7470-4D90-BC7A-B3ACDEC6B887}"/>
              </a:ext>
            </a:extLst>
          </p:cNvPr>
          <p:cNvSpPr txBox="1"/>
          <p:nvPr/>
        </p:nvSpPr>
        <p:spPr>
          <a:xfrm>
            <a:off x="9297749" y="3887692"/>
            <a:ext cx="40075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Targ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Setting</a:t>
            </a:r>
          </a:p>
        </p:txBody>
      </p:sp>
      <p:pic>
        <p:nvPicPr>
          <p:cNvPr id="127" name="Grafik 13">
            <a:extLst>
              <a:ext uri="{FF2B5EF4-FFF2-40B4-BE49-F238E27FC236}">
                <a16:creationId xmlns:a16="http://schemas.microsoft.com/office/drawing/2014/main" id="{87218DF7-B080-4489-B316-B56E5B52CB8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088"/>
          <a:stretch/>
        </p:blipFill>
        <p:spPr>
          <a:xfrm>
            <a:off x="9196016" y="3419927"/>
            <a:ext cx="604217" cy="352564"/>
          </a:xfrm>
          <a:prstGeom prst="roundRect">
            <a:avLst>
              <a:gd name="adj" fmla="val 2001"/>
            </a:avLst>
          </a:prstGeom>
        </p:spPr>
      </p:pic>
      <p:cxnSp>
        <p:nvCxnSpPr>
          <p:cNvPr id="128" name="Gerade Verbindung mit Pfeil 90">
            <a:extLst>
              <a:ext uri="{FF2B5EF4-FFF2-40B4-BE49-F238E27FC236}">
                <a16:creationId xmlns:a16="http://schemas.microsoft.com/office/drawing/2014/main" id="{EA78F9A8-DA73-43B7-AE8B-F2ED7F42093E}"/>
              </a:ext>
            </a:extLst>
          </p:cNvPr>
          <p:cNvCxnSpPr/>
          <p:nvPr/>
        </p:nvCxnSpPr>
        <p:spPr>
          <a:xfrm>
            <a:off x="8793488" y="3623591"/>
            <a:ext cx="324000" cy="0"/>
          </a:xfrm>
          <a:prstGeom prst="straightConnector1">
            <a:avLst/>
          </a:prstGeom>
          <a:ln w="63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1C10306E-3555-4780-9CD4-298E26502548}"/>
              </a:ext>
            </a:extLst>
          </p:cNvPr>
          <p:cNvSpPr txBox="1"/>
          <p:nvPr/>
        </p:nvSpPr>
        <p:spPr>
          <a:xfrm>
            <a:off x="9197931" y="2542484"/>
            <a:ext cx="67326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Dashboard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A010305-98C7-4F5E-85AE-9C358327CC02}"/>
              </a:ext>
            </a:extLst>
          </p:cNvPr>
          <p:cNvSpPr txBox="1"/>
          <p:nvPr/>
        </p:nvSpPr>
        <p:spPr>
          <a:xfrm>
            <a:off x="10750603" y="2469807"/>
            <a:ext cx="65723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Ad-hoc 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Self-Service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82F58919-8FE8-46D0-9F5D-EE58B93E9B57}"/>
              </a:ext>
            </a:extLst>
          </p:cNvPr>
          <p:cNvSpPr txBox="1"/>
          <p:nvPr/>
        </p:nvSpPr>
        <p:spPr>
          <a:xfrm>
            <a:off x="10036243" y="2466293"/>
            <a:ext cx="51135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Standard</a:t>
            </a:r>
            <a:b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Reports</a:t>
            </a: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95CC19D7-7123-464B-8D37-AD9A6C9804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9205090" y="2023460"/>
            <a:ext cx="604540" cy="373245"/>
          </a:xfrm>
          <a:prstGeom prst="roundRect">
            <a:avLst>
              <a:gd name="adj" fmla="val 2001"/>
            </a:avLst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EEAC2924-9447-49D7-8CE4-B9179D449F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89652" y="2023460"/>
            <a:ext cx="604540" cy="372282"/>
          </a:xfrm>
          <a:prstGeom prst="roundRect">
            <a:avLst>
              <a:gd name="adj" fmla="val 2001"/>
            </a:avLst>
          </a:prstGeom>
        </p:spPr>
      </p:pic>
      <p:pic>
        <p:nvPicPr>
          <p:cNvPr id="121" name="Object 1">
            <a:extLst>
              <a:ext uri="{FF2B5EF4-FFF2-40B4-BE49-F238E27FC236}">
                <a16:creationId xmlns:a16="http://schemas.microsoft.com/office/drawing/2014/main" id="{6D5F23AD-B175-4224-A5D4-918EFDA21CA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3407" b="9037"/>
          <a:stretch/>
        </p:blipFill>
        <p:spPr>
          <a:xfrm>
            <a:off x="10774215" y="2023460"/>
            <a:ext cx="610008" cy="369203"/>
          </a:xfrm>
          <a:prstGeom prst="roundRect">
            <a:avLst>
              <a:gd name="adj" fmla="val 2001"/>
            </a:avLst>
          </a:prstGeom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0BF957F8-2D00-4033-9C35-264F7158EDF8}"/>
              </a:ext>
            </a:extLst>
          </p:cNvPr>
          <p:cNvSpPr txBox="1"/>
          <p:nvPr/>
        </p:nvSpPr>
        <p:spPr>
          <a:xfrm>
            <a:off x="9957275" y="3899284"/>
            <a:ext cx="65081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Forecasting</a:t>
            </a:r>
          </a:p>
        </p:txBody>
      </p:sp>
      <p:pic>
        <p:nvPicPr>
          <p:cNvPr id="144" name="Grafik 13">
            <a:extLst>
              <a:ext uri="{FF2B5EF4-FFF2-40B4-BE49-F238E27FC236}">
                <a16:creationId xmlns:a16="http://schemas.microsoft.com/office/drawing/2014/main" id="{8B0C7AF9-2C94-41A2-A0FF-0721B9BC34E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088"/>
          <a:stretch/>
        </p:blipFill>
        <p:spPr>
          <a:xfrm>
            <a:off x="9980577" y="3431519"/>
            <a:ext cx="604217" cy="352564"/>
          </a:xfrm>
          <a:prstGeom prst="roundRect">
            <a:avLst>
              <a:gd name="adj" fmla="val 2001"/>
            </a:avLst>
          </a:prstGeom>
        </p:spPr>
      </p:pic>
      <p:sp>
        <p:nvSpPr>
          <p:cNvPr id="145" name="TextBox 144">
            <a:extLst>
              <a:ext uri="{FF2B5EF4-FFF2-40B4-BE49-F238E27FC236}">
                <a16:creationId xmlns:a16="http://schemas.microsoft.com/office/drawing/2014/main" id="{BECA9B98-C017-423B-94CC-296E1B132D59}"/>
              </a:ext>
            </a:extLst>
          </p:cNvPr>
          <p:cNvSpPr txBox="1"/>
          <p:nvPr/>
        </p:nvSpPr>
        <p:spPr>
          <a:xfrm>
            <a:off x="10799077" y="3889984"/>
            <a:ext cx="54181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Measures</a:t>
            </a:r>
          </a:p>
        </p:txBody>
      </p:sp>
      <p:pic>
        <p:nvPicPr>
          <p:cNvPr id="146" name="Grafik 13">
            <a:extLst>
              <a:ext uri="{FF2B5EF4-FFF2-40B4-BE49-F238E27FC236}">
                <a16:creationId xmlns:a16="http://schemas.microsoft.com/office/drawing/2014/main" id="{821A7A1F-6746-459B-82D9-BD78A70A967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088"/>
          <a:stretch/>
        </p:blipFill>
        <p:spPr>
          <a:xfrm>
            <a:off x="10767875" y="3422219"/>
            <a:ext cx="604217" cy="352564"/>
          </a:xfrm>
          <a:prstGeom prst="roundRect">
            <a:avLst>
              <a:gd name="adj" fmla="val 2001"/>
            </a:avLst>
          </a:prstGeom>
        </p:spPr>
      </p:pic>
      <p:sp>
        <p:nvSpPr>
          <p:cNvPr id="147" name="Rechteck 14">
            <a:extLst>
              <a:ext uri="{FF2B5EF4-FFF2-40B4-BE49-F238E27FC236}">
                <a16:creationId xmlns:a16="http://schemas.microsoft.com/office/drawing/2014/main" id="{2ED5DEEE-69B8-40F3-B16C-DA170DC6C2C0}"/>
              </a:ext>
            </a:extLst>
          </p:cNvPr>
          <p:cNvSpPr/>
          <p:nvPr/>
        </p:nvSpPr>
        <p:spPr>
          <a:xfrm>
            <a:off x="9102640" y="4498130"/>
            <a:ext cx="2415242" cy="1702645"/>
          </a:xfrm>
          <a:prstGeom prst="roundRect">
            <a:avLst>
              <a:gd name="adj" fmla="val 444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err="1">
                <a:solidFill>
                  <a:srgbClr val="213A51"/>
                </a:solidFill>
                <a:latin typeface="+mj-lt"/>
              </a:rPr>
              <a:t>Advanced</a:t>
            </a: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de-DE" sz="1100">
                <a:solidFill>
                  <a:srgbClr val="213A51"/>
                </a:solidFill>
                <a:latin typeface="+mj-lt"/>
              </a:rPr>
              <a:t>Analytics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DDD04C0-2F2E-4C4B-85B8-F8F081A1A79F}"/>
              </a:ext>
            </a:extLst>
          </p:cNvPr>
          <p:cNvGrpSpPr/>
          <p:nvPr/>
        </p:nvGrpSpPr>
        <p:grpSpPr>
          <a:xfrm>
            <a:off x="9190716" y="5064071"/>
            <a:ext cx="2271408" cy="748102"/>
            <a:chOff x="9552595" y="4494305"/>
            <a:chExt cx="2096263" cy="748102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098B3D7D-8E0A-4440-A98C-037C3C5C08B4}"/>
                </a:ext>
              </a:extLst>
            </p:cNvPr>
            <p:cNvSpPr txBox="1"/>
            <p:nvPr/>
          </p:nvSpPr>
          <p:spPr>
            <a:xfrm>
              <a:off x="9615077" y="4934630"/>
              <a:ext cx="486721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213A51"/>
                  </a:solidFill>
                  <a:effectLst/>
                  <a:uLnTx/>
                  <a:uFillTx/>
                  <a:ea typeface="+mn-ea"/>
                  <a:cs typeface="+mn-cs"/>
                </a:rPr>
                <a:t>AI </a:t>
              </a:r>
              <a:b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213A5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213A51"/>
                  </a:solidFill>
                  <a:effectLst/>
                  <a:uLnTx/>
                  <a:uFillTx/>
                  <a:ea typeface="+mn-ea"/>
                  <a:cs typeface="+mn-cs"/>
                </a:rPr>
                <a:t>Forecasts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FD04E191-EE23-4085-AD8C-5D1CAE14E9A3}"/>
                </a:ext>
              </a:extLst>
            </p:cNvPr>
            <p:cNvSpPr txBox="1"/>
            <p:nvPr/>
          </p:nvSpPr>
          <p:spPr>
            <a:xfrm>
              <a:off x="10316316" y="5012334"/>
              <a:ext cx="603594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213A51"/>
                  </a:solidFill>
                  <a:effectLst/>
                  <a:uLnTx/>
                  <a:uFillTx/>
                  <a:ea typeface="+mn-ea"/>
                  <a:cs typeface="+mn-cs"/>
                </a:rPr>
                <a:t>Simulations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95528C2E-F5F3-4186-957B-4D6112297798}"/>
                </a:ext>
              </a:extLst>
            </p:cNvPr>
            <p:cNvSpPr txBox="1"/>
            <p:nvPr/>
          </p:nvSpPr>
          <p:spPr>
            <a:xfrm>
              <a:off x="11076652" y="4927904"/>
              <a:ext cx="538502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213A51"/>
                  </a:solidFill>
                  <a:effectLst/>
                  <a:uLnTx/>
                  <a:uFillTx/>
                  <a:ea typeface="+mn-ea"/>
                  <a:cs typeface="+mn-cs"/>
                </a:rPr>
                <a:t>Other </a:t>
              </a:r>
              <a:b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213A5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213A51"/>
                  </a:solidFill>
                  <a:effectLst/>
                  <a:uLnTx/>
                  <a:uFillTx/>
                  <a:ea typeface="+mn-ea"/>
                  <a:cs typeface="+mn-cs"/>
                </a:rPr>
                <a:t>Use Cases</a:t>
              </a:r>
            </a:p>
          </p:txBody>
        </p:sp>
        <p:pic>
          <p:nvPicPr>
            <p:cNvPr id="122" name="Grafik 59">
              <a:extLst>
                <a:ext uri="{FF2B5EF4-FFF2-40B4-BE49-F238E27FC236}">
                  <a16:creationId xmlns:a16="http://schemas.microsoft.com/office/drawing/2014/main" id="{2EBB44CE-C612-45E4-AB89-68E2C2FFF8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042949" y="4494305"/>
              <a:ext cx="605909" cy="357998"/>
            </a:xfrm>
            <a:prstGeom prst="roundRect">
              <a:avLst>
                <a:gd name="adj" fmla="val 2001"/>
              </a:avLst>
            </a:prstGeom>
          </p:spPr>
        </p:pic>
        <p:pic>
          <p:nvPicPr>
            <p:cNvPr id="123" name="Grafik 25">
              <a:extLst>
                <a:ext uri="{FF2B5EF4-FFF2-40B4-BE49-F238E27FC236}">
                  <a16:creationId xmlns:a16="http://schemas.microsoft.com/office/drawing/2014/main" id="{C4DCFBD6-55CF-4195-9E0A-0355C6DCD0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2595" y="4494305"/>
              <a:ext cx="611683" cy="362963"/>
            </a:xfrm>
            <a:prstGeom prst="roundRect">
              <a:avLst>
                <a:gd name="adj" fmla="val 2001"/>
              </a:avLst>
            </a:prstGeom>
          </p:spPr>
        </p:pic>
        <p:pic>
          <p:nvPicPr>
            <p:cNvPr id="124" name="Grafik 42">
              <a:extLst>
                <a:ext uri="{FF2B5EF4-FFF2-40B4-BE49-F238E27FC236}">
                  <a16:creationId xmlns:a16="http://schemas.microsoft.com/office/drawing/2014/main" id="{3BA4BFEF-0ADA-43FE-B9B0-CCFF0225A0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6716"/>
            <a:stretch/>
          </p:blipFill>
          <p:spPr>
            <a:xfrm>
              <a:off x="10313432" y="4494305"/>
              <a:ext cx="609363" cy="367354"/>
            </a:xfrm>
            <a:prstGeom prst="roundRect">
              <a:avLst>
                <a:gd name="adj" fmla="val 2001"/>
              </a:avLst>
            </a:prstGeom>
          </p:spPr>
        </p:pic>
      </p:grpSp>
      <p:sp>
        <p:nvSpPr>
          <p:cNvPr id="165" name="Rechteck 14">
            <a:extLst>
              <a:ext uri="{FF2B5EF4-FFF2-40B4-BE49-F238E27FC236}">
                <a16:creationId xmlns:a16="http://schemas.microsoft.com/office/drawing/2014/main" id="{27780DEC-C162-4723-9A34-134B2B8E8618}"/>
              </a:ext>
            </a:extLst>
          </p:cNvPr>
          <p:cNvSpPr/>
          <p:nvPr/>
        </p:nvSpPr>
        <p:spPr>
          <a:xfrm>
            <a:off x="695325" y="3155690"/>
            <a:ext cx="1591437" cy="1492057"/>
          </a:xfrm>
          <a:prstGeom prst="roundRect">
            <a:avLst>
              <a:gd name="adj" fmla="val 50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213A51"/>
                </a:solidFill>
                <a:latin typeface="+mj-lt"/>
              </a:rPr>
              <a:t>Operative Systeme</a:t>
            </a: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z.B. SCM, </a:t>
            </a:r>
            <a:r>
              <a:rPr kumimoji="0" lang="de-DE" sz="1100" i="0" u="none" strike="noStrike" kern="1200" cap="none" spc="0" normalizeH="0" baseline="0" noProof="0" err="1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Workday</a:t>
            </a: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0" name="Rechteck: abgerundete Ecken 45">
            <a:extLst>
              <a:ext uri="{FF2B5EF4-FFF2-40B4-BE49-F238E27FC236}">
                <a16:creationId xmlns:a16="http://schemas.microsoft.com/office/drawing/2014/main" id="{AF50F873-F4C9-4A07-B0AC-FC1A40E781CB}"/>
              </a:ext>
            </a:extLst>
          </p:cNvPr>
          <p:cNvSpPr/>
          <p:nvPr/>
        </p:nvSpPr>
        <p:spPr>
          <a:xfrm>
            <a:off x="799295" y="2741983"/>
            <a:ext cx="1383497" cy="204422"/>
          </a:xfrm>
          <a:prstGeom prst="roundRect">
            <a:avLst>
              <a:gd name="adj" fmla="val 36982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Mengenflüsse</a:t>
            </a:r>
          </a:p>
        </p:txBody>
      </p:sp>
      <p:sp>
        <p:nvSpPr>
          <p:cNvPr id="181" name="Rechteck: abgerundete Ecken 45">
            <a:extLst>
              <a:ext uri="{FF2B5EF4-FFF2-40B4-BE49-F238E27FC236}">
                <a16:creationId xmlns:a16="http://schemas.microsoft.com/office/drawing/2014/main" id="{08D94893-D8C9-4993-902E-64E5407A8123}"/>
              </a:ext>
            </a:extLst>
          </p:cNvPr>
          <p:cNvSpPr/>
          <p:nvPr/>
        </p:nvSpPr>
        <p:spPr>
          <a:xfrm>
            <a:off x="799295" y="2397662"/>
            <a:ext cx="1383497" cy="204422"/>
          </a:xfrm>
          <a:prstGeom prst="roundRect">
            <a:avLst>
              <a:gd name="adj" fmla="val 36982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Stammdaten</a:t>
            </a:r>
          </a:p>
        </p:txBody>
      </p:sp>
      <p:sp>
        <p:nvSpPr>
          <p:cNvPr id="183" name="Rechteck: abgerundete Ecken 45">
            <a:extLst>
              <a:ext uri="{FF2B5EF4-FFF2-40B4-BE49-F238E27FC236}">
                <a16:creationId xmlns:a16="http://schemas.microsoft.com/office/drawing/2014/main" id="{75F46CC7-9940-461F-A04C-9787DD13BF21}"/>
              </a:ext>
            </a:extLst>
          </p:cNvPr>
          <p:cNvSpPr/>
          <p:nvPr/>
        </p:nvSpPr>
        <p:spPr>
          <a:xfrm>
            <a:off x="799295" y="4001216"/>
            <a:ext cx="1383497" cy="204422"/>
          </a:xfrm>
          <a:prstGeom prst="roundRect">
            <a:avLst>
              <a:gd name="adj" fmla="val 36982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Stromverbrauch</a:t>
            </a:r>
          </a:p>
        </p:txBody>
      </p:sp>
      <p:sp>
        <p:nvSpPr>
          <p:cNvPr id="184" name="Rechteck: abgerundete Ecken 45">
            <a:extLst>
              <a:ext uri="{FF2B5EF4-FFF2-40B4-BE49-F238E27FC236}">
                <a16:creationId xmlns:a16="http://schemas.microsoft.com/office/drawing/2014/main" id="{05AD090B-602E-4B22-9610-4C100DBAB585}"/>
              </a:ext>
            </a:extLst>
          </p:cNvPr>
          <p:cNvSpPr/>
          <p:nvPr/>
        </p:nvSpPr>
        <p:spPr>
          <a:xfrm>
            <a:off x="799295" y="3719137"/>
            <a:ext cx="1383497" cy="204422"/>
          </a:xfrm>
          <a:prstGeom prst="roundRect">
            <a:avLst>
              <a:gd name="adj" fmla="val 36982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Emissions-Faktoren</a:t>
            </a:r>
          </a:p>
        </p:txBody>
      </p:sp>
      <p:sp>
        <p:nvSpPr>
          <p:cNvPr id="185" name="Rechteck: abgerundete Ecken 45">
            <a:extLst>
              <a:ext uri="{FF2B5EF4-FFF2-40B4-BE49-F238E27FC236}">
                <a16:creationId xmlns:a16="http://schemas.microsoft.com/office/drawing/2014/main" id="{FEAA2343-C900-4A5C-B7A1-0CC6AF0EBBAA}"/>
              </a:ext>
            </a:extLst>
          </p:cNvPr>
          <p:cNvSpPr/>
          <p:nvPr/>
        </p:nvSpPr>
        <p:spPr>
          <a:xfrm>
            <a:off x="799295" y="4283295"/>
            <a:ext cx="1383497" cy="204422"/>
          </a:xfrm>
          <a:prstGeom prst="roundRect">
            <a:avLst>
              <a:gd name="adj" fmla="val 36982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Mitarbeiterdaten</a:t>
            </a:r>
          </a:p>
        </p:txBody>
      </p:sp>
      <p:sp>
        <p:nvSpPr>
          <p:cNvPr id="186" name="Rechteck 14">
            <a:extLst>
              <a:ext uri="{FF2B5EF4-FFF2-40B4-BE49-F238E27FC236}">
                <a16:creationId xmlns:a16="http://schemas.microsoft.com/office/drawing/2014/main" id="{51FDA232-C5EB-4265-AE1F-FA9C2FC00E94}"/>
              </a:ext>
            </a:extLst>
          </p:cNvPr>
          <p:cNvSpPr/>
          <p:nvPr/>
        </p:nvSpPr>
        <p:spPr>
          <a:xfrm>
            <a:off x="695325" y="4710128"/>
            <a:ext cx="1591437" cy="1492057"/>
          </a:xfrm>
          <a:prstGeom prst="roundRect">
            <a:avLst>
              <a:gd name="adj" fmla="val 50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213A51"/>
                </a:solidFill>
                <a:latin typeface="+mj-lt"/>
              </a:rPr>
              <a:t>Externe Daten</a:t>
            </a: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z.B. Lieferanten-system,  Umwelt-datenbanken</a:t>
            </a:r>
            <a:b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rgbClr val="213A5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9" name="Rechteck: abgerundete Ecken 45">
            <a:extLst>
              <a:ext uri="{FF2B5EF4-FFF2-40B4-BE49-F238E27FC236}">
                <a16:creationId xmlns:a16="http://schemas.microsoft.com/office/drawing/2014/main" id="{80F61DC0-C129-419D-96CD-73B4B45A7F0D}"/>
              </a:ext>
            </a:extLst>
          </p:cNvPr>
          <p:cNvSpPr/>
          <p:nvPr/>
        </p:nvSpPr>
        <p:spPr>
          <a:xfrm>
            <a:off x="799295" y="5704280"/>
            <a:ext cx="1383497" cy="204422"/>
          </a:xfrm>
          <a:prstGeom prst="roundRect">
            <a:avLst>
              <a:gd name="adj" fmla="val 36982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Benchmarks</a:t>
            </a:r>
          </a:p>
        </p:txBody>
      </p:sp>
      <p:sp>
        <p:nvSpPr>
          <p:cNvPr id="190" name="Rechteck: abgerundete Ecken 45">
            <a:extLst>
              <a:ext uri="{FF2B5EF4-FFF2-40B4-BE49-F238E27FC236}">
                <a16:creationId xmlns:a16="http://schemas.microsoft.com/office/drawing/2014/main" id="{25CBE99F-7273-4D25-AAEC-0682487073E6}"/>
              </a:ext>
            </a:extLst>
          </p:cNvPr>
          <p:cNvSpPr/>
          <p:nvPr/>
        </p:nvSpPr>
        <p:spPr>
          <a:xfrm>
            <a:off x="799295" y="5455538"/>
            <a:ext cx="1383497" cy="204422"/>
          </a:xfrm>
          <a:prstGeom prst="roundRect">
            <a:avLst>
              <a:gd name="adj" fmla="val 36982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Emissionsfaktoren</a:t>
            </a:r>
          </a:p>
        </p:txBody>
      </p:sp>
      <p:sp>
        <p:nvSpPr>
          <p:cNvPr id="191" name="Rechteck: abgerundete Ecken 45">
            <a:extLst>
              <a:ext uri="{FF2B5EF4-FFF2-40B4-BE49-F238E27FC236}">
                <a16:creationId xmlns:a16="http://schemas.microsoft.com/office/drawing/2014/main" id="{424C2D97-8CDD-4309-A6E4-86D2168372A2}"/>
              </a:ext>
            </a:extLst>
          </p:cNvPr>
          <p:cNvSpPr/>
          <p:nvPr/>
        </p:nvSpPr>
        <p:spPr>
          <a:xfrm>
            <a:off x="799295" y="5953021"/>
            <a:ext cx="1383497" cy="204422"/>
          </a:xfrm>
          <a:prstGeom prst="roundRect">
            <a:avLst>
              <a:gd name="adj" fmla="val 36982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>
                <a:ln>
                  <a:noFill/>
                </a:ln>
                <a:solidFill>
                  <a:srgbClr val="213A51"/>
                </a:solidFill>
                <a:effectLst/>
                <a:uLnTx/>
                <a:uFillTx/>
                <a:ea typeface="+mn-ea"/>
                <a:cs typeface="+mn-cs"/>
              </a:rPr>
              <a:t>…</a:t>
            </a:r>
          </a:p>
        </p:txBody>
      </p:sp>
      <p:cxnSp>
        <p:nvCxnSpPr>
          <p:cNvPr id="198" name="Verbinder: gewinkelt 74">
            <a:extLst>
              <a:ext uri="{FF2B5EF4-FFF2-40B4-BE49-F238E27FC236}">
                <a16:creationId xmlns:a16="http://schemas.microsoft.com/office/drawing/2014/main" id="{F533D958-C4CC-4217-817F-BF58F63AD4A3}"/>
              </a:ext>
            </a:extLst>
          </p:cNvPr>
          <p:cNvCxnSpPr>
            <a:cxnSpLocks/>
          </p:cNvCxnSpPr>
          <p:nvPr/>
        </p:nvCxnSpPr>
        <p:spPr>
          <a:xfrm rot="16200000" flipH="1">
            <a:off x="2145092" y="2640021"/>
            <a:ext cx="484034" cy="203736"/>
          </a:xfrm>
          <a:prstGeom prst="bentConnector3">
            <a:avLst>
              <a:gd name="adj1" fmla="val 122"/>
            </a:avLst>
          </a:prstGeom>
          <a:ln w="6350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89C52123-C996-4FB3-B11F-6B7313FD4942}"/>
              </a:ext>
            </a:extLst>
          </p:cNvPr>
          <p:cNvGrpSpPr/>
          <p:nvPr/>
        </p:nvGrpSpPr>
        <p:grpSpPr>
          <a:xfrm>
            <a:off x="5881176" y="3932092"/>
            <a:ext cx="140547" cy="566040"/>
            <a:chOff x="5258226" y="3876676"/>
            <a:chExt cx="140547" cy="566040"/>
          </a:xfrm>
        </p:grpSpPr>
        <p:cxnSp>
          <p:nvCxnSpPr>
            <p:cNvPr id="215" name="Gerade Verbindung mit Pfeil 90">
              <a:extLst>
                <a:ext uri="{FF2B5EF4-FFF2-40B4-BE49-F238E27FC236}">
                  <a16:creationId xmlns:a16="http://schemas.microsoft.com/office/drawing/2014/main" id="{C2E00464-3D5A-4721-8861-1F62DB75B5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75206" y="4159696"/>
              <a:ext cx="566039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6" name="Gerade Verbindung mit Pfeil 90">
              <a:extLst>
                <a:ext uri="{FF2B5EF4-FFF2-40B4-BE49-F238E27FC236}">
                  <a16:creationId xmlns:a16="http://schemas.microsoft.com/office/drawing/2014/main" id="{A6B32340-1305-463E-94EF-05DD504A5AB2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5115753" y="4159697"/>
              <a:ext cx="566039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4C27FC9-655F-42AD-9B4A-1186C0182B92}"/>
              </a:ext>
            </a:extLst>
          </p:cNvPr>
          <p:cNvGrpSpPr/>
          <p:nvPr/>
        </p:nvGrpSpPr>
        <p:grpSpPr>
          <a:xfrm>
            <a:off x="10239987" y="4332569"/>
            <a:ext cx="140547" cy="165561"/>
            <a:chOff x="5258226" y="3876676"/>
            <a:chExt cx="140547" cy="566040"/>
          </a:xfrm>
        </p:grpSpPr>
        <p:cxnSp>
          <p:nvCxnSpPr>
            <p:cNvPr id="219" name="Gerade Verbindung mit Pfeil 90">
              <a:extLst>
                <a:ext uri="{FF2B5EF4-FFF2-40B4-BE49-F238E27FC236}">
                  <a16:creationId xmlns:a16="http://schemas.microsoft.com/office/drawing/2014/main" id="{6581549D-F38B-4ADA-BCEC-25B24BC928E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75206" y="4159696"/>
              <a:ext cx="566039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0" name="Gerade Verbindung mit Pfeil 90">
              <a:extLst>
                <a:ext uri="{FF2B5EF4-FFF2-40B4-BE49-F238E27FC236}">
                  <a16:creationId xmlns:a16="http://schemas.microsoft.com/office/drawing/2014/main" id="{DC163071-1E81-43CE-B72F-103D4592261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5115753" y="4159697"/>
              <a:ext cx="566039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44" name="Rectangle 1043">
            <a:extLst>
              <a:ext uri="{FF2B5EF4-FFF2-40B4-BE49-F238E27FC236}">
                <a16:creationId xmlns:a16="http://schemas.microsoft.com/office/drawing/2014/main" id="{F906BF03-0573-496B-A6D8-6B7C408E2686}"/>
              </a:ext>
            </a:extLst>
          </p:cNvPr>
          <p:cNvSpPr/>
          <p:nvPr/>
        </p:nvSpPr>
        <p:spPr>
          <a:xfrm>
            <a:off x="5502790" y="4853192"/>
            <a:ext cx="143039" cy="1430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0B00AF6E-F60D-4694-8799-26A8DE16CB38}"/>
              </a:ext>
            </a:extLst>
          </p:cNvPr>
          <p:cNvSpPr/>
          <p:nvPr/>
        </p:nvSpPr>
        <p:spPr>
          <a:xfrm>
            <a:off x="5604457" y="5485385"/>
            <a:ext cx="143039" cy="1430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D7B58AF1-E3D4-4B3D-B868-29C78F43A286}"/>
              </a:ext>
            </a:extLst>
          </p:cNvPr>
          <p:cNvSpPr/>
          <p:nvPr/>
        </p:nvSpPr>
        <p:spPr>
          <a:xfrm>
            <a:off x="6937804" y="5339603"/>
            <a:ext cx="143039" cy="1430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F7A09451-A28E-42D4-9C7B-67DF4C57AF18}"/>
              </a:ext>
            </a:extLst>
          </p:cNvPr>
          <p:cNvSpPr/>
          <p:nvPr/>
        </p:nvSpPr>
        <p:spPr>
          <a:xfrm>
            <a:off x="6962292" y="4832985"/>
            <a:ext cx="143039" cy="1430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73D0093A-770E-4674-ABFE-D13682006DE7}"/>
              </a:ext>
            </a:extLst>
          </p:cNvPr>
          <p:cNvSpPr/>
          <p:nvPr/>
        </p:nvSpPr>
        <p:spPr>
          <a:xfrm>
            <a:off x="6529286" y="5374513"/>
            <a:ext cx="143039" cy="1430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E672468F-37C4-40C8-8456-0D38993A123E}"/>
              </a:ext>
            </a:extLst>
          </p:cNvPr>
          <p:cNvSpPr/>
          <p:nvPr/>
        </p:nvSpPr>
        <p:spPr>
          <a:xfrm>
            <a:off x="5096741" y="5400147"/>
            <a:ext cx="143039" cy="1430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5" name="Oval 1044">
            <a:extLst>
              <a:ext uri="{FF2B5EF4-FFF2-40B4-BE49-F238E27FC236}">
                <a16:creationId xmlns:a16="http://schemas.microsoft.com/office/drawing/2014/main" id="{17C6300D-A9D6-48B5-A0DD-C9BC5E6158BE}"/>
              </a:ext>
            </a:extLst>
          </p:cNvPr>
          <p:cNvSpPr/>
          <p:nvPr/>
        </p:nvSpPr>
        <p:spPr>
          <a:xfrm>
            <a:off x="6373127" y="4924711"/>
            <a:ext cx="139360" cy="139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038E118C-A5F4-456E-A10C-68F9DBF23439}"/>
              </a:ext>
            </a:extLst>
          </p:cNvPr>
          <p:cNvSpPr/>
          <p:nvPr/>
        </p:nvSpPr>
        <p:spPr>
          <a:xfrm>
            <a:off x="5762417" y="5071742"/>
            <a:ext cx="139360" cy="139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99490892-70AC-41E3-AE02-E5FA147CA506}"/>
              </a:ext>
            </a:extLst>
          </p:cNvPr>
          <p:cNvSpPr/>
          <p:nvPr/>
        </p:nvSpPr>
        <p:spPr>
          <a:xfrm>
            <a:off x="4836397" y="5079331"/>
            <a:ext cx="139360" cy="139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1C191796-EDCD-4037-8965-A04115A3F05C}"/>
              </a:ext>
            </a:extLst>
          </p:cNvPr>
          <p:cNvSpPr/>
          <p:nvPr/>
        </p:nvSpPr>
        <p:spPr>
          <a:xfrm>
            <a:off x="6272970" y="5512500"/>
            <a:ext cx="139360" cy="139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6B85FAFE-CD06-4FCA-8855-311E0C4107AC}"/>
              </a:ext>
            </a:extLst>
          </p:cNvPr>
          <p:cNvSpPr/>
          <p:nvPr/>
        </p:nvSpPr>
        <p:spPr>
          <a:xfrm>
            <a:off x="7502491" y="5248563"/>
            <a:ext cx="139360" cy="139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6" name="Isosceles Triangle 1045">
            <a:extLst>
              <a:ext uri="{FF2B5EF4-FFF2-40B4-BE49-F238E27FC236}">
                <a16:creationId xmlns:a16="http://schemas.microsoft.com/office/drawing/2014/main" id="{E0A62397-DCA9-4C17-BD2F-A2D5C2E4F86D}"/>
              </a:ext>
            </a:extLst>
          </p:cNvPr>
          <p:cNvSpPr/>
          <p:nvPr/>
        </p:nvSpPr>
        <p:spPr>
          <a:xfrm>
            <a:off x="5239780" y="4994391"/>
            <a:ext cx="161658" cy="139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4" name="Isosceles Triangle 233">
            <a:extLst>
              <a:ext uri="{FF2B5EF4-FFF2-40B4-BE49-F238E27FC236}">
                <a16:creationId xmlns:a16="http://schemas.microsoft.com/office/drawing/2014/main" id="{8B22B6D6-1F99-4F36-981C-A22C6A95E4D4}"/>
              </a:ext>
            </a:extLst>
          </p:cNvPr>
          <p:cNvSpPr/>
          <p:nvPr/>
        </p:nvSpPr>
        <p:spPr>
          <a:xfrm>
            <a:off x="4626496" y="5310586"/>
            <a:ext cx="161658" cy="139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5" name="Isosceles Triangle 234">
            <a:extLst>
              <a:ext uri="{FF2B5EF4-FFF2-40B4-BE49-F238E27FC236}">
                <a16:creationId xmlns:a16="http://schemas.microsoft.com/office/drawing/2014/main" id="{7B830F71-15D4-401B-8EE6-3DCE48FC3172}"/>
              </a:ext>
            </a:extLst>
          </p:cNvPr>
          <p:cNvSpPr/>
          <p:nvPr/>
        </p:nvSpPr>
        <p:spPr>
          <a:xfrm>
            <a:off x="5900465" y="4779922"/>
            <a:ext cx="161658" cy="139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8" name="Isosceles Triangle 237">
            <a:extLst>
              <a:ext uri="{FF2B5EF4-FFF2-40B4-BE49-F238E27FC236}">
                <a16:creationId xmlns:a16="http://schemas.microsoft.com/office/drawing/2014/main" id="{F66ED63B-8928-4189-8BA6-15D6CA001720}"/>
              </a:ext>
            </a:extLst>
          </p:cNvPr>
          <p:cNvSpPr/>
          <p:nvPr/>
        </p:nvSpPr>
        <p:spPr>
          <a:xfrm>
            <a:off x="5976886" y="5582100"/>
            <a:ext cx="161658" cy="139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9" name="Isosceles Triangle 238">
            <a:extLst>
              <a:ext uri="{FF2B5EF4-FFF2-40B4-BE49-F238E27FC236}">
                <a16:creationId xmlns:a16="http://schemas.microsoft.com/office/drawing/2014/main" id="{A393AEBA-EA8B-4774-8E39-94605DAE45CE}"/>
              </a:ext>
            </a:extLst>
          </p:cNvPr>
          <p:cNvSpPr/>
          <p:nvPr/>
        </p:nvSpPr>
        <p:spPr>
          <a:xfrm>
            <a:off x="6713144" y="5067750"/>
            <a:ext cx="161658" cy="139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661B36E7-0AFC-492F-A282-52017C66A030}"/>
              </a:ext>
            </a:extLst>
          </p:cNvPr>
          <p:cNvGrpSpPr/>
          <p:nvPr/>
        </p:nvGrpSpPr>
        <p:grpSpPr>
          <a:xfrm>
            <a:off x="8785120" y="6323191"/>
            <a:ext cx="1501753" cy="219954"/>
            <a:chOff x="3554251" y="6382492"/>
            <a:chExt cx="1501753" cy="219954"/>
          </a:xfrm>
        </p:grpSpPr>
        <p:cxnSp>
          <p:nvCxnSpPr>
            <p:cNvPr id="241" name="Gerade Verbindung mit Pfeil 90">
              <a:extLst>
                <a:ext uri="{FF2B5EF4-FFF2-40B4-BE49-F238E27FC236}">
                  <a16:creationId xmlns:a16="http://schemas.microsoft.com/office/drawing/2014/main" id="{63B6A835-93FB-462B-9417-EFAC80D5769C}"/>
                </a:ext>
              </a:extLst>
            </p:cNvPr>
            <p:cNvCxnSpPr>
              <a:cxnSpLocks/>
            </p:cNvCxnSpPr>
            <p:nvPr/>
          </p:nvCxnSpPr>
          <p:spPr>
            <a:xfrm>
              <a:off x="3554251" y="6492469"/>
              <a:ext cx="26548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2" name="Rechteck 15">
              <a:extLst>
                <a:ext uri="{FF2B5EF4-FFF2-40B4-BE49-F238E27FC236}">
                  <a16:creationId xmlns:a16="http://schemas.microsoft.com/office/drawing/2014/main" id="{5D2F287E-242D-4F89-AE5A-76076D090199}"/>
                </a:ext>
              </a:extLst>
            </p:cNvPr>
            <p:cNvSpPr/>
            <p:nvPr/>
          </p:nvSpPr>
          <p:spPr>
            <a:xfrm>
              <a:off x="3895869" y="6382492"/>
              <a:ext cx="1160135" cy="2199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i="0" u="none" strike="noStrike" kern="1200" cap="none" spc="0" normalizeH="0" baseline="0" noProof="0">
                  <a:ln>
                    <a:noFill/>
                  </a:ln>
                  <a:solidFill>
                    <a:srgbClr val="213A51"/>
                  </a:solidFill>
                  <a:effectLst/>
                  <a:uLnTx/>
                  <a:uFillTx/>
                  <a:ea typeface="+mn-ea"/>
                  <a:cs typeface="+mn-cs"/>
                </a:rPr>
                <a:t>Datenflus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8517FE13-9688-413D-99F6-A180EBC3959C}"/>
              </a:ext>
            </a:extLst>
          </p:cNvPr>
          <p:cNvGrpSpPr/>
          <p:nvPr/>
        </p:nvGrpSpPr>
        <p:grpSpPr>
          <a:xfrm>
            <a:off x="9833450" y="6323191"/>
            <a:ext cx="2174766" cy="219954"/>
            <a:chOff x="3554251" y="6382492"/>
            <a:chExt cx="2174766" cy="219954"/>
          </a:xfrm>
        </p:grpSpPr>
        <p:cxnSp>
          <p:nvCxnSpPr>
            <p:cNvPr id="246" name="Gerade Verbindung mit Pfeil 90">
              <a:extLst>
                <a:ext uri="{FF2B5EF4-FFF2-40B4-BE49-F238E27FC236}">
                  <a16:creationId xmlns:a16="http://schemas.microsoft.com/office/drawing/2014/main" id="{75CB1CE0-D514-41EB-8DA7-8EA1404E5DA4}"/>
                </a:ext>
              </a:extLst>
            </p:cNvPr>
            <p:cNvCxnSpPr>
              <a:cxnSpLocks/>
            </p:cNvCxnSpPr>
            <p:nvPr/>
          </p:nvCxnSpPr>
          <p:spPr>
            <a:xfrm>
              <a:off x="3554251" y="6492469"/>
              <a:ext cx="265480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7" name="Rechteck 15">
              <a:extLst>
                <a:ext uri="{FF2B5EF4-FFF2-40B4-BE49-F238E27FC236}">
                  <a16:creationId xmlns:a16="http://schemas.microsoft.com/office/drawing/2014/main" id="{8A11D79D-BEB2-4FBD-9980-10CE7317AB41}"/>
                </a:ext>
              </a:extLst>
            </p:cNvPr>
            <p:cNvSpPr/>
            <p:nvPr/>
          </p:nvSpPr>
          <p:spPr>
            <a:xfrm>
              <a:off x="3895869" y="6382492"/>
              <a:ext cx="1833148" cy="2199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ea typeface="+mn-ea"/>
                  <a:cs typeface="+mn-cs"/>
                </a:rPr>
                <a:t>Optionaler Datenfluss</a:t>
              </a:r>
            </a:p>
          </p:txBody>
        </p:sp>
      </p:grp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0616E831-69D4-C04B-65D5-89DDBDCD48E1}"/>
              </a:ext>
            </a:extLst>
          </p:cNvPr>
          <p:cNvCxnSpPr>
            <a:cxnSpLocks/>
            <a:stCxn id="165" idx="3"/>
          </p:cNvCxnSpPr>
          <p:nvPr/>
        </p:nvCxnSpPr>
        <p:spPr>
          <a:xfrm>
            <a:off x="2286762" y="3901719"/>
            <a:ext cx="202047" cy="0"/>
          </a:xfrm>
          <a:prstGeom prst="line">
            <a:avLst/>
          </a:prstGeom>
          <a:ln w="63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>
            <a:extLst>
              <a:ext uri="{FF2B5EF4-FFF2-40B4-BE49-F238E27FC236}">
                <a16:creationId xmlns:a16="http://schemas.microsoft.com/office/drawing/2014/main" id="{903CEA56-4BCE-02C3-994D-B8D8C889541C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sp>
        <p:nvSpPr>
          <p:cNvPr id="4" name="shape">
            <a:extLst>
              <a:ext uri="{FF2B5EF4-FFF2-40B4-BE49-F238E27FC236}">
                <a16:creationId xmlns:a16="http://schemas.microsoft.com/office/drawing/2014/main" id="{81BC001E-0FB0-B0A8-FDFF-853FC9CED8DE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C19BFB5-77DE-60C1-8D18-C46BBF5C90D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pic>
        <p:nvPicPr>
          <p:cNvPr id="6" name="Picture Placeholder 21">
            <a:extLst>
              <a:ext uri="{FF2B5EF4-FFF2-40B4-BE49-F238E27FC236}">
                <a16:creationId xmlns:a16="http://schemas.microsoft.com/office/drawing/2014/main" id="{F43BB7B5-481A-B416-F4FC-B8479504BEC4}"/>
              </a:ext>
            </a:extLst>
          </p:cNvPr>
          <p:cNvPicPr>
            <a:picLocks noChangeAspect="1"/>
          </p:cNvPicPr>
          <p:nvPr/>
        </p:nvPicPr>
        <p:blipFill>
          <a:blip r:embed="rId14">
            <a:lum bright="100000"/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0844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0A684FB-502B-289D-FD96-D431866F553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770E8E1-DC15-47E4-3E85-2BB456266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573BCF-C0F1-4720-B5E7-944FE630E67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11BC23-F8DF-C5F9-C99D-B36FC35C1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o gelingt die Auswahl passender Tools: </a:t>
            </a:r>
            <a:br>
              <a:rPr lang="de-DE"/>
            </a:br>
            <a:r>
              <a:rPr lang="de-DE"/>
              <a:t>Ein kompakter Überblick über bewährte Vorgehensweis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454D2F9-4CBB-BC11-896C-B7DD6668F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ie geht es weiter?</a:t>
            </a:r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E3EADD74-1BF0-3A08-C4BA-064B4E35422D}"/>
              </a:ext>
            </a:extLst>
          </p:cNvPr>
          <p:cNvGrpSpPr/>
          <p:nvPr/>
        </p:nvGrpSpPr>
        <p:grpSpPr>
          <a:xfrm>
            <a:off x="664133" y="1989138"/>
            <a:ext cx="10821981" cy="475789"/>
            <a:chOff x="673011" y="1337203"/>
            <a:chExt cx="10821981" cy="475789"/>
          </a:xfrm>
        </p:grpSpPr>
        <p:sp>
          <p:nvSpPr>
            <p:cNvPr id="11" name="Freeform 734">
              <a:extLst>
                <a:ext uri="{FF2B5EF4-FFF2-40B4-BE49-F238E27FC236}">
                  <a16:creationId xmlns:a16="http://schemas.microsoft.com/office/drawing/2014/main" id="{45BAA68A-9106-E744-9E01-2DB82A145F0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576734" y="1470313"/>
              <a:ext cx="295674" cy="389683"/>
            </a:xfrm>
            <a:custGeom>
              <a:avLst/>
              <a:gdLst>
                <a:gd name="T0" fmla="*/ 43 w 263"/>
                <a:gd name="T1" fmla="*/ 348 h 354"/>
                <a:gd name="T2" fmla="*/ 43 w 263"/>
                <a:gd name="T3" fmla="*/ 348 h 354"/>
                <a:gd name="T4" fmla="*/ 250 w 263"/>
                <a:gd name="T5" fmla="*/ 198 h 354"/>
                <a:gd name="T6" fmla="*/ 262 w 263"/>
                <a:gd name="T7" fmla="*/ 178 h 354"/>
                <a:gd name="T8" fmla="*/ 250 w 263"/>
                <a:gd name="T9" fmla="*/ 155 h 354"/>
                <a:gd name="T10" fmla="*/ 43 w 263"/>
                <a:gd name="T11" fmla="*/ 5 h 354"/>
                <a:gd name="T12" fmla="*/ 14 w 263"/>
                <a:gd name="T13" fmla="*/ 5 h 354"/>
                <a:gd name="T14" fmla="*/ 0 w 263"/>
                <a:gd name="T15" fmla="*/ 28 h 354"/>
                <a:gd name="T16" fmla="*/ 0 w 263"/>
                <a:gd name="T17" fmla="*/ 324 h 354"/>
                <a:gd name="T18" fmla="*/ 14 w 263"/>
                <a:gd name="T19" fmla="*/ 350 h 354"/>
                <a:gd name="T20" fmla="*/ 43 w 263"/>
                <a:gd name="T21" fmla="*/ 34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54">
                  <a:moveTo>
                    <a:pt x="43" y="348"/>
                  </a:moveTo>
                  <a:lnTo>
                    <a:pt x="43" y="348"/>
                  </a:lnTo>
                  <a:cubicBezTo>
                    <a:pt x="250" y="198"/>
                    <a:pt x="250" y="198"/>
                    <a:pt x="250" y="198"/>
                  </a:cubicBezTo>
                  <a:cubicBezTo>
                    <a:pt x="259" y="192"/>
                    <a:pt x="262" y="186"/>
                    <a:pt x="262" y="178"/>
                  </a:cubicBezTo>
                  <a:cubicBezTo>
                    <a:pt x="262" y="169"/>
                    <a:pt x="259" y="161"/>
                    <a:pt x="250" y="15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35" y="0"/>
                    <a:pt x="23" y="0"/>
                    <a:pt x="14" y="5"/>
                  </a:cubicBezTo>
                  <a:cubicBezTo>
                    <a:pt x="5" y="8"/>
                    <a:pt x="0" y="16"/>
                    <a:pt x="0" y="28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36"/>
                    <a:pt x="5" y="344"/>
                    <a:pt x="14" y="350"/>
                  </a:cubicBezTo>
                  <a:cubicBezTo>
                    <a:pt x="23" y="353"/>
                    <a:pt x="35" y="353"/>
                    <a:pt x="43" y="34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endParaRPr>
            </a:p>
          </p:txBody>
        </p:sp>
        <p:sp>
          <p:nvSpPr>
            <p:cNvPr id="12" name="Freeform 734">
              <a:extLst>
                <a:ext uri="{FF2B5EF4-FFF2-40B4-BE49-F238E27FC236}">
                  <a16:creationId xmlns:a16="http://schemas.microsoft.com/office/drawing/2014/main" id="{2848CA79-F0C7-967A-1BE8-CB83B04653E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936164" y="1470310"/>
              <a:ext cx="295674" cy="389683"/>
            </a:xfrm>
            <a:custGeom>
              <a:avLst/>
              <a:gdLst>
                <a:gd name="T0" fmla="*/ 43 w 263"/>
                <a:gd name="T1" fmla="*/ 348 h 354"/>
                <a:gd name="T2" fmla="*/ 43 w 263"/>
                <a:gd name="T3" fmla="*/ 348 h 354"/>
                <a:gd name="T4" fmla="*/ 250 w 263"/>
                <a:gd name="T5" fmla="*/ 198 h 354"/>
                <a:gd name="T6" fmla="*/ 262 w 263"/>
                <a:gd name="T7" fmla="*/ 178 h 354"/>
                <a:gd name="T8" fmla="*/ 250 w 263"/>
                <a:gd name="T9" fmla="*/ 155 h 354"/>
                <a:gd name="T10" fmla="*/ 43 w 263"/>
                <a:gd name="T11" fmla="*/ 5 h 354"/>
                <a:gd name="T12" fmla="*/ 14 w 263"/>
                <a:gd name="T13" fmla="*/ 5 h 354"/>
                <a:gd name="T14" fmla="*/ 0 w 263"/>
                <a:gd name="T15" fmla="*/ 28 h 354"/>
                <a:gd name="T16" fmla="*/ 0 w 263"/>
                <a:gd name="T17" fmla="*/ 324 h 354"/>
                <a:gd name="T18" fmla="*/ 14 w 263"/>
                <a:gd name="T19" fmla="*/ 350 h 354"/>
                <a:gd name="T20" fmla="*/ 43 w 263"/>
                <a:gd name="T21" fmla="*/ 34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54">
                  <a:moveTo>
                    <a:pt x="43" y="348"/>
                  </a:moveTo>
                  <a:lnTo>
                    <a:pt x="43" y="348"/>
                  </a:lnTo>
                  <a:cubicBezTo>
                    <a:pt x="250" y="198"/>
                    <a:pt x="250" y="198"/>
                    <a:pt x="250" y="198"/>
                  </a:cubicBezTo>
                  <a:cubicBezTo>
                    <a:pt x="259" y="192"/>
                    <a:pt x="262" y="186"/>
                    <a:pt x="262" y="178"/>
                  </a:cubicBezTo>
                  <a:cubicBezTo>
                    <a:pt x="262" y="169"/>
                    <a:pt x="259" y="161"/>
                    <a:pt x="250" y="15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35" y="0"/>
                    <a:pt x="23" y="0"/>
                    <a:pt x="14" y="5"/>
                  </a:cubicBezTo>
                  <a:cubicBezTo>
                    <a:pt x="5" y="8"/>
                    <a:pt x="0" y="16"/>
                    <a:pt x="0" y="28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36"/>
                    <a:pt x="5" y="344"/>
                    <a:pt x="14" y="350"/>
                  </a:cubicBezTo>
                  <a:cubicBezTo>
                    <a:pt x="23" y="353"/>
                    <a:pt x="35" y="353"/>
                    <a:pt x="43" y="34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endParaRPr>
            </a:p>
          </p:txBody>
        </p:sp>
        <p:sp>
          <p:nvSpPr>
            <p:cNvPr id="13" name="Freeform 734">
              <a:extLst>
                <a:ext uri="{FF2B5EF4-FFF2-40B4-BE49-F238E27FC236}">
                  <a16:creationId xmlns:a16="http://schemas.microsoft.com/office/drawing/2014/main" id="{D8CC9479-0D5F-7CBF-BD20-DC4EE74E00B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8115880" y="1470313"/>
              <a:ext cx="295674" cy="389683"/>
            </a:xfrm>
            <a:custGeom>
              <a:avLst/>
              <a:gdLst>
                <a:gd name="T0" fmla="*/ 43 w 263"/>
                <a:gd name="T1" fmla="*/ 348 h 354"/>
                <a:gd name="T2" fmla="*/ 43 w 263"/>
                <a:gd name="T3" fmla="*/ 348 h 354"/>
                <a:gd name="T4" fmla="*/ 250 w 263"/>
                <a:gd name="T5" fmla="*/ 198 h 354"/>
                <a:gd name="T6" fmla="*/ 262 w 263"/>
                <a:gd name="T7" fmla="*/ 178 h 354"/>
                <a:gd name="T8" fmla="*/ 250 w 263"/>
                <a:gd name="T9" fmla="*/ 155 h 354"/>
                <a:gd name="T10" fmla="*/ 43 w 263"/>
                <a:gd name="T11" fmla="*/ 5 h 354"/>
                <a:gd name="T12" fmla="*/ 14 w 263"/>
                <a:gd name="T13" fmla="*/ 5 h 354"/>
                <a:gd name="T14" fmla="*/ 0 w 263"/>
                <a:gd name="T15" fmla="*/ 28 h 354"/>
                <a:gd name="T16" fmla="*/ 0 w 263"/>
                <a:gd name="T17" fmla="*/ 324 h 354"/>
                <a:gd name="T18" fmla="*/ 14 w 263"/>
                <a:gd name="T19" fmla="*/ 350 h 354"/>
                <a:gd name="T20" fmla="*/ 43 w 263"/>
                <a:gd name="T21" fmla="*/ 34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54">
                  <a:moveTo>
                    <a:pt x="43" y="348"/>
                  </a:moveTo>
                  <a:lnTo>
                    <a:pt x="43" y="348"/>
                  </a:lnTo>
                  <a:cubicBezTo>
                    <a:pt x="250" y="198"/>
                    <a:pt x="250" y="198"/>
                    <a:pt x="250" y="198"/>
                  </a:cubicBezTo>
                  <a:cubicBezTo>
                    <a:pt x="259" y="192"/>
                    <a:pt x="262" y="186"/>
                    <a:pt x="262" y="178"/>
                  </a:cubicBezTo>
                  <a:cubicBezTo>
                    <a:pt x="262" y="169"/>
                    <a:pt x="259" y="161"/>
                    <a:pt x="250" y="15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35" y="0"/>
                    <a:pt x="23" y="0"/>
                    <a:pt x="14" y="5"/>
                  </a:cubicBezTo>
                  <a:cubicBezTo>
                    <a:pt x="5" y="8"/>
                    <a:pt x="0" y="16"/>
                    <a:pt x="0" y="28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36"/>
                    <a:pt x="5" y="344"/>
                    <a:pt x="14" y="350"/>
                  </a:cubicBezTo>
                  <a:cubicBezTo>
                    <a:pt x="23" y="353"/>
                    <a:pt x="35" y="353"/>
                    <a:pt x="43" y="34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endParaRPr>
            </a:p>
          </p:txBody>
        </p:sp>
        <p:sp>
          <p:nvSpPr>
            <p:cNvPr id="14" name="Freeform 734">
              <a:extLst>
                <a:ext uri="{FF2B5EF4-FFF2-40B4-BE49-F238E27FC236}">
                  <a16:creationId xmlns:a16="http://schemas.microsoft.com/office/drawing/2014/main" id="{FAA53C5C-CF88-598F-4C60-1B7F21BDC50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3756449" y="1470311"/>
              <a:ext cx="295674" cy="389683"/>
            </a:xfrm>
            <a:custGeom>
              <a:avLst/>
              <a:gdLst>
                <a:gd name="T0" fmla="*/ 43 w 263"/>
                <a:gd name="T1" fmla="*/ 348 h 354"/>
                <a:gd name="T2" fmla="*/ 43 w 263"/>
                <a:gd name="T3" fmla="*/ 348 h 354"/>
                <a:gd name="T4" fmla="*/ 250 w 263"/>
                <a:gd name="T5" fmla="*/ 198 h 354"/>
                <a:gd name="T6" fmla="*/ 262 w 263"/>
                <a:gd name="T7" fmla="*/ 178 h 354"/>
                <a:gd name="T8" fmla="*/ 250 w 263"/>
                <a:gd name="T9" fmla="*/ 155 h 354"/>
                <a:gd name="T10" fmla="*/ 43 w 263"/>
                <a:gd name="T11" fmla="*/ 5 h 354"/>
                <a:gd name="T12" fmla="*/ 14 w 263"/>
                <a:gd name="T13" fmla="*/ 5 h 354"/>
                <a:gd name="T14" fmla="*/ 0 w 263"/>
                <a:gd name="T15" fmla="*/ 28 h 354"/>
                <a:gd name="T16" fmla="*/ 0 w 263"/>
                <a:gd name="T17" fmla="*/ 324 h 354"/>
                <a:gd name="T18" fmla="*/ 14 w 263"/>
                <a:gd name="T19" fmla="*/ 350 h 354"/>
                <a:gd name="T20" fmla="*/ 43 w 263"/>
                <a:gd name="T21" fmla="*/ 34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54">
                  <a:moveTo>
                    <a:pt x="43" y="348"/>
                  </a:moveTo>
                  <a:lnTo>
                    <a:pt x="43" y="348"/>
                  </a:lnTo>
                  <a:cubicBezTo>
                    <a:pt x="250" y="198"/>
                    <a:pt x="250" y="198"/>
                    <a:pt x="250" y="198"/>
                  </a:cubicBezTo>
                  <a:cubicBezTo>
                    <a:pt x="259" y="192"/>
                    <a:pt x="262" y="186"/>
                    <a:pt x="262" y="178"/>
                  </a:cubicBezTo>
                  <a:cubicBezTo>
                    <a:pt x="262" y="169"/>
                    <a:pt x="259" y="161"/>
                    <a:pt x="250" y="15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35" y="0"/>
                    <a:pt x="23" y="0"/>
                    <a:pt x="14" y="5"/>
                  </a:cubicBezTo>
                  <a:cubicBezTo>
                    <a:pt x="5" y="8"/>
                    <a:pt x="0" y="16"/>
                    <a:pt x="0" y="28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36"/>
                    <a:pt x="5" y="344"/>
                    <a:pt x="14" y="350"/>
                  </a:cubicBezTo>
                  <a:cubicBezTo>
                    <a:pt x="23" y="353"/>
                    <a:pt x="35" y="353"/>
                    <a:pt x="43" y="34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endParaRPr>
            </a:p>
          </p:txBody>
        </p:sp>
        <p:sp>
          <p:nvSpPr>
            <p:cNvPr id="15" name="Freeform 734">
              <a:extLst>
                <a:ext uri="{FF2B5EF4-FFF2-40B4-BE49-F238E27FC236}">
                  <a16:creationId xmlns:a16="http://schemas.microsoft.com/office/drawing/2014/main" id="{737340EC-A808-7B44-AFAF-1098ACFD685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10295595" y="1470311"/>
              <a:ext cx="295674" cy="389683"/>
            </a:xfrm>
            <a:custGeom>
              <a:avLst/>
              <a:gdLst>
                <a:gd name="T0" fmla="*/ 43 w 263"/>
                <a:gd name="T1" fmla="*/ 348 h 354"/>
                <a:gd name="T2" fmla="*/ 43 w 263"/>
                <a:gd name="T3" fmla="*/ 348 h 354"/>
                <a:gd name="T4" fmla="*/ 250 w 263"/>
                <a:gd name="T5" fmla="*/ 198 h 354"/>
                <a:gd name="T6" fmla="*/ 262 w 263"/>
                <a:gd name="T7" fmla="*/ 178 h 354"/>
                <a:gd name="T8" fmla="*/ 250 w 263"/>
                <a:gd name="T9" fmla="*/ 155 h 354"/>
                <a:gd name="T10" fmla="*/ 43 w 263"/>
                <a:gd name="T11" fmla="*/ 5 h 354"/>
                <a:gd name="T12" fmla="*/ 14 w 263"/>
                <a:gd name="T13" fmla="*/ 5 h 354"/>
                <a:gd name="T14" fmla="*/ 0 w 263"/>
                <a:gd name="T15" fmla="*/ 28 h 354"/>
                <a:gd name="T16" fmla="*/ 0 w 263"/>
                <a:gd name="T17" fmla="*/ 324 h 354"/>
                <a:gd name="T18" fmla="*/ 14 w 263"/>
                <a:gd name="T19" fmla="*/ 350 h 354"/>
                <a:gd name="T20" fmla="*/ 43 w 263"/>
                <a:gd name="T21" fmla="*/ 34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3" h="354">
                  <a:moveTo>
                    <a:pt x="43" y="348"/>
                  </a:moveTo>
                  <a:lnTo>
                    <a:pt x="43" y="348"/>
                  </a:lnTo>
                  <a:cubicBezTo>
                    <a:pt x="250" y="198"/>
                    <a:pt x="250" y="198"/>
                    <a:pt x="250" y="198"/>
                  </a:cubicBezTo>
                  <a:cubicBezTo>
                    <a:pt x="259" y="192"/>
                    <a:pt x="262" y="186"/>
                    <a:pt x="262" y="178"/>
                  </a:cubicBezTo>
                  <a:cubicBezTo>
                    <a:pt x="262" y="169"/>
                    <a:pt x="259" y="161"/>
                    <a:pt x="250" y="15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35" y="0"/>
                    <a:pt x="23" y="0"/>
                    <a:pt x="14" y="5"/>
                  </a:cubicBezTo>
                  <a:cubicBezTo>
                    <a:pt x="5" y="8"/>
                    <a:pt x="0" y="16"/>
                    <a:pt x="0" y="28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36"/>
                    <a:pt x="5" y="344"/>
                    <a:pt x="14" y="350"/>
                  </a:cubicBezTo>
                  <a:cubicBezTo>
                    <a:pt x="23" y="353"/>
                    <a:pt x="35" y="353"/>
                    <a:pt x="43" y="348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endParaRPr>
            </a:p>
          </p:txBody>
        </p:sp>
        <p:sp>
          <p:nvSpPr>
            <p:cNvPr id="16" name="Round Same Side Corner Rectangle 23">
              <a:extLst>
                <a:ext uri="{FF2B5EF4-FFF2-40B4-BE49-F238E27FC236}">
                  <a16:creationId xmlns:a16="http://schemas.microsoft.com/office/drawing/2014/main" id="{8BB65B38-BACC-1A43-C958-D008F88E5A70}"/>
                </a:ext>
              </a:extLst>
            </p:cNvPr>
            <p:cNvSpPr/>
            <p:nvPr/>
          </p:nvSpPr>
          <p:spPr>
            <a:xfrm rot="16200000" flipH="1">
              <a:off x="1558461" y="451756"/>
              <a:ext cx="332219" cy="210312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Überblick Softwareangebot</a:t>
              </a:r>
            </a:p>
          </p:txBody>
        </p:sp>
        <p:sp>
          <p:nvSpPr>
            <p:cNvPr id="17" name="Rectangle 25">
              <a:extLst>
                <a:ext uri="{FF2B5EF4-FFF2-40B4-BE49-F238E27FC236}">
                  <a16:creationId xmlns:a16="http://schemas.microsoft.com/office/drawing/2014/main" id="{AC52EFCD-666E-BF31-29C1-5A2CB6E14F9E}"/>
                </a:ext>
              </a:extLst>
            </p:cNvPr>
            <p:cNvSpPr/>
            <p:nvPr/>
          </p:nvSpPr>
          <p:spPr>
            <a:xfrm>
              <a:off x="5032441" y="1337203"/>
              <a:ext cx="2103120" cy="3322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Angebotsabgabe</a:t>
              </a:r>
            </a:p>
          </p:txBody>
        </p:sp>
        <p:sp>
          <p:nvSpPr>
            <p:cNvPr id="18" name="Rectangle 26">
              <a:extLst>
                <a:ext uri="{FF2B5EF4-FFF2-40B4-BE49-F238E27FC236}">
                  <a16:creationId xmlns:a16="http://schemas.microsoft.com/office/drawing/2014/main" id="{353FF4B4-3739-D68D-5E47-96ABFF06FD79}"/>
                </a:ext>
              </a:extLst>
            </p:cNvPr>
            <p:cNvSpPr/>
            <p:nvPr/>
          </p:nvSpPr>
          <p:spPr>
            <a:xfrm>
              <a:off x="7212156" y="1337205"/>
              <a:ext cx="2103120" cy="3322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Bewertung Anbieter</a:t>
              </a:r>
            </a:p>
          </p:txBody>
        </p:sp>
        <p:sp>
          <p:nvSpPr>
            <p:cNvPr id="19" name="Rectangle 8">
              <a:extLst>
                <a:ext uri="{FF2B5EF4-FFF2-40B4-BE49-F238E27FC236}">
                  <a16:creationId xmlns:a16="http://schemas.microsoft.com/office/drawing/2014/main" id="{DBEDBFA4-1B40-B785-0971-8B428928410A}"/>
                </a:ext>
              </a:extLst>
            </p:cNvPr>
            <p:cNvSpPr/>
            <p:nvPr/>
          </p:nvSpPr>
          <p:spPr>
            <a:xfrm>
              <a:off x="2852726" y="1337204"/>
              <a:ext cx="2103120" cy="3322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nforderungserstellung</a:t>
              </a:r>
            </a:p>
          </p:txBody>
        </p:sp>
        <p:sp>
          <p:nvSpPr>
            <p:cNvPr id="20" name="Round Same Side Corner Rectangle 6">
              <a:extLst>
                <a:ext uri="{FF2B5EF4-FFF2-40B4-BE49-F238E27FC236}">
                  <a16:creationId xmlns:a16="http://schemas.microsoft.com/office/drawing/2014/main" id="{25B7C36F-767F-F64A-392F-96FFFBF535A5}"/>
                </a:ext>
              </a:extLst>
            </p:cNvPr>
            <p:cNvSpPr/>
            <p:nvPr/>
          </p:nvSpPr>
          <p:spPr>
            <a:xfrm rot="5400000">
              <a:off x="10277322" y="451755"/>
              <a:ext cx="332220" cy="210312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uswahl Anbieter</a:t>
              </a:r>
            </a:p>
          </p:txBody>
        </p:sp>
      </p:grpSp>
      <p:sp>
        <p:nvSpPr>
          <p:cNvPr id="21" name="Rectangle: Rounded Corners 16">
            <a:extLst>
              <a:ext uri="{FF2B5EF4-FFF2-40B4-BE49-F238E27FC236}">
                <a16:creationId xmlns:a16="http://schemas.microsoft.com/office/drawing/2014/main" id="{0D78B3D8-21BF-0FB9-87A4-730A260EC33D}"/>
              </a:ext>
            </a:extLst>
          </p:cNvPr>
          <p:cNvSpPr/>
          <p:nvPr/>
        </p:nvSpPr>
        <p:spPr>
          <a:xfrm>
            <a:off x="664133" y="3662117"/>
            <a:ext cx="2103120" cy="1300771"/>
          </a:xfrm>
          <a:prstGeom prst="roundRect">
            <a:avLst>
              <a:gd name="adj" fmla="val 8963"/>
            </a:avLst>
          </a:prstGeom>
          <a:solidFill>
            <a:schemeClr val="accent1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lIns="0" tIns="0" rIns="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Open Sans Light" panose="020B0306030504020204" pitchFamily="34" charset="0"/>
                <a:cs typeface="Lato Light"/>
              </a:rPr>
              <a:t>Profile von Lösungsanbieter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</p:txBody>
      </p:sp>
      <p:sp>
        <p:nvSpPr>
          <p:cNvPr id="22" name="Rectangle: Rounded Corners 17">
            <a:extLst>
              <a:ext uri="{FF2B5EF4-FFF2-40B4-BE49-F238E27FC236}">
                <a16:creationId xmlns:a16="http://schemas.microsoft.com/office/drawing/2014/main" id="{9121A000-1453-B5E0-095F-AB5ACCDF3ED7}"/>
              </a:ext>
            </a:extLst>
          </p:cNvPr>
          <p:cNvSpPr/>
          <p:nvPr/>
        </p:nvSpPr>
        <p:spPr>
          <a:xfrm>
            <a:off x="9382994" y="3662117"/>
            <a:ext cx="2103120" cy="1300771"/>
          </a:xfrm>
          <a:prstGeom prst="roundRect">
            <a:avLst>
              <a:gd name="adj" fmla="val 8963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lIns="0" tIns="0" rIns="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Open Sans Light" panose="020B0306030504020204" pitchFamily="34" charset="0"/>
                <a:cs typeface="Lato Light"/>
              </a:rPr>
              <a:t>Trade-Off Dashboar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</p:txBody>
      </p:sp>
      <p:sp>
        <p:nvSpPr>
          <p:cNvPr id="23" name="Rectangle: Rounded Corners 18">
            <a:extLst>
              <a:ext uri="{FF2B5EF4-FFF2-40B4-BE49-F238E27FC236}">
                <a16:creationId xmlns:a16="http://schemas.microsoft.com/office/drawing/2014/main" id="{D45640BE-AC64-BE29-7914-47298472EA58}"/>
              </a:ext>
            </a:extLst>
          </p:cNvPr>
          <p:cNvSpPr/>
          <p:nvPr/>
        </p:nvSpPr>
        <p:spPr>
          <a:xfrm>
            <a:off x="7203277" y="3662117"/>
            <a:ext cx="2103120" cy="1300771"/>
          </a:xfrm>
          <a:prstGeom prst="roundRect">
            <a:avLst>
              <a:gd name="adj" fmla="val 8560"/>
            </a:avLst>
          </a:prstGeom>
          <a:solidFill>
            <a:schemeClr val="bg2">
              <a:lumMod val="95000"/>
            </a:schemeClr>
          </a:solidFill>
          <a:ln w="9525" cap="flat">
            <a:noFill/>
            <a:prstDash val="solid"/>
            <a:miter/>
          </a:ln>
        </p:spPr>
        <p:txBody>
          <a:bodyPr lIns="0" tIns="0" rIns="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Open Sans Light" panose="020B0306030504020204" pitchFamily="34" charset="0"/>
                <a:cs typeface="Lato Light"/>
              </a:rPr>
              <a:t>Anforderungserfüllungsanalyse</a:t>
            </a:r>
          </a:p>
        </p:txBody>
      </p:sp>
      <p:sp>
        <p:nvSpPr>
          <p:cNvPr id="24" name="Rectangle: Rounded Corners 19">
            <a:extLst>
              <a:ext uri="{FF2B5EF4-FFF2-40B4-BE49-F238E27FC236}">
                <a16:creationId xmlns:a16="http://schemas.microsoft.com/office/drawing/2014/main" id="{DBCFD96F-7A03-351D-4130-47ABB51BC798}"/>
              </a:ext>
            </a:extLst>
          </p:cNvPr>
          <p:cNvSpPr/>
          <p:nvPr/>
        </p:nvSpPr>
        <p:spPr>
          <a:xfrm>
            <a:off x="5023563" y="3662117"/>
            <a:ext cx="2103120" cy="1300771"/>
          </a:xfrm>
          <a:prstGeom prst="roundRect">
            <a:avLst>
              <a:gd name="adj" fmla="val 7709"/>
            </a:avLst>
          </a:prstGeom>
          <a:solidFill>
            <a:schemeClr val="accent3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lIns="0" tIns="0" rIns="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Open Sans Light" panose="020B0306030504020204" pitchFamily="34" charset="0"/>
                <a:cs typeface="Lato Light"/>
              </a:rPr>
              <a:t>RFI &amp; RFP-Story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 Light"/>
              <a:ea typeface="Open Sans Light" panose="020B0306030504020204" pitchFamily="34" charset="0"/>
              <a:cs typeface="Lato Light"/>
            </a:endParaRPr>
          </a:p>
        </p:txBody>
      </p:sp>
      <p:sp>
        <p:nvSpPr>
          <p:cNvPr id="25" name="TextBox 21">
            <a:extLst>
              <a:ext uri="{FF2B5EF4-FFF2-40B4-BE49-F238E27FC236}">
                <a16:creationId xmlns:a16="http://schemas.microsoft.com/office/drawing/2014/main" id="{3E4FF347-B642-CB15-55BC-2EAF5B14FC62}"/>
              </a:ext>
            </a:extLst>
          </p:cNvPr>
          <p:cNvSpPr txBox="1"/>
          <p:nvPr/>
        </p:nvSpPr>
        <p:spPr>
          <a:xfrm>
            <a:off x="664133" y="2474000"/>
            <a:ext cx="2103120" cy="833163"/>
          </a:xfrm>
          <a:prstGeom prst="rect">
            <a:avLst/>
          </a:prstGeom>
          <a:noFill/>
        </p:spPr>
        <p:txBody>
          <a:bodyPr wrap="square" lIns="36000" tIns="46800" rIns="36000" bIns="468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Verständnis Positionierung der Anbieter, Alleinstellungs-merkmale und Potenziale als Softwarepartner.</a:t>
            </a:r>
          </a:p>
        </p:txBody>
      </p:sp>
      <p:sp>
        <p:nvSpPr>
          <p:cNvPr id="26" name="TextBox 21">
            <a:extLst>
              <a:ext uri="{FF2B5EF4-FFF2-40B4-BE49-F238E27FC236}">
                <a16:creationId xmlns:a16="http://schemas.microsoft.com/office/drawing/2014/main" id="{B41393A5-12B3-2D3C-723E-375A69397EF1}"/>
              </a:ext>
            </a:extLst>
          </p:cNvPr>
          <p:cNvSpPr txBox="1"/>
          <p:nvPr/>
        </p:nvSpPr>
        <p:spPr>
          <a:xfrm>
            <a:off x="9382994" y="2474000"/>
            <a:ext cx="2103120" cy="833163"/>
          </a:xfrm>
          <a:prstGeom prst="rect">
            <a:avLst/>
          </a:prstGeom>
          <a:noFill/>
        </p:spPr>
        <p:txBody>
          <a:bodyPr wrap="square" lIns="36000" tIns="46800" rIns="36000" bIns="468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Quantifizierung des Mehrwerts jeder Lösungsalternative und Priorisierung</a:t>
            </a:r>
          </a:p>
        </p:txBody>
      </p:sp>
      <p:sp>
        <p:nvSpPr>
          <p:cNvPr id="27" name="TextBox 22">
            <a:extLst>
              <a:ext uri="{FF2B5EF4-FFF2-40B4-BE49-F238E27FC236}">
                <a16:creationId xmlns:a16="http://schemas.microsoft.com/office/drawing/2014/main" id="{3DB5AD2D-9526-9749-5E62-B3918EAF476E}"/>
              </a:ext>
            </a:extLst>
          </p:cNvPr>
          <p:cNvSpPr txBox="1"/>
          <p:nvPr/>
        </p:nvSpPr>
        <p:spPr>
          <a:xfrm>
            <a:off x="7203277" y="2474000"/>
            <a:ext cx="2103120" cy="833163"/>
          </a:xfrm>
          <a:prstGeom prst="rect">
            <a:avLst/>
          </a:prstGeom>
          <a:noFill/>
        </p:spPr>
        <p:txBody>
          <a:bodyPr wrap="square" lIns="36000" tIns="46800" rIns="36000" bIns="468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Vergleich der Angebote hinsichtlich Vor- und Nachteile</a:t>
            </a:r>
          </a:p>
        </p:txBody>
      </p:sp>
      <p:sp>
        <p:nvSpPr>
          <p:cNvPr id="28" name="TextBox 21">
            <a:extLst>
              <a:ext uri="{FF2B5EF4-FFF2-40B4-BE49-F238E27FC236}">
                <a16:creationId xmlns:a16="http://schemas.microsoft.com/office/drawing/2014/main" id="{36AD339A-696B-5AF0-9957-2B0648766A73}"/>
              </a:ext>
            </a:extLst>
          </p:cNvPr>
          <p:cNvSpPr txBox="1"/>
          <p:nvPr/>
        </p:nvSpPr>
        <p:spPr>
          <a:xfrm>
            <a:off x="5023563" y="2474000"/>
            <a:ext cx="2103120" cy="833163"/>
          </a:xfrm>
          <a:prstGeom prst="rect">
            <a:avLst/>
          </a:prstGeom>
          <a:noFill/>
        </p:spPr>
        <p:txBody>
          <a:bodyPr wrap="square" lIns="36000" tIns="46800" rIns="36000" bIns="468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Anforderungen hinsichtlich Systemfunktionen an potenzielle Anbieter übergeben</a:t>
            </a: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953EB149-17DB-1257-16C4-A212C5129A14}"/>
              </a:ext>
            </a:extLst>
          </p:cNvPr>
          <p:cNvSpPr txBox="1"/>
          <p:nvPr/>
        </p:nvSpPr>
        <p:spPr>
          <a:xfrm>
            <a:off x="2843848" y="2474000"/>
            <a:ext cx="2103120" cy="833163"/>
          </a:xfrm>
          <a:prstGeom prst="rect">
            <a:avLst/>
          </a:prstGeom>
          <a:noFill/>
        </p:spPr>
        <p:txBody>
          <a:bodyPr wrap="square" lIns="36000" tIns="46800" rIns="36000" bIns="468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Übersetzung des Zielplanungs-prozess in einen umfassenden Anforderungskatalog</a:t>
            </a:r>
          </a:p>
        </p:txBody>
      </p:sp>
      <p:sp>
        <p:nvSpPr>
          <p:cNvPr id="30" name="Rectangle: Rounded Corners 25">
            <a:extLst>
              <a:ext uri="{FF2B5EF4-FFF2-40B4-BE49-F238E27FC236}">
                <a16:creationId xmlns:a16="http://schemas.microsoft.com/office/drawing/2014/main" id="{8A90ACE1-7FB2-917B-D0EF-1C9C162F8D6B}"/>
              </a:ext>
            </a:extLst>
          </p:cNvPr>
          <p:cNvSpPr/>
          <p:nvPr/>
        </p:nvSpPr>
        <p:spPr>
          <a:xfrm>
            <a:off x="2843848" y="3662117"/>
            <a:ext cx="2103120" cy="1300771"/>
          </a:xfrm>
          <a:prstGeom prst="roundRect">
            <a:avLst>
              <a:gd name="adj" fmla="val 8963"/>
            </a:avLst>
          </a:prstGeom>
          <a:solidFill>
            <a:schemeClr val="accent2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lIns="0" tIns="0" rIns="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Light"/>
                <a:ea typeface="Open Sans Light" panose="020B0306030504020204" pitchFamily="34" charset="0"/>
                <a:cs typeface="Lato Light"/>
              </a:rPr>
              <a:t>Anforderungskataloge</a:t>
            </a:r>
          </a:p>
        </p:txBody>
      </p:sp>
      <p:grpSp>
        <p:nvGrpSpPr>
          <p:cNvPr id="46" name="Group 41">
            <a:extLst>
              <a:ext uri="{FF2B5EF4-FFF2-40B4-BE49-F238E27FC236}">
                <a16:creationId xmlns:a16="http://schemas.microsoft.com/office/drawing/2014/main" id="{6E474222-3142-88B8-9CBE-ADABA58541F4}"/>
              </a:ext>
            </a:extLst>
          </p:cNvPr>
          <p:cNvGrpSpPr>
            <a:grpSpLocks noChangeAspect="1"/>
          </p:cNvGrpSpPr>
          <p:nvPr/>
        </p:nvGrpSpPr>
        <p:grpSpPr>
          <a:xfrm>
            <a:off x="3607998" y="4021549"/>
            <a:ext cx="574817" cy="574817"/>
            <a:chOff x="4032033" y="2888999"/>
            <a:chExt cx="1080000" cy="1080000"/>
          </a:xfrm>
          <a:solidFill>
            <a:schemeClr val="accent2"/>
          </a:solidFill>
        </p:grpSpPr>
        <p:sp>
          <p:nvSpPr>
            <p:cNvPr id="59" name="Frame 54">
              <a:extLst>
                <a:ext uri="{FF2B5EF4-FFF2-40B4-BE49-F238E27FC236}">
                  <a16:creationId xmlns:a16="http://schemas.microsoft.com/office/drawing/2014/main" id="{E91F27CE-F0B4-52F0-465C-BB30CDAB19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32033" y="2888999"/>
              <a:ext cx="1080000" cy="1080000"/>
            </a:xfrm>
            <a:prstGeom prst="frame">
              <a:avLst>
                <a:gd name="adj1" fmla="val 0"/>
              </a:avLst>
            </a:prstGeom>
            <a:grpFill/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:a16="http://schemas.microsoft.com/office/drawing/2014/main" id="{DAA3808D-D800-0DA3-4227-A5494C3D4E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07289" y="2921270"/>
              <a:ext cx="729487" cy="1015458"/>
            </a:xfrm>
            <a:custGeom>
              <a:avLst/>
              <a:gdLst>
                <a:gd name="connsiteX0" fmla="*/ 719328 w 729487"/>
                <a:gd name="connsiteY0" fmla="*/ 138786 h 1015458"/>
                <a:gd name="connsiteX1" fmla="*/ 590262 w 729487"/>
                <a:gd name="connsiteY1" fmla="*/ 138786 h 1015458"/>
                <a:gd name="connsiteX2" fmla="*/ 590262 w 729487"/>
                <a:gd name="connsiteY2" fmla="*/ 159106 h 1015458"/>
                <a:gd name="connsiteX3" fmla="*/ 709168 w 729487"/>
                <a:gd name="connsiteY3" fmla="*/ 159106 h 1015458"/>
                <a:gd name="connsiteX4" fmla="*/ 709168 w 729487"/>
                <a:gd name="connsiteY4" fmla="*/ 995138 h 1015458"/>
                <a:gd name="connsiteX5" fmla="*/ 20252 w 729487"/>
                <a:gd name="connsiteY5" fmla="*/ 995138 h 1015458"/>
                <a:gd name="connsiteX6" fmla="*/ 20252 w 729487"/>
                <a:gd name="connsiteY6" fmla="*/ 159106 h 1015458"/>
                <a:gd name="connsiteX7" fmla="*/ 189586 w 729487"/>
                <a:gd name="connsiteY7" fmla="*/ 159106 h 1015458"/>
                <a:gd name="connsiteX8" fmla="*/ 189586 w 729487"/>
                <a:gd name="connsiteY8" fmla="*/ 213089 h 1015458"/>
                <a:gd name="connsiteX9" fmla="*/ 199746 w 729487"/>
                <a:gd name="connsiteY9" fmla="*/ 223249 h 1015458"/>
                <a:gd name="connsiteX10" fmla="*/ 529539 w 729487"/>
                <a:gd name="connsiteY10" fmla="*/ 223249 h 1015458"/>
                <a:gd name="connsiteX11" fmla="*/ 539699 w 729487"/>
                <a:gd name="connsiteY11" fmla="*/ 213089 h 1015458"/>
                <a:gd name="connsiteX12" fmla="*/ 539699 w 729487"/>
                <a:gd name="connsiteY12" fmla="*/ 84565 h 1015458"/>
                <a:gd name="connsiteX13" fmla="*/ 529539 w 729487"/>
                <a:gd name="connsiteY13" fmla="*/ 74405 h 1015458"/>
                <a:gd name="connsiteX14" fmla="*/ 463499 w 729487"/>
                <a:gd name="connsiteY14" fmla="*/ 74405 h 1015458"/>
                <a:gd name="connsiteX15" fmla="*/ 364710 w 729487"/>
                <a:gd name="connsiteY15" fmla="*/ 0 h 1015458"/>
                <a:gd name="connsiteX16" fmla="*/ 265921 w 729487"/>
                <a:gd name="connsiteY16" fmla="*/ 74507 h 1015458"/>
                <a:gd name="connsiteX17" fmla="*/ 199813 w 729487"/>
                <a:gd name="connsiteY17" fmla="*/ 74507 h 1015458"/>
                <a:gd name="connsiteX18" fmla="*/ 189653 w 729487"/>
                <a:gd name="connsiteY18" fmla="*/ 84667 h 1015458"/>
                <a:gd name="connsiteX19" fmla="*/ 189653 w 729487"/>
                <a:gd name="connsiteY19" fmla="*/ 138853 h 1015458"/>
                <a:gd name="connsiteX20" fmla="*/ 10160 w 729487"/>
                <a:gd name="connsiteY20" fmla="*/ 138853 h 1015458"/>
                <a:gd name="connsiteX21" fmla="*/ 0 w 729487"/>
                <a:gd name="connsiteY21" fmla="*/ 149013 h 1015458"/>
                <a:gd name="connsiteX22" fmla="*/ 0 w 729487"/>
                <a:gd name="connsiteY22" fmla="*/ 1005298 h 1015458"/>
                <a:gd name="connsiteX23" fmla="*/ 10160 w 729487"/>
                <a:gd name="connsiteY23" fmla="*/ 1015458 h 1015458"/>
                <a:gd name="connsiteX24" fmla="*/ 719328 w 729487"/>
                <a:gd name="connsiteY24" fmla="*/ 1015458 h 1015458"/>
                <a:gd name="connsiteX25" fmla="*/ 729488 w 729487"/>
                <a:gd name="connsiteY25" fmla="*/ 1005298 h 1015458"/>
                <a:gd name="connsiteX26" fmla="*/ 729488 w 729487"/>
                <a:gd name="connsiteY26" fmla="*/ 148946 h 1015458"/>
                <a:gd name="connsiteX27" fmla="*/ 719328 w 729487"/>
                <a:gd name="connsiteY27" fmla="*/ 138786 h 1015458"/>
                <a:gd name="connsiteX28" fmla="*/ 209973 w 729487"/>
                <a:gd name="connsiteY28" fmla="*/ 94759 h 1015458"/>
                <a:gd name="connsiteX29" fmla="*/ 275336 w 729487"/>
                <a:gd name="connsiteY29" fmla="*/ 94759 h 1015458"/>
                <a:gd name="connsiteX30" fmla="*/ 285496 w 729487"/>
                <a:gd name="connsiteY30" fmla="*/ 84599 h 1015458"/>
                <a:gd name="connsiteX31" fmla="*/ 364710 w 729487"/>
                <a:gd name="connsiteY31" fmla="*/ 20252 h 1015458"/>
                <a:gd name="connsiteX32" fmla="*/ 443924 w 729487"/>
                <a:gd name="connsiteY32" fmla="*/ 84599 h 1015458"/>
                <a:gd name="connsiteX33" fmla="*/ 454084 w 729487"/>
                <a:gd name="connsiteY33" fmla="*/ 94759 h 1015458"/>
                <a:gd name="connsiteX34" fmla="*/ 519447 w 729487"/>
                <a:gd name="connsiteY34" fmla="*/ 94759 h 1015458"/>
                <a:gd name="connsiteX35" fmla="*/ 519447 w 729487"/>
                <a:gd name="connsiteY35" fmla="*/ 202929 h 1015458"/>
                <a:gd name="connsiteX36" fmla="*/ 209973 w 729487"/>
                <a:gd name="connsiteY36" fmla="*/ 202929 h 1015458"/>
                <a:gd name="connsiteX37" fmla="*/ 604723 w 729487"/>
                <a:gd name="connsiteY37" fmla="*/ 345779 h 1015458"/>
                <a:gd name="connsiteX38" fmla="*/ 313910 w 729487"/>
                <a:gd name="connsiteY38" fmla="*/ 345779 h 1015458"/>
                <a:gd name="connsiteX39" fmla="*/ 313910 w 729487"/>
                <a:gd name="connsiteY39" fmla="*/ 325459 h 1015458"/>
                <a:gd name="connsiteX40" fmla="*/ 604656 w 729487"/>
                <a:gd name="connsiteY40" fmla="*/ 325459 h 1015458"/>
                <a:gd name="connsiteX41" fmla="*/ 604723 w 729487"/>
                <a:gd name="connsiteY41" fmla="*/ 437219 h 1015458"/>
                <a:gd name="connsiteX42" fmla="*/ 313910 w 729487"/>
                <a:gd name="connsiteY42" fmla="*/ 437219 h 1015458"/>
                <a:gd name="connsiteX43" fmla="*/ 313910 w 729487"/>
                <a:gd name="connsiteY43" fmla="*/ 416899 h 1015458"/>
                <a:gd name="connsiteX44" fmla="*/ 604656 w 729487"/>
                <a:gd name="connsiteY44" fmla="*/ 416899 h 1015458"/>
                <a:gd name="connsiteX45" fmla="*/ 244687 w 729487"/>
                <a:gd name="connsiteY45" fmla="*/ 325459 h 1015458"/>
                <a:gd name="connsiteX46" fmla="*/ 234527 w 729487"/>
                <a:gd name="connsiteY46" fmla="*/ 315299 h 1015458"/>
                <a:gd name="connsiteX47" fmla="*/ 112844 w 729487"/>
                <a:gd name="connsiteY47" fmla="*/ 315299 h 1015458"/>
                <a:gd name="connsiteX48" fmla="*/ 102684 w 729487"/>
                <a:gd name="connsiteY48" fmla="*/ 325459 h 1015458"/>
                <a:gd name="connsiteX49" fmla="*/ 102684 w 729487"/>
                <a:gd name="connsiteY49" fmla="*/ 447175 h 1015458"/>
                <a:gd name="connsiteX50" fmla="*/ 112844 w 729487"/>
                <a:gd name="connsiteY50" fmla="*/ 457335 h 1015458"/>
                <a:gd name="connsiteX51" fmla="*/ 234527 w 729487"/>
                <a:gd name="connsiteY51" fmla="*/ 457335 h 1015458"/>
                <a:gd name="connsiteX52" fmla="*/ 244687 w 729487"/>
                <a:gd name="connsiteY52" fmla="*/ 447175 h 1015458"/>
                <a:gd name="connsiteX53" fmla="*/ 224367 w 729487"/>
                <a:gd name="connsiteY53" fmla="*/ 437015 h 1015458"/>
                <a:gd name="connsiteX54" fmla="*/ 123004 w 729487"/>
                <a:gd name="connsiteY54" fmla="*/ 437015 h 1015458"/>
                <a:gd name="connsiteX55" fmla="*/ 123004 w 729487"/>
                <a:gd name="connsiteY55" fmla="*/ 335720 h 1015458"/>
                <a:gd name="connsiteX56" fmla="*/ 224367 w 729487"/>
                <a:gd name="connsiteY56" fmla="*/ 335720 h 1015458"/>
                <a:gd name="connsiteX57" fmla="*/ 604723 w 729487"/>
                <a:gd name="connsiteY57" fmla="*/ 561577 h 1015458"/>
                <a:gd name="connsiteX58" fmla="*/ 313910 w 729487"/>
                <a:gd name="connsiteY58" fmla="*/ 561577 h 1015458"/>
                <a:gd name="connsiteX59" fmla="*/ 313910 w 729487"/>
                <a:gd name="connsiteY59" fmla="*/ 541257 h 1015458"/>
                <a:gd name="connsiteX60" fmla="*/ 604656 w 729487"/>
                <a:gd name="connsiteY60" fmla="*/ 541257 h 1015458"/>
                <a:gd name="connsiteX61" fmla="*/ 604723 w 729487"/>
                <a:gd name="connsiteY61" fmla="*/ 653017 h 1015458"/>
                <a:gd name="connsiteX62" fmla="*/ 313910 w 729487"/>
                <a:gd name="connsiteY62" fmla="*/ 653017 h 1015458"/>
                <a:gd name="connsiteX63" fmla="*/ 313910 w 729487"/>
                <a:gd name="connsiteY63" fmla="*/ 632697 h 1015458"/>
                <a:gd name="connsiteX64" fmla="*/ 604656 w 729487"/>
                <a:gd name="connsiteY64" fmla="*/ 632697 h 1015458"/>
                <a:gd name="connsiteX65" fmla="*/ 244687 w 729487"/>
                <a:gd name="connsiteY65" fmla="*/ 541596 h 1015458"/>
                <a:gd name="connsiteX66" fmla="*/ 234527 w 729487"/>
                <a:gd name="connsiteY66" fmla="*/ 531436 h 1015458"/>
                <a:gd name="connsiteX67" fmla="*/ 112844 w 729487"/>
                <a:gd name="connsiteY67" fmla="*/ 531436 h 1015458"/>
                <a:gd name="connsiteX68" fmla="*/ 102684 w 729487"/>
                <a:gd name="connsiteY68" fmla="*/ 541596 h 1015458"/>
                <a:gd name="connsiteX69" fmla="*/ 102684 w 729487"/>
                <a:gd name="connsiteY69" fmla="*/ 663279 h 1015458"/>
                <a:gd name="connsiteX70" fmla="*/ 112844 w 729487"/>
                <a:gd name="connsiteY70" fmla="*/ 673439 h 1015458"/>
                <a:gd name="connsiteX71" fmla="*/ 234527 w 729487"/>
                <a:gd name="connsiteY71" fmla="*/ 673439 h 1015458"/>
                <a:gd name="connsiteX72" fmla="*/ 244687 w 729487"/>
                <a:gd name="connsiteY72" fmla="*/ 663279 h 1015458"/>
                <a:gd name="connsiteX73" fmla="*/ 224367 w 729487"/>
                <a:gd name="connsiteY73" fmla="*/ 653119 h 1015458"/>
                <a:gd name="connsiteX74" fmla="*/ 123004 w 729487"/>
                <a:gd name="connsiteY74" fmla="*/ 653119 h 1015458"/>
                <a:gd name="connsiteX75" fmla="*/ 123004 w 729487"/>
                <a:gd name="connsiteY75" fmla="*/ 551756 h 1015458"/>
                <a:gd name="connsiteX76" fmla="*/ 224367 w 729487"/>
                <a:gd name="connsiteY76" fmla="*/ 551756 h 1015458"/>
                <a:gd name="connsiteX77" fmla="*/ 604723 w 729487"/>
                <a:gd name="connsiteY77" fmla="*/ 777579 h 1015458"/>
                <a:gd name="connsiteX78" fmla="*/ 313910 w 729487"/>
                <a:gd name="connsiteY78" fmla="*/ 777579 h 1015458"/>
                <a:gd name="connsiteX79" fmla="*/ 313910 w 729487"/>
                <a:gd name="connsiteY79" fmla="*/ 757259 h 1015458"/>
                <a:gd name="connsiteX80" fmla="*/ 604656 w 729487"/>
                <a:gd name="connsiteY80" fmla="*/ 757259 h 1015458"/>
                <a:gd name="connsiteX81" fmla="*/ 313910 w 729487"/>
                <a:gd name="connsiteY81" fmla="*/ 848699 h 1015458"/>
                <a:gd name="connsiteX82" fmla="*/ 604656 w 729487"/>
                <a:gd name="connsiteY82" fmla="*/ 848699 h 1015458"/>
                <a:gd name="connsiteX83" fmla="*/ 604656 w 729487"/>
                <a:gd name="connsiteY83" fmla="*/ 869019 h 1015458"/>
                <a:gd name="connsiteX84" fmla="*/ 313910 w 729487"/>
                <a:gd name="connsiteY84" fmla="*/ 869019 h 1015458"/>
                <a:gd name="connsiteX85" fmla="*/ 234459 w 729487"/>
                <a:gd name="connsiteY85" fmla="*/ 747099 h 1015458"/>
                <a:gd name="connsiteX86" fmla="*/ 112844 w 729487"/>
                <a:gd name="connsiteY86" fmla="*/ 747099 h 1015458"/>
                <a:gd name="connsiteX87" fmla="*/ 102684 w 729487"/>
                <a:gd name="connsiteY87" fmla="*/ 757259 h 1015458"/>
                <a:gd name="connsiteX88" fmla="*/ 102684 w 729487"/>
                <a:gd name="connsiteY88" fmla="*/ 878942 h 1015458"/>
                <a:gd name="connsiteX89" fmla="*/ 112844 w 729487"/>
                <a:gd name="connsiteY89" fmla="*/ 889102 h 1015458"/>
                <a:gd name="connsiteX90" fmla="*/ 234527 w 729487"/>
                <a:gd name="connsiteY90" fmla="*/ 889102 h 1015458"/>
                <a:gd name="connsiteX91" fmla="*/ 244687 w 729487"/>
                <a:gd name="connsiteY91" fmla="*/ 878942 h 1015458"/>
                <a:gd name="connsiteX92" fmla="*/ 244687 w 729487"/>
                <a:gd name="connsiteY92" fmla="*/ 757259 h 1015458"/>
                <a:gd name="connsiteX93" fmla="*/ 234527 w 729487"/>
                <a:gd name="connsiteY93" fmla="*/ 747099 h 1015458"/>
                <a:gd name="connsiteX94" fmla="*/ 224299 w 729487"/>
                <a:gd name="connsiteY94" fmla="*/ 868782 h 1015458"/>
                <a:gd name="connsiteX95" fmla="*/ 123004 w 729487"/>
                <a:gd name="connsiteY95" fmla="*/ 868782 h 1015458"/>
                <a:gd name="connsiteX96" fmla="*/ 123004 w 729487"/>
                <a:gd name="connsiteY96" fmla="*/ 767419 h 1015458"/>
                <a:gd name="connsiteX97" fmla="*/ 224367 w 729487"/>
                <a:gd name="connsiteY97" fmla="*/ 767419 h 1015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29487" h="1015458">
                  <a:moveTo>
                    <a:pt x="719328" y="138786"/>
                  </a:moveTo>
                  <a:lnTo>
                    <a:pt x="590262" y="138786"/>
                  </a:lnTo>
                  <a:lnTo>
                    <a:pt x="590262" y="159106"/>
                  </a:lnTo>
                  <a:lnTo>
                    <a:pt x="709168" y="159106"/>
                  </a:lnTo>
                  <a:lnTo>
                    <a:pt x="709168" y="995138"/>
                  </a:lnTo>
                  <a:lnTo>
                    <a:pt x="20252" y="995138"/>
                  </a:lnTo>
                  <a:lnTo>
                    <a:pt x="20252" y="159106"/>
                  </a:lnTo>
                  <a:lnTo>
                    <a:pt x="189586" y="159106"/>
                  </a:lnTo>
                  <a:lnTo>
                    <a:pt x="189586" y="213089"/>
                  </a:lnTo>
                  <a:cubicBezTo>
                    <a:pt x="189586" y="218700"/>
                    <a:pt x="194134" y="223249"/>
                    <a:pt x="199746" y="223249"/>
                  </a:cubicBezTo>
                  <a:lnTo>
                    <a:pt x="529539" y="223249"/>
                  </a:lnTo>
                  <a:cubicBezTo>
                    <a:pt x="535151" y="223249"/>
                    <a:pt x="539699" y="218700"/>
                    <a:pt x="539699" y="213089"/>
                  </a:cubicBezTo>
                  <a:lnTo>
                    <a:pt x="539699" y="84565"/>
                  </a:lnTo>
                  <a:cubicBezTo>
                    <a:pt x="539699" y="78954"/>
                    <a:pt x="535151" y="74405"/>
                    <a:pt x="529539" y="74405"/>
                  </a:cubicBezTo>
                  <a:lnTo>
                    <a:pt x="463499" y="74405"/>
                  </a:lnTo>
                  <a:cubicBezTo>
                    <a:pt x="457606" y="32546"/>
                    <a:pt x="415510" y="0"/>
                    <a:pt x="364710" y="0"/>
                  </a:cubicBezTo>
                  <a:cubicBezTo>
                    <a:pt x="313910" y="0"/>
                    <a:pt x="271814" y="32546"/>
                    <a:pt x="265921" y="74507"/>
                  </a:cubicBezTo>
                  <a:lnTo>
                    <a:pt x="199813" y="74507"/>
                  </a:lnTo>
                  <a:cubicBezTo>
                    <a:pt x="194202" y="74507"/>
                    <a:pt x="189653" y="79055"/>
                    <a:pt x="189653" y="84667"/>
                  </a:cubicBezTo>
                  <a:lnTo>
                    <a:pt x="189653" y="138853"/>
                  </a:lnTo>
                  <a:lnTo>
                    <a:pt x="10160" y="138853"/>
                  </a:lnTo>
                  <a:cubicBezTo>
                    <a:pt x="4549" y="138853"/>
                    <a:pt x="0" y="143402"/>
                    <a:pt x="0" y="149013"/>
                  </a:cubicBezTo>
                  <a:lnTo>
                    <a:pt x="0" y="1005298"/>
                  </a:lnTo>
                  <a:cubicBezTo>
                    <a:pt x="0" y="1010910"/>
                    <a:pt x="4549" y="1015458"/>
                    <a:pt x="10160" y="1015458"/>
                  </a:cubicBezTo>
                  <a:lnTo>
                    <a:pt x="719328" y="1015458"/>
                  </a:lnTo>
                  <a:cubicBezTo>
                    <a:pt x="724940" y="1015458"/>
                    <a:pt x="729488" y="1010910"/>
                    <a:pt x="729488" y="1005298"/>
                  </a:cubicBezTo>
                  <a:lnTo>
                    <a:pt x="729488" y="148946"/>
                  </a:lnTo>
                  <a:cubicBezTo>
                    <a:pt x="729488" y="143334"/>
                    <a:pt x="724940" y="138786"/>
                    <a:pt x="719328" y="138786"/>
                  </a:cubicBezTo>
                  <a:close/>
                  <a:moveTo>
                    <a:pt x="209973" y="94759"/>
                  </a:moveTo>
                  <a:lnTo>
                    <a:pt x="275336" y="94759"/>
                  </a:lnTo>
                  <a:cubicBezTo>
                    <a:pt x="280948" y="94759"/>
                    <a:pt x="285496" y="90210"/>
                    <a:pt x="285496" y="84599"/>
                  </a:cubicBezTo>
                  <a:cubicBezTo>
                    <a:pt x="285496" y="49174"/>
                    <a:pt x="321056" y="20252"/>
                    <a:pt x="364710" y="20252"/>
                  </a:cubicBezTo>
                  <a:cubicBezTo>
                    <a:pt x="408364" y="20252"/>
                    <a:pt x="443924" y="49073"/>
                    <a:pt x="443924" y="84599"/>
                  </a:cubicBezTo>
                  <a:cubicBezTo>
                    <a:pt x="443924" y="90210"/>
                    <a:pt x="448473" y="94759"/>
                    <a:pt x="454084" y="94759"/>
                  </a:cubicBezTo>
                  <a:lnTo>
                    <a:pt x="519447" y="94759"/>
                  </a:lnTo>
                  <a:lnTo>
                    <a:pt x="519447" y="202929"/>
                  </a:lnTo>
                  <a:lnTo>
                    <a:pt x="209973" y="202929"/>
                  </a:lnTo>
                  <a:close/>
                  <a:moveTo>
                    <a:pt x="604723" y="345779"/>
                  </a:moveTo>
                  <a:lnTo>
                    <a:pt x="313910" y="345779"/>
                  </a:lnTo>
                  <a:lnTo>
                    <a:pt x="313910" y="325459"/>
                  </a:lnTo>
                  <a:lnTo>
                    <a:pt x="604656" y="325459"/>
                  </a:lnTo>
                  <a:close/>
                  <a:moveTo>
                    <a:pt x="604723" y="437219"/>
                  </a:moveTo>
                  <a:lnTo>
                    <a:pt x="313910" y="437219"/>
                  </a:lnTo>
                  <a:lnTo>
                    <a:pt x="313910" y="416899"/>
                  </a:lnTo>
                  <a:lnTo>
                    <a:pt x="604656" y="416899"/>
                  </a:lnTo>
                  <a:close/>
                  <a:moveTo>
                    <a:pt x="244687" y="325459"/>
                  </a:moveTo>
                  <a:cubicBezTo>
                    <a:pt x="244687" y="319847"/>
                    <a:pt x="240138" y="315299"/>
                    <a:pt x="234527" y="315299"/>
                  </a:cubicBezTo>
                  <a:lnTo>
                    <a:pt x="112844" y="315299"/>
                  </a:lnTo>
                  <a:cubicBezTo>
                    <a:pt x="107232" y="315299"/>
                    <a:pt x="102684" y="319847"/>
                    <a:pt x="102684" y="325459"/>
                  </a:cubicBezTo>
                  <a:lnTo>
                    <a:pt x="102684" y="447175"/>
                  </a:lnTo>
                  <a:cubicBezTo>
                    <a:pt x="102684" y="452787"/>
                    <a:pt x="107232" y="457335"/>
                    <a:pt x="112844" y="457335"/>
                  </a:cubicBezTo>
                  <a:lnTo>
                    <a:pt x="234527" y="457335"/>
                  </a:lnTo>
                  <a:cubicBezTo>
                    <a:pt x="240138" y="457335"/>
                    <a:pt x="244687" y="452787"/>
                    <a:pt x="244687" y="447175"/>
                  </a:cubicBezTo>
                  <a:close/>
                  <a:moveTo>
                    <a:pt x="224367" y="437015"/>
                  </a:moveTo>
                  <a:lnTo>
                    <a:pt x="123004" y="437015"/>
                  </a:lnTo>
                  <a:lnTo>
                    <a:pt x="123004" y="335720"/>
                  </a:lnTo>
                  <a:lnTo>
                    <a:pt x="224367" y="335720"/>
                  </a:lnTo>
                  <a:close/>
                  <a:moveTo>
                    <a:pt x="604723" y="561577"/>
                  </a:moveTo>
                  <a:lnTo>
                    <a:pt x="313910" y="561577"/>
                  </a:lnTo>
                  <a:lnTo>
                    <a:pt x="313910" y="541257"/>
                  </a:lnTo>
                  <a:lnTo>
                    <a:pt x="604656" y="541257"/>
                  </a:lnTo>
                  <a:close/>
                  <a:moveTo>
                    <a:pt x="604723" y="653017"/>
                  </a:moveTo>
                  <a:lnTo>
                    <a:pt x="313910" y="653017"/>
                  </a:lnTo>
                  <a:lnTo>
                    <a:pt x="313910" y="632697"/>
                  </a:lnTo>
                  <a:lnTo>
                    <a:pt x="604656" y="632697"/>
                  </a:lnTo>
                  <a:close/>
                  <a:moveTo>
                    <a:pt x="244687" y="541596"/>
                  </a:moveTo>
                  <a:cubicBezTo>
                    <a:pt x="244687" y="535984"/>
                    <a:pt x="240138" y="531436"/>
                    <a:pt x="234527" y="531436"/>
                  </a:cubicBezTo>
                  <a:lnTo>
                    <a:pt x="112844" y="531436"/>
                  </a:lnTo>
                  <a:cubicBezTo>
                    <a:pt x="107232" y="531436"/>
                    <a:pt x="102684" y="535984"/>
                    <a:pt x="102684" y="541596"/>
                  </a:cubicBezTo>
                  <a:lnTo>
                    <a:pt x="102684" y="663279"/>
                  </a:lnTo>
                  <a:cubicBezTo>
                    <a:pt x="102684" y="668890"/>
                    <a:pt x="107232" y="673439"/>
                    <a:pt x="112844" y="673439"/>
                  </a:cubicBezTo>
                  <a:lnTo>
                    <a:pt x="234527" y="673439"/>
                  </a:lnTo>
                  <a:cubicBezTo>
                    <a:pt x="240138" y="673439"/>
                    <a:pt x="244687" y="668890"/>
                    <a:pt x="244687" y="663279"/>
                  </a:cubicBezTo>
                  <a:close/>
                  <a:moveTo>
                    <a:pt x="224367" y="653119"/>
                  </a:moveTo>
                  <a:lnTo>
                    <a:pt x="123004" y="653119"/>
                  </a:lnTo>
                  <a:lnTo>
                    <a:pt x="123004" y="551756"/>
                  </a:lnTo>
                  <a:lnTo>
                    <a:pt x="224367" y="551756"/>
                  </a:lnTo>
                  <a:close/>
                  <a:moveTo>
                    <a:pt x="604723" y="777579"/>
                  </a:moveTo>
                  <a:lnTo>
                    <a:pt x="313910" y="777579"/>
                  </a:lnTo>
                  <a:lnTo>
                    <a:pt x="313910" y="757259"/>
                  </a:lnTo>
                  <a:lnTo>
                    <a:pt x="604656" y="757259"/>
                  </a:lnTo>
                  <a:close/>
                  <a:moveTo>
                    <a:pt x="313910" y="848699"/>
                  </a:moveTo>
                  <a:lnTo>
                    <a:pt x="604656" y="848699"/>
                  </a:lnTo>
                  <a:lnTo>
                    <a:pt x="604656" y="869019"/>
                  </a:lnTo>
                  <a:lnTo>
                    <a:pt x="313910" y="869019"/>
                  </a:lnTo>
                  <a:close/>
                  <a:moveTo>
                    <a:pt x="234459" y="747099"/>
                  </a:moveTo>
                  <a:lnTo>
                    <a:pt x="112844" y="747099"/>
                  </a:lnTo>
                  <a:cubicBezTo>
                    <a:pt x="107232" y="747099"/>
                    <a:pt x="102684" y="751647"/>
                    <a:pt x="102684" y="757259"/>
                  </a:cubicBezTo>
                  <a:lnTo>
                    <a:pt x="102684" y="878942"/>
                  </a:lnTo>
                  <a:cubicBezTo>
                    <a:pt x="102684" y="884553"/>
                    <a:pt x="107232" y="889102"/>
                    <a:pt x="112844" y="889102"/>
                  </a:cubicBezTo>
                  <a:lnTo>
                    <a:pt x="234527" y="889102"/>
                  </a:lnTo>
                  <a:cubicBezTo>
                    <a:pt x="240138" y="889102"/>
                    <a:pt x="244687" y="884553"/>
                    <a:pt x="244687" y="878942"/>
                  </a:cubicBezTo>
                  <a:lnTo>
                    <a:pt x="244687" y="757259"/>
                  </a:lnTo>
                  <a:cubicBezTo>
                    <a:pt x="244687" y="751647"/>
                    <a:pt x="240138" y="747099"/>
                    <a:pt x="234527" y="747099"/>
                  </a:cubicBezTo>
                  <a:close/>
                  <a:moveTo>
                    <a:pt x="224299" y="868782"/>
                  </a:moveTo>
                  <a:lnTo>
                    <a:pt x="123004" y="868782"/>
                  </a:lnTo>
                  <a:lnTo>
                    <a:pt x="123004" y="767419"/>
                  </a:lnTo>
                  <a:lnTo>
                    <a:pt x="224367" y="767419"/>
                  </a:lnTo>
                  <a:close/>
                </a:path>
              </a:pathLst>
            </a:custGeom>
            <a:grpFill/>
            <a:ln w="3365" cap="flat">
              <a:noFill/>
              <a:prstDash val="solid"/>
              <a:miter/>
            </a:ln>
          </p:spPr>
          <p:txBody>
            <a:bodyPr lIns="137160" tIns="68580" rIns="137160" bIns="685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Arial" charset="0"/>
              </a:endParaRPr>
            </a:p>
          </p:txBody>
        </p:sp>
      </p:grpSp>
      <p:grpSp>
        <p:nvGrpSpPr>
          <p:cNvPr id="47" name="Group 42">
            <a:extLst>
              <a:ext uri="{FF2B5EF4-FFF2-40B4-BE49-F238E27FC236}">
                <a16:creationId xmlns:a16="http://schemas.microsoft.com/office/drawing/2014/main" id="{62CBD0A5-63B6-AF9E-BC79-79E0C14CFCAC}"/>
              </a:ext>
            </a:extLst>
          </p:cNvPr>
          <p:cNvGrpSpPr>
            <a:grpSpLocks noChangeAspect="1"/>
          </p:cNvGrpSpPr>
          <p:nvPr/>
        </p:nvGrpSpPr>
        <p:grpSpPr>
          <a:xfrm>
            <a:off x="5787713" y="4021549"/>
            <a:ext cx="574817" cy="574817"/>
            <a:chOff x="4032000" y="2889000"/>
            <a:chExt cx="1080000" cy="1080000"/>
          </a:xfrm>
          <a:solidFill>
            <a:schemeClr val="accent3"/>
          </a:solidFill>
        </p:grpSpPr>
        <p:sp>
          <p:nvSpPr>
            <p:cNvPr id="57" name="Frame 52">
              <a:extLst>
                <a:ext uri="{FF2B5EF4-FFF2-40B4-BE49-F238E27FC236}">
                  <a16:creationId xmlns:a16="http://schemas.microsoft.com/office/drawing/2014/main" id="{30562150-B36B-4B7B-F397-D4A6046AB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32000" y="2889000"/>
              <a:ext cx="1080000" cy="1080000"/>
            </a:xfrm>
            <a:prstGeom prst="frame">
              <a:avLst>
                <a:gd name="adj1" fmla="val 0"/>
              </a:avLst>
            </a:prstGeom>
            <a:grpFill/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Graphic 1">
              <a:extLst>
                <a:ext uri="{FF2B5EF4-FFF2-40B4-BE49-F238E27FC236}">
                  <a16:creationId xmlns:a16="http://schemas.microsoft.com/office/drawing/2014/main" id="{4BE0676C-28B5-32C8-D57B-D054971042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4000" y="2921000"/>
              <a:ext cx="1016000" cy="1016000"/>
            </a:xfrm>
            <a:custGeom>
              <a:avLst/>
              <a:gdLst>
                <a:gd name="connsiteX0" fmla="*/ 1016000 w 1016000"/>
                <a:gd name="connsiteY0" fmla="*/ 508000 h 1016000"/>
                <a:gd name="connsiteX1" fmla="*/ 886155 w 1016000"/>
                <a:gd name="connsiteY1" fmla="*/ 847209 h 1016000"/>
                <a:gd name="connsiteX2" fmla="*/ 871017 w 1016000"/>
                <a:gd name="connsiteY2" fmla="*/ 833662 h 1016000"/>
                <a:gd name="connsiteX3" fmla="*/ 995680 w 1016000"/>
                <a:gd name="connsiteY3" fmla="*/ 508000 h 1016000"/>
                <a:gd name="connsiteX4" fmla="*/ 508000 w 1016000"/>
                <a:gd name="connsiteY4" fmla="*/ 20320 h 1016000"/>
                <a:gd name="connsiteX5" fmla="*/ 20320 w 1016000"/>
                <a:gd name="connsiteY5" fmla="*/ 508000 h 1016000"/>
                <a:gd name="connsiteX6" fmla="*/ 508000 w 1016000"/>
                <a:gd name="connsiteY6" fmla="*/ 995680 h 1016000"/>
                <a:gd name="connsiteX7" fmla="*/ 738022 w 1016000"/>
                <a:gd name="connsiteY7" fmla="*/ 938107 h 1016000"/>
                <a:gd name="connsiteX8" fmla="*/ 747607 w 1016000"/>
                <a:gd name="connsiteY8" fmla="*/ 956022 h 1016000"/>
                <a:gd name="connsiteX9" fmla="*/ 508000 w 1016000"/>
                <a:gd name="connsiteY9" fmla="*/ 1016000 h 1016000"/>
                <a:gd name="connsiteX10" fmla="*/ 0 w 1016000"/>
                <a:gd name="connsiteY10" fmla="*/ 508000 h 1016000"/>
                <a:gd name="connsiteX11" fmla="*/ 508000 w 1016000"/>
                <a:gd name="connsiteY11" fmla="*/ 0 h 1016000"/>
                <a:gd name="connsiteX12" fmla="*/ 1016000 w 1016000"/>
                <a:gd name="connsiteY12" fmla="*/ 508000 h 1016000"/>
                <a:gd name="connsiteX13" fmla="*/ 441147 w 1016000"/>
                <a:gd name="connsiteY13" fmla="*/ 710624 h 1016000"/>
                <a:gd name="connsiteX14" fmla="*/ 441147 w 1016000"/>
                <a:gd name="connsiteY14" fmla="*/ 497569 h 1016000"/>
                <a:gd name="connsiteX15" fmla="*/ 386080 w 1016000"/>
                <a:gd name="connsiteY15" fmla="*/ 497569 h 1016000"/>
                <a:gd name="connsiteX16" fmla="*/ 375920 w 1016000"/>
                <a:gd name="connsiteY16" fmla="*/ 487409 h 1016000"/>
                <a:gd name="connsiteX17" fmla="*/ 375920 w 1016000"/>
                <a:gd name="connsiteY17" fmla="*/ 363051 h 1016000"/>
                <a:gd name="connsiteX18" fmla="*/ 386080 w 1016000"/>
                <a:gd name="connsiteY18" fmla="*/ 352891 h 1016000"/>
                <a:gd name="connsiteX19" fmla="*/ 575733 w 1016000"/>
                <a:gd name="connsiteY19" fmla="*/ 352891 h 1016000"/>
                <a:gd name="connsiteX20" fmla="*/ 585893 w 1016000"/>
                <a:gd name="connsiteY20" fmla="*/ 363051 h 1016000"/>
                <a:gd name="connsiteX21" fmla="*/ 585893 w 1016000"/>
                <a:gd name="connsiteY21" fmla="*/ 710624 h 1016000"/>
                <a:gd name="connsiteX22" fmla="*/ 629920 w 1016000"/>
                <a:gd name="connsiteY22" fmla="*/ 710624 h 1016000"/>
                <a:gd name="connsiteX23" fmla="*/ 640080 w 1016000"/>
                <a:gd name="connsiteY23" fmla="*/ 720784 h 1016000"/>
                <a:gd name="connsiteX24" fmla="*/ 640080 w 1016000"/>
                <a:gd name="connsiteY24" fmla="*/ 845143 h 1016000"/>
                <a:gd name="connsiteX25" fmla="*/ 629920 w 1016000"/>
                <a:gd name="connsiteY25" fmla="*/ 855303 h 1016000"/>
                <a:gd name="connsiteX26" fmla="*/ 396917 w 1016000"/>
                <a:gd name="connsiteY26" fmla="*/ 855303 h 1016000"/>
                <a:gd name="connsiteX27" fmla="*/ 386757 w 1016000"/>
                <a:gd name="connsiteY27" fmla="*/ 845143 h 1016000"/>
                <a:gd name="connsiteX28" fmla="*/ 386757 w 1016000"/>
                <a:gd name="connsiteY28" fmla="*/ 720784 h 1016000"/>
                <a:gd name="connsiteX29" fmla="*/ 396917 w 1016000"/>
                <a:gd name="connsiteY29" fmla="*/ 710624 h 1016000"/>
                <a:gd name="connsiteX30" fmla="*/ 461467 w 1016000"/>
                <a:gd name="connsiteY30" fmla="*/ 487409 h 1016000"/>
                <a:gd name="connsiteX31" fmla="*/ 461467 w 1016000"/>
                <a:gd name="connsiteY31" fmla="*/ 720784 h 1016000"/>
                <a:gd name="connsiteX32" fmla="*/ 451307 w 1016000"/>
                <a:gd name="connsiteY32" fmla="*/ 730944 h 1016000"/>
                <a:gd name="connsiteX33" fmla="*/ 407281 w 1016000"/>
                <a:gd name="connsiteY33" fmla="*/ 730944 h 1016000"/>
                <a:gd name="connsiteX34" fmla="*/ 407281 w 1016000"/>
                <a:gd name="connsiteY34" fmla="*/ 834983 h 1016000"/>
                <a:gd name="connsiteX35" fmla="*/ 619760 w 1016000"/>
                <a:gd name="connsiteY35" fmla="*/ 834983 h 1016000"/>
                <a:gd name="connsiteX36" fmla="*/ 619760 w 1016000"/>
                <a:gd name="connsiteY36" fmla="*/ 730944 h 1016000"/>
                <a:gd name="connsiteX37" fmla="*/ 575733 w 1016000"/>
                <a:gd name="connsiteY37" fmla="*/ 730944 h 1016000"/>
                <a:gd name="connsiteX38" fmla="*/ 565573 w 1016000"/>
                <a:gd name="connsiteY38" fmla="*/ 720784 h 1016000"/>
                <a:gd name="connsiteX39" fmla="*/ 565573 w 1016000"/>
                <a:gd name="connsiteY39" fmla="*/ 373211 h 1016000"/>
                <a:gd name="connsiteX40" fmla="*/ 396240 w 1016000"/>
                <a:gd name="connsiteY40" fmla="*/ 373211 h 1016000"/>
                <a:gd name="connsiteX41" fmla="*/ 396240 w 1016000"/>
                <a:gd name="connsiteY41" fmla="*/ 477249 h 1016000"/>
                <a:gd name="connsiteX42" fmla="*/ 451375 w 1016000"/>
                <a:gd name="connsiteY42" fmla="*/ 477249 h 1016000"/>
                <a:gd name="connsiteX43" fmla="*/ 461467 w 1016000"/>
                <a:gd name="connsiteY43" fmla="*/ 487409 h 1016000"/>
                <a:gd name="connsiteX44" fmla="*/ 445821 w 1016000"/>
                <a:gd name="connsiteY44" fmla="*/ 305376 h 1016000"/>
                <a:gd name="connsiteX45" fmla="*/ 435661 w 1016000"/>
                <a:gd name="connsiteY45" fmla="*/ 295216 h 1016000"/>
                <a:gd name="connsiteX46" fmla="*/ 435661 w 1016000"/>
                <a:gd name="connsiteY46" fmla="*/ 170857 h 1016000"/>
                <a:gd name="connsiteX47" fmla="*/ 445821 w 1016000"/>
                <a:gd name="connsiteY47" fmla="*/ 160697 h 1016000"/>
                <a:gd name="connsiteX48" fmla="*/ 570179 w 1016000"/>
                <a:gd name="connsiteY48" fmla="*/ 160697 h 1016000"/>
                <a:gd name="connsiteX49" fmla="*/ 580339 w 1016000"/>
                <a:gd name="connsiteY49" fmla="*/ 170857 h 1016000"/>
                <a:gd name="connsiteX50" fmla="*/ 580339 w 1016000"/>
                <a:gd name="connsiteY50" fmla="*/ 295216 h 1016000"/>
                <a:gd name="connsiteX51" fmla="*/ 570179 w 1016000"/>
                <a:gd name="connsiteY51" fmla="*/ 305376 h 1016000"/>
                <a:gd name="connsiteX52" fmla="*/ 455981 w 1016000"/>
                <a:gd name="connsiteY52" fmla="*/ 285056 h 1016000"/>
                <a:gd name="connsiteX53" fmla="*/ 560019 w 1016000"/>
                <a:gd name="connsiteY53" fmla="*/ 285056 h 1016000"/>
                <a:gd name="connsiteX54" fmla="*/ 560019 w 1016000"/>
                <a:gd name="connsiteY54" fmla="*/ 181017 h 1016000"/>
                <a:gd name="connsiteX55" fmla="*/ 455981 w 1016000"/>
                <a:gd name="connsiteY55" fmla="*/ 181017 h 10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16000" h="1016000">
                  <a:moveTo>
                    <a:pt x="1016000" y="508000"/>
                  </a:moveTo>
                  <a:cubicBezTo>
                    <a:pt x="1016078" y="633222"/>
                    <a:pt x="969826" y="754045"/>
                    <a:pt x="886155" y="847209"/>
                  </a:cubicBezTo>
                  <a:lnTo>
                    <a:pt x="871017" y="833662"/>
                  </a:lnTo>
                  <a:cubicBezTo>
                    <a:pt x="951372" y="744234"/>
                    <a:pt x="995778" y="628227"/>
                    <a:pt x="995680" y="508000"/>
                  </a:cubicBezTo>
                  <a:cubicBezTo>
                    <a:pt x="995680" y="239099"/>
                    <a:pt x="776901" y="20320"/>
                    <a:pt x="508000" y="20320"/>
                  </a:cubicBezTo>
                  <a:cubicBezTo>
                    <a:pt x="239099" y="20320"/>
                    <a:pt x="20320" y="239099"/>
                    <a:pt x="20320" y="508000"/>
                  </a:cubicBezTo>
                  <a:cubicBezTo>
                    <a:pt x="20320" y="776901"/>
                    <a:pt x="239099" y="995680"/>
                    <a:pt x="508000" y="995680"/>
                  </a:cubicBezTo>
                  <a:cubicBezTo>
                    <a:pt x="588237" y="995656"/>
                    <a:pt x="667234" y="975885"/>
                    <a:pt x="738022" y="938107"/>
                  </a:cubicBezTo>
                  <a:lnTo>
                    <a:pt x="747607" y="956022"/>
                  </a:lnTo>
                  <a:cubicBezTo>
                    <a:pt x="673876" y="995385"/>
                    <a:pt x="591583" y="1015986"/>
                    <a:pt x="508000" y="1016000"/>
                  </a:cubicBezTo>
                  <a:cubicBezTo>
                    <a:pt x="227889" y="1016000"/>
                    <a:pt x="0" y="788111"/>
                    <a:pt x="0" y="508000"/>
                  </a:cubicBezTo>
                  <a:cubicBezTo>
                    <a:pt x="0" y="227889"/>
                    <a:pt x="227889" y="0"/>
                    <a:pt x="508000" y="0"/>
                  </a:cubicBezTo>
                  <a:cubicBezTo>
                    <a:pt x="788111" y="0"/>
                    <a:pt x="1016000" y="227889"/>
                    <a:pt x="1016000" y="508000"/>
                  </a:cubicBezTo>
                  <a:close/>
                  <a:moveTo>
                    <a:pt x="441147" y="710624"/>
                  </a:moveTo>
                  <a:lnTo>
                    <a:pt x="441147" y="497569"/>
                  </a:lnTo>
                  <a:lnTo>
                    <a:pt x="386080" y="497569"/>
                  </a:lnTo>
                  <a:cubicBezTo>
                    <a:pt x="380468" y="497569"/>
                    <a:pt x="375920" y="493021"/>
                    <a:pt x="375920" y="487409"/>
                  </a:cubicBezTo>
                  <a:lnTo>
                    <a:pt x="375920" y="363051"/>
                  </a:lnTo>
                  <a:cubicBezTo>
                    <a:pt x="375920" y="357439"/>
                    <a:pt x="380468" y="352891"/>
                    <a:pt x="386080" y="352891"/>
                  </a:cubicBezTo>
                  <a:lnTo>
                    <a:pt x="575733" y="352891"/>
                  </a:lnTo>
                  <a:cubicBezTo>
                    <a:pt x="581345" y="352891"/>
                    <a:pt x="585893" y="357439"/>
                    <a:pt x="585893" y="363051"/>
                  </a:cubicBezTo>
                  <a:lnTo>
                    <a:pt x="585893" y="710624"/>
                  </a:lnTo>
                  <a:lnTo>
                    <a:pt x="629920" y="710624"/>
                  </a:lnTo>
                  <a:cubicBezTo>
                    <a:pt x="635532" y="710624"/>
                    <a:pt x="640080" y="715173"/>
                    <a:pt x="640080" y="720784"/>
                  </a:cubicBezTo>
                  <a:lnTo>
                    <a:pt x="640080" y="845143"/>
                  </a:lnTo>
                  <a:cubicBezTo>
                    <a:pt x="640080" y="850754"/>
                    <a:pt x="635532" y="855303"/>
                    <a:pt x="629920" y="855303"/>
                  </a:cubicBezTo>
                  <a:lnTo>
                    <a:pt x="396917" y="855303"/>
                  </a:lnTo>
                  <a:cubicBezTo>
                    <a:pt x="391306" y="855303"/>
                    <a:pt x="386757" y="850754"/>
                    <a:pt x="386757" y="845143"/>
                  </a:cubicBezTo>
                  <a:lnTo>
                    <a:pt x="386757" y="720784"/>
                  </a:lnTo>
                  <a:cubicBezTo>
                    <a:pt x="386757" y="715173"/>
                    <a:pt x="391306" y="710624"/>
                    <a:pt x="396917" y="710624"/>
                  </a:cubicBezTo>
                  <a:close/>
                  <a:moveTo>
                    <a:pt x="461467" y="487409"/>
                  </a:moveTo>
                  <a:lnTo>
                    <a:pt x="461467" y="720784"/>
                  </a:lnTo>
                  <a:cubicBezTo>
                    <a:pt x="461467" y="726396"/>
                    <a:pt x="456919" y="730944"/>
                    <a:pt x="451307" y="730944"/>
                  </a:cubicBezTo>
                  <a:lnTo>
                    <a:pt x="407281" y="730944"/>
                  </a:lnTo>
                  <a:lnTo>
                    <a:pt x="407281" y="834983"/>
                  </a:lnTo>
                  <a:lnTo>
                    <a:pt x="619760" y="834983"/>
                  </a:lnTo>
                  <a:lnTo>
                    <a:pt x="619760" y="730944"/>
                  </a:lnTo>
                  <a:lnTo>
                    <a:pt x="575733" y="730944"/>
                  </a:lnTo>
                  <a:cubicBezTo>
                    <a:pt x="570122" y="730944"/>
                    <a:pt x="565573" y="726396"/>
                    <a:pt x="565573" y="720784"/>
                  </a:cubicBezTo>
                  <a:lnTo>
                    <a:pt x="565573" y="373211"/>
                  </a:lnTo>
                  <a:lnTo>
                    <a:pt x="396240" y="373211"/>
                  </a:lnTo>
                  <a:lnTo>
                    <a:pt x="396240" y="477249"/>
                  </a:lnTo>
                  <a:lnTo>
                    <a:pt x="451375" y="477249"/>
                  </a:lnTo>
                  <a:cubicBezTo>
                    <a:pt x="456960" y="477286"/>
                    <a:pt x="461467" y="481824"/>
                    <a:pt x="461467" y="487409"/>
                  </a:cubicBezTo>
                  <a:close/>
                  <a:moveTo>
                    <a:pt x="445821" y="305376"/>
                  </a:moveTo>
                  <a:cubicBezTo>
                    <a:pt x="440209" y="305376"/>
                    <a:pt x="435661" y="300827"/>
                    <a:pt x="435661" y="295216"/>
                  </a:cubicBezTo>
                  <a:lnTo>
                    <a:pt x="435661" y="170857"/>
                  </a:lnTo>
                  <a:cubicBezTo>
                    <a:pt x="435661" y="165246"/>
                    <a:pt x="440209" y="160697"/>
                    <a:pt x="445821" y="160697"/>
                  </a:cubicBezTo>
                  <a:lnTo>
                    <a:pt x="570179" y="160697"/>
                  </a:lnTo>
                  <a:cubicBezTo>
                    <a:pt x="575791" y="160697"/>
                    <a:pt x="580339" y="165246"/>
                    <a:pt x="580339" y="170857"/>
                  </a:cubicBezTo>
                  <a:lnTo>
                    <a:pt x="580339" y="295216"/>
                  </a:lnTo>
                  <a:cubicBezTo>
                    <a:pt x="580339" y="300827"/>
                    <a:pt x="575791" y="305376"/>
                    <a:pt x="570179" y="305376"/>
                  </a:cubicBezTo>
                  <a:close/>
                  <a:moveTo>
                    <a:pt x="455981" y="285056"/>
                  </a:moveTo>
                  <a:lnTo>
                    <a:pt x="560019" y="285056"/>
                  </a:lnTo>
                  <a:lnTo>
                    <a:pt x="560019" y="181017"/>
                  </a:lnTo>
                  <a:lnTo>
                    <a:pt x="455981" y="181017"/>
                  </a:lnTo>
                  <a:close/>
                </a:path>
              </a:pathLst>
            </a:custGeom>
            <a:grpFill/>
            <a:ln w="3365" cap="flat">
              <a:noFill/>
              <a:prstDash val="solid"/>
              <a:miter/>
            </a:ln>
          </p:spPr>
          <p:txBody>
            <a:bodyPr lIns="137160" tIns="68580" rIns="137160" bIns="685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Arial" charset="0"/>
              </a:endParaRPr>
            </a:p>
          </p:txBody>
        </p:sp>
      </p:grpSp>
      <p:grpSp>
        <p:nvGrpSpPr>
          <p:cNvPr id="48" name="Group 43">
            <a:extLst>
              <a:ext uri="{FF2B5EF4-FFF2-40B4-BE49-F238E27FC236}">
                <a16:creationId xmlns:a16="http://schemas.microsoft.com/office/drawing/2014/main" id="{DC72F06D-A444-7408-A050-3E9FB0FB9A0F}"/>
              </a:ext>
            </a:extLst>
          </p:cNvPr>
          <p:cNvGrpSpPr>
            <a:grpSpLocks noChangeAspect="1"/>
          </p:cNvGrpSpPr>
          <p:nvPr/>
        </p:nvGrpSpPr>
        <p:grpSpPr>
          <a:xfrm>
            <a:off x="7967428" y="4021549"/>
            <a:ext cx="574817" cy="574817"/>
            <a:chOff x="4031999" y="2889002"/>
            <a:chExt cx="1080000" cy="1080000"/>
          </a:xfrm>
          <a:solidFill>
            <a:schemeClr val="accent4">
              <a:lumMod val="50000"/>
            </a:schemeClr>
          </a:solidFill>
        </p:grpSpPr>
        <p:sp>
          <p:nvSpPr>
            <p:cNvPr id="55" name="Frame 50">
              <a:extLst>
                <a:ext uri="{FF2B5EF4-FFF2-40B4-BE49-F238E27FC236}">
                  <a16:creationId xmlns:a16="http://schemas.microsoft.com/office/drawing/2014/main" id="{4923E2BF-D062-2C89-4632-C1F63DB3C8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31999" y="2889002"/>
              <a:ext cx="1080000" cy="1080000"/>
            </a:xfrm>
            <a:prstGeom prst="frame">
              <a:avLst>
                <a:gd name="adj1" fmla="val 0"/>
              </a:avLst>
            </a:prstGeom>
            <a:grpFill/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:a16="http://schemas.microsoft.com/office/drawing/2014/main" id="{189724F1-8607-2CC2-84DB-5225345F2D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4237" y="2993912"/>
              <a:ext cx="1015525" cy="870180"/>
            </a:xfrm>
            <a:custGeom>
              <a:avLst/>
              <a:gdLst>
                <a:gd name="connsiteX0" fmla="*/ 148539 w 1015525"/>
                <a:gd name="connsiteY0" fmla="*/ 867192 h 870180"/>
                <a:gd name="connsiteX1" fmla="*/ 162907 w 1015525"/>
                <a:gd name="connsiteY1" fmla="*/ 867216 h 870180"/>
                <a:gd name="connsiteX2" fmla="*/ 162933 w 1015525"/>
                <a:gd name="connsiteY2" fmla="*/ 867192 h 870180"/>
                <a:gd name="connsiteX3" fmla="*/ 277097 w 1015525"/>
                <a:gd name="connsiteY3" fmla="*/ 753027 h 870180"/>
                <a:gd name="connsiteX4" fmla="*/ 277097 w 1015525"/>
                <a:gd name="connsiteY4" fmla="*/ 738668 h 870180"/>
                <a:gd name="connsiteX5" fmla="*/ 277107 w 1015525"/>
                <a:gd name="connsiteY5" fmla="*/ 277346 h 870180"/>
                <a:gd name="connsiteX6" fmla="*/ 738429 w 1015525"/>
                <a:gd name="connsiteY6" fmla="*/ 277357 h 870180"/>
                <a:gd name="connsiteX7" fmla="*/ 738429 w 1015525"/>
                <a:gd name="connsiteY7" fmla="*/ 738668 h 870180"/>
                <a:gd name="connsiteX8" fmla="*/ 752822 w 1015525"/>
                <a:gd name="connsiteY8" fmla="*/ 753027 h 870180"/>
                <a:gd name="connsiteX9" fmla="*/ 853982 w 1015525"/>
                <a:gd name="connsiteY9" fmla="*/ 518162 h 870180"/>
                <a:gd name="connsiteX10" fmla="*/ 995104 w 1015525"/>
                <a:gd name="connsiteY10" fmla="*/ 518162 h 870180"/>
                <a:gd name="connsiteX11" fmla="*/ 852593 w 1015525"/>
                <a:gd name="connsiteY11" fmla="*/ 852832 h 870180"/>
                <a:gd name="connsiteX12" fmla="*/ 866987 w 1015525"/>
                <a:gd name="connsiteY12" fmla="*/ 867192 h 870180"/>
                <a:gd name="connsiteX13" fmla="*/ 866987 w 1015525"/>
                <a:gd name="connsiteY13" fmla="*/ 148778 h 870180"/>
                <a:gd name="connsiteX14" fmla="*/ 507763 w 1015525"/>
                <a:gd name="connsiteY14" fmla="*/ 2 h 870180"/>
                <a:gd name="connsiteX15" fmla="*/ 497603 w 1015525"/>
                <a:gd name="connsiteY15" fmla="*/ 10162 h 870180"/>
                <a:gd name="connsiteX16" fmla="*/ 497603 w 1015525"/>
                <a:gd name="connsiteY16" fmla="*/ 161783 h 870180"/>
                <a:gd name="connsiteX17" fmla="*/ 270019 w 1015525"/>
                <a:gd name="connsiteY17" fmla="*/ 255899 h 870180"/>
                <a:gd name="connsiteX18" fmla="*/ 170180 w 1015525"/>
                <a:gd name="connsiteY18" fmla="*/ 156060 h 870180"/>
                <a:gd name="connsiteX19" fmla="*/ 400033 w 1015525"/>
                <a:gd name="connsiteY19" fmla="*/ 32311 h 870180"/>
                <a:gd name="connsiteX20" fmla="*/ 395563 w 1015525"/>
                <a:gd name="connsiteY20" fmla="*/ 12465 h 870180"/>
                <a:gd name="connsiteX21" fmla="*/ 327660 w 1015525"/>
                <a:gd name="connsiteY21" fmla="*/ 32785 h 870180"/>
                <a:gd name="connsiteX22" fmla="*/ 148539 w 1015525"/>
                <a:gd name="connsiteY22" fmla="*/ 148778 h 870180"/>
                <a:gd name="connsiteX23" fmla="*/ 148539 w 1015525"/>
                <a:gd name="connsiteY23" fmla="*/ 867192 h 870180"/>
                <a:gd name="connsiteX24" fmla="*/ 995206 w 1015525"/>
                <a:gd name="connsiteY24" fmla="*/ 497842 h 870180"/>
                <a:gd name="connsiteX25" fmla="*/ 853982 w 1015525"/>
                <a:gd name="connsiteY25" fmla="*/ 497842 h 870180"/>
                <a:gd name="connsiteX26" fmla="*/ 759866 w 1015525"/>
                <a:gd name="connsiteY26" fmla="*/ 270258 h 870180"/>
                <a:gd name="connsiteX27" fmla="*/ 859705 w 1015525"/>
                <a:gd name="connsiteY27" fmla="*/ 170419 h 870180"/>
                <a:gd name="connsiteX28" fmla="*/ 995104 w 1015525"/>
                <a:gd name="connsiteY28" fmla="*/ 497842 h 870180"/>
                <a:gd name="connsiteX29" fmla="*/ 517923 w 1015525"/>
                <a:gd name="connsiteY29" fmla="*/ 20424 h 870180"/>
                <a:gd name="connsiteX30" fmla="*/ 845346 w 1015525"/>
                <a:gd name="connsiteY30" fmla="*/ 156060 h 870180"/>
                <a:gd name="connsiteX31" fmla="*/ 745507 w 1015525"/>
                <a:gd name="connsiteY31" fmla="*/ 255899 h 870180"/>
                <a:gd name="connsiteX32" fmla="*/ 517923 w 1015525"/>
                <a:gd name="connsiteY32" fmla="*/ 161783 h 870180"/>
                <a:gd name="connsiteX33" fmla="*/ 20455 w 1015525"/>
                <a:gd name="connsiteY33" fmla="*/ 518162 h 870180"/>
                <a:gd name="connsiteX34" fmla="*/ 82635 w 1015525"/>
                <a:gd name="connsiteY34" fmla="*/ 518162 h 870180"/>
                <a:gd name="connsiteX35" fmla="*/ 25061 w 1015525"/>
                <a:gd name="connsiteY35" fmla="*/ 575735 h 870180"/>
                <a:gd name="connsiteX36" fmla="*/ 20455 w 1015525"/>
                <a:gd name="connsiteY36" fmla="*/ 518162 h 870180"/>
                <a:gd name="connsiteX37" fmla="*/ 29125 w 1015525"/>
                <a:gd name="connsiteY37" fmla="*/ 600424 h 870180"/>
                <a:gd name="connsiteX38" fmla="*/ 111523 w 1015525"/>
                <a:gd name="connsiteY38" fmla="*/ 518162 h 870180"/>
                <a:gd name="connsiteX39" fmla="*/ 161544 w 1015525"/>
                <a:gd name="connsiteY39" fmla="*/ 518162 h 870180"/>
                <a:gd name="connsiteX40" fmla="*/ 162865 w 1015525"/>
                <a:gd name="connsiteY40" fmla="*/ 539430 h 870180"/>
                <a:gd name="connsiteX41" fmla="*/ 43790 w 1015525"/>
                <a:gd name="connsiteY41" fmla="*/ 658336 h 870180"/>
                <a:gd name="connsiteX42" fmla="*/ 29125 w 1015525"/>
                <a:gd name="connsiteY42" fmla="*/ 600424 h 870180"/>
                <a:gd name="connsiteX43" fmla="*/ 131843 w 1015525"/>
                <a:gd name="connsiteY43" fmla="*/ 497842 h 870180"/>
                <a:gd name="connsiteX44" fmla="*/ 164050 w 1015525"/>
                <a:gd name="connsiteY44" fmla="*/ 465567 h 870180"/>
                <a:gd name="connsiteX45" fmla="*/ 161612 w 1015525"/>
                <a:gd name="connsiteY45" fmla="*/ 497944 h 870180"/>
                <a:gd name="connsiteX46" fmla="*/ 51342 w 1015525"/>
                <a:gd name="connsiteY46" fmla="*/ 679672 h 870180"/>
                <a:gd name="connsiteX47" fmla="*/ 166116 w 1015525"/>
                <a:gd name="connsiteY47" fmla="*/ 564898 h 870180"/>
                <a:gd name="connsiteX48" fmla="*/ 180916 w 1015525"/>
                <a:gd name="connsiteY48" fmla="*/ 622844 h 870180"/>
                <a:gd name="connsiteX49" fmla="*/ 73592 w 1015525"/>
                <a:gd name="connsiteY49" fmla="*/ 730167 h 870180"/>
                <a:gd name="connsiteX50" fmla="*/ 51342 w 1015525"/>
                <a:gd name="connsiteY50" fmla="*/ 679672 h 870180"/>
                <a:gd name="connsiteX51" fmla="*/ 255626 w 1015525"/>
                <a:gd name="connsiteY51" fmla="*/ 745746 h 870180"/>
                <a:gd name="connsiteX52" fmla="*/ 155821 w 1015525"/>
                <a:gd name="connsiteY52" fmla="*/ 845585 h 870180"/>
                <a:gd name="connsiteX53" fmla="*/ 124460 w 1015525"/>
                <a:gd name="connsiteY53" fmla="*/ 809517 h 870180"/>
                <a:gd name="connsiteX54" fmla="*/ 225281 w 1015525"/>
                <a:gd name="connsiteY54" fmla="*/ 708696 h 870180"/>
                <a:gd name="connsiteX55" fmla="*/ 255626 w 1015525"/>
                <a:gd name="connsiteY55" fmla="*/ 745746 h 870180"/>
                <a:gd name="connsiteX56" fmla="*/ 188908 w 1015525"/>
                <a:gd name="connsiteY56" fmla="*/ 643604 h 870180"/>
                <a:gd name="connsiteX57" fmla="*/ 213733 w 1015525"/>
                <a:gd name="connsiteY57" fmla="*/ 691492 h 870180"/>
                <a:gd name="connsiteX58" fmla="*/ 112133 w 1015525"/>
                <a:gd name="connsiteY58" fmla="*/ 793092 h 870180"/>
                <a:gd name="connsiteX59" fmla="*/ 83651 w 1015525"/>
                <a:gd name="connsiteY59" fmla="*/ 748828 h 870180"/>
                <a:gd name="connsiteX60" fmla="*/ 170146 w 1015525"/>
                <a:gd name="connsiteY60" fmla="*/ 430651 h 870180"/>
                <a:gd name="connsiteX61" fmla="*/ 102955 w 1015525"/>
                <a:gd name="connsiteY61" fmla="*/ 497842 h 870180"/>
                <a:gd name="connsiteX62" fmla="*/ 34171 w 1015525"/>
                <a:gd name="connsiteY62" fmla="*/ 497842 h 870180"/>
                <a:gd name="connsiteX63" fmla="*/ 238049 w 1015525"/>
                <a:gd name="connsiteY63" fmla="*/ 290476 h 870180"/>
                <a:gd name="connsiteX64" fmla="*/ 170146 w 1015525"/>
                <a:gd name="connsiteY64" fmla="*/ 430651 h 870180"/>
                <a:gd name="connsiteX65" fmla="*/ 242418 w 1015525"/>
                <a:gd name="connsiteY65" fmla="*/ 257016 h 870180"/>
                <a:gd name="connsiteX66" fmla="*/ 20997 w 1015525"/>
                <a:gd name="connsiteY66" fmla="*/ 482230 h 870180"/>
                <a:gd name="connsiteX67" fmla="*/ 34104 w 1015525"/>
                <a:gd name="connsiteY67" fmla="*/ 392449 h 870180"/>
                <a:gd name="connsiteX68" fmla="*/ 205977 w 1015525"/>
                <a:gd name="connsiteY68" fmla="*/ 220576 h 870180"/>
                <a:gd name="connsiteX69" fmla="*/ 191618 w 1015525"/>
                <a:gd name="connsiteY69" fmla="*/ 206216 h 870180"/>
                <a:gd name="connsiteX70" fmla="*/ 45754 w 1015525"/>
                <a:gd name="connsiteY70" fmla="*/ 352080 h 870180"/>
                <a:gd name="connsiteX71" fmla="*/ 155821 w 1015525"/>
                <a:gd name="connsiteY71" fmla="*/ 170419 h 870180"/>
                <a:gd name="connsiteX72" fmla="*/ 476402 w 1015525"/>
                <a:gd name="connsiteY72" fmla="*/ 410364 h 870180"/>
                <a:gd name="connsiteX73" fmla="*/ 424553 w 1015525"/>
                <a:gd name="connsiteY73" fmla="*/ 348761 h 870180"/>
                <a:gd name="connsiteX74" fmla="*/ 372703 w 1015525"/>
                <a:gd name="connsiteY74" fmla="*/ 410364 h 870180"/>
                <a:gd name="connsiteX75" fmla="*/ 424553 w 1015525"/>
                <a:gd name="connsiteY75" fmla="*/ 471934 h 870180"/>
                <a:gd name="connsiteX76" fmla="*/ 476402 w 1015525"/>
                <a:gd name="connsiteY76" fmla="*/ 410364 h 870180"/>
                <a:gd name="connsiteX77" fmla="*/ 424553 w 1015525"/>
                <a:gd name="connsiteY77" fmla="*/ 451614 h 870180"/>
                <a:gd name="connsiteX78" fmla="*/ 393023 w 1015525"/>
                <a:gd name="connsiteY78" fmla="*/ 410364 h 870180"/>
                <a:gd name="connsiteX79" fmla="*/ 424553 w 1015525"/>
                <a:gd name="connsiteY79" fmla="*/ 369081 h 870180"/>
                <a:gd name="connsiteX80" fmla="*/ 456082 w 1015525"/>
                <a:gd name="connsiteY80" fmla="*/ 410364 h 870180"/>
                <a:gd name="connsiteX81" fmla="*/ 424553 w 1015525"/>
                <a:gd name="connsiteY81" fmla="*/ 451614 h 870180"/>
                <a:gd name="connsiteX82" fmla="*/ 590973 w 1015525"/>
                <a:gd name="connsiteY82" fmla="*/ 689324 h 870180"/>
                <a:gd name="connsiteX83" fmla="*/ 642823 w 1015525"/>
                <a:gd name="connsiteY83" fmla="*/ 627755 h 870180"/>
                <a:gd name="connsiteX84" fmla="*/ 590973 w 1015525"/>
                <a:gd name="connsiteY84" fmla="*/ 566151 h 870180"/>
                <a:gd name="connsiteX85" fmla="*/ 539123 w 1015525"/>
                <a:gd name="connsiteY85" fmla="*/ 627755 h 870180"/>
                <a:gd name="connsiteX86" fmla="*/ 590973 w 1015525"/>
                <a:gd name="connsiteY86" fmla="*/ 689324 h 870180"/>
                <a:gd name="connsiteX87" fmla="*/ 590973 w 1015525"/>
                <a:gd name="connsiteY87" fmla="*/ 586471 h 870180"/>
                <a:gd name="connsiteX88" fmla="*/ 622503 w 1015525"/>
                <a:gd name="connsiteY88" fmla="*/ 627755 h 870180"/>
                <a:gd name="connsiteX89" fmla="*/ 590973 w 1015525"/>
                <a:gd name="connsiteY89" fmla="*/ 669004 h 870180"/>
                <a:gd name="connsiteX90" fmla="*/ 559443 w 1015525"/>
                <a:gd name="connsiteY90" fmla="*/ 627755 h 870180"/>
                <a:gd name="connsiteX91" fmla="*/ 590973 w 1015525"/>
                <a:gd name="connsiteY91" fmla="*/ 586471 h 870180"/>
                <a:gd name="connsiteX92" fmla="*/ 423435 w 1015525"/>
                <a:gd name="connsiteY92" fmla="*/ 684278 h 870180"/>
                <a:gd name="connsiteX93" fmla="*/ 405858 w 1015525"/>
                <a:gd name="connsiteY93" fmla="*/ 674118 h 870180"/>
                <a:gd name="connsiteX94" fmla="*/ 592125 w 1015525"/>
                <a:gd name="connsiteY94" fmla="*/ 353841 h 870180"/>
                <a:gd name="connsiteX95" fmla="*/ 609702 w 1015525"/>
                <a:gd name="connsiteY95" fmla="*/ 364001 h 870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015525" h="870180">
                  <a:moveTo>
                    <a:pt x="148539" y="867192"/>
                  </a:moveTo>
                  <a:cubicBezTo>
                    <a:pt x="152500" y="871168"/>
                    <a:pt x="158933" y="871178"/>
                    <a:pt x="162907" y="867216"/>
                  </a:cubicBezTo>
                  <a:cubicBezTo>
                    <a:pt x="162916" y="867209"/>
                    <a:pt x="162924" y="867199"/>
                    <a:pt x="162933" y="867192"/>
                  </a:cubicBezTo>
                  <a:lnTo>
                    <a:pt x="277097" y="753027"/>
                  </a:lnTo>
                  <a:cubicBezTo>
                    <a:pt x="281059" y="749062"/>
                    <a:pt x="281059" y="742634"/>
                    <a:pt x="277097" y="738668"/>
                  </a:cubicBezTo>
                  <a:cubicBezTo>
                    <a:pt x="149709" y="611275"/>
                    <a:pt x="149714" y="404732"/>
                    <a:pt x="277107" y="277346"/>
                  </a:cubicBezTo>
                  <a:cubicBezTo>
                    <a:pt x="404500" y="149959"/>
                    <a:pt x="611043" y="149963"/>
                    <a:pt x="738429" y="277357"/>
                  </a:cubicBezTo>
                  <a:cubicBezTo>
                    <a:pt x="865812" y="404746"/>
                    <a:pt x="865812" y="611278"/>
                    <a:pt x="738429" y="738668"/>
                  </a:cubicBezTo>
                  <a:lnTo>
                    <a:pt x="752822" y="753027"/>
                  </a:lnTo>
                  <a:cubicBezTo>
                    <a:pt x="815347" y="690564"/>
                    <a:pt x="851547" y="606510"/>
                    <a:pt x="853982" y="518162"/>
                  </a:cubicBezTo>
                  <a:lnTo>
                    <a:pt x="995104" y="518162"/>
                  </a:lnTo>
                  <a:cubicBezTo>
                    <a:pt x="992713" y="643960"/>
                    <a:pt x="941629" y="763929"/>
                    <a:pt x="852593" y="852832"/>
                  </a:cubicBezTo>
                  <a:lnTo>
                    <a:pt x="866987" y="867192"/>
                  </a:lnTo>
                  <a:cubicBezTo>
                    <a:pt x="1065039" y="669140"/>
                    <a:pt x="1065039" y="346864"/>
                    <a:pt x="866987" y="148778"/>
                  </a:cubicBezTo>
                  <a:cubicBezTo>
                    <a:pt x="771926" y="53194"/>
                    <a:pt x="642569" y="-380"/>
                    <a:pt x="507763" y="2"/>
                  </a:cubicBezTo>
                  <a:cubicBezTo>
                    <a:pt x="502151" y="2"/>
                    <a:pt x="497603" y="4551"/>
                    <a:pt x="497603" y="10162"/>
                  </a:cubicBezTo>
                  <a:lnTo>
                    <a:pt x="497603" y="161783"/>
                  </a:lnTo>
                  <a:cubicBezTo>
                    <a:pt x="412747" y="164091"/>
                    <a:pt x="331720" y="197599"/>
                    <a:pt x="270019" y="255899"/>
                  </a:cubicBezTo>
                  <a:lnTo>
                    <a:pt x="170180" y="156060"/>
                  </a:lnTo>
                  <a:cubicBezTo>
                    <a:pt x="234032" y="94556"/>
                    <a:pt x="313536" y="51752"/>
                    <a:pt x="400033" y="32311"/>
                  </a:cubicBezTo>
                  <a:lnTo>
                    <a:pt x="395563" y="12465"/>
                  </a:lnTo>
                  <a:cubicBezTo>
                    <a:pt x="372486" y="17666"/>
                    <a:pt x="349799" y="24456"/>
                    <a:pt x="327660" y="32785"/>
                  </a:cubicBezTo>
                  <a:cubicBezTo>
                    <a:pt x="260367" y="58238"/>
                    <a:pt x="199295" y="97787"/>
                    <a:pt x="148539" y="148778"/>
                  </a:cubicBezTo>
                  <a:cubicBezTo>
                    <a:pt x="-49513" y="347034"/>
                    <a:pt x="-49513" y="669140"/>
                    <a:pt x="148539" y="867192"/>
                  </a:cubicBezTo>
                  <a:close/>
                  <a:moveTo>
                    <a:pt x="995206" y="497842"/>
                  </a:moveTo>
                  <a:lnTo>
                    <a:pt x="853982" y="497842"/>
                  </a:lnTo>
                  <a:cubicBezTo>
                    <a:pt x="851635" y="412996"/>
                    <a:pt x="818134" y="331980"/>
                    <a:pt x="759866" y="270258"/>
                  </a:cubicBezTo>
                  <a:lnTo>
                    <a:pt x="859705" y="170419"/>
                  </a:lnTo>
                  <a:cubicBezTo>
                    <a:pt x="944433" y="258633"/>
                    <a:pt x="992781" y="375553"/>
                    <a:pt x="995104" y="497842"/>
                  </a:cubicBezTo>
                  <a:close/>
                  <a:moveTo>
                    <a:pt x="517923" y="20424"/>
                  </a:moveTo>
                  <a:cubicBezTo>
                    <a:pt x="640280" y="22643"/>
                    <a:pt x="757262" y="71103"/>
                    <a:pt x="845346" y="156060"/>
                  </a:cubicBezTo>
                  <a:lnTo>
                    <a:pt x="745507" y="255899"/>
                  </a:lnTo>
                  <a:cubicBezTo>
                    <a:pt x="683805" y="197599"/>
                    <a:pt x="602779" y="164091"/>
                    <a:pt x="517923" y="161783"/>
                  </a:cubicBezTo>
                  <a:close/>
                  <a:moveTo>
                    <a:pt x="20455" y="518162"/>
                  </a:moveTo>
                  <a:lnTo>
                    <a:pt x="82635" y="518162"/>
                  </a:lnTo>
                  <a:lnTo>
                    <a:pt x="25061" y="575735"/>
                  </a:lnTo>
                  <a:cubicBezTo>
                    <a:pt x="22411" y="556648"/>
                    <a:pt x="20873" y="537425"/>
                    <a:pt x="20455" y="518162"/>
                  </a:cubicBezTo>
                  <a:close/>
                  <a:moveTo>
                    <a:pt x="29125" y="600424"/>
                  </a:moveTo>
                  <a:lnTo>
                    <a:pt x="111523" y="518162"/>
                  </a:lnTo>
                  <a:lnTo>
                    <a:pt x="161544" y="518162"/>
                  </a:lnTo>
                  <a:cubicBezTo>
                    <a:pt x="161747" y="525240"/>
                    <a:pt x="162221" y="532352"/>
                    <a:pt x="162865" y="539430"/>
                  </a:cubicBezTo>
                  <a:lnTo>
                    <a:pt x="43790" y="658336"/>
                  </a:lnTo>
                  <a:cubicBezTo>
                    <a:pt x="37717" y="639351"/>
                    <a:pt x="32820" y="620009"/>
                    <a:pt x="29125" y="600424"/>
                  </a:cubicBezTo>
                  <a:close/>
                  <a:moveTo>
                    <a:pt x="131843" y="497842"/>
                  </a:moveTo>
                  <a:lnTo>
                    <a:pt x="164050" y="465567"/>
                  </a:lnTo>
                  <a:cubicBezTo>
                    <a:pt x="162718" y="476337"/>
                    <a:pt x="161905" y="487130"/>
                    <a:pt x="161612" y="497944"/>
                  </a:cubicBezTo>
                  <a:close/>
                  <a:moveTo>
                    <a:pt x="51342" y="679672"/>
                  </a:moveTo>
                  <a:lnTo>
                    <a:pt x="166116" y="564898"/>
                  </a:lnTo>
                  <a:cubicBezTo>
                    <a:pt x="169381" y="584602"/>
                    <a:pt x="174333" y="603987"/>
                    <a:pt x="180916" y="622844"/>
                  </a:cubicBezTo>
                  <a:lnTo>
                    <a:pt x="73592" y="730167"/>
                  </a:lnTo>
                  <a:cubicBezTo>
                    <a:pt x="65240" y="713762"/>
                    <a:pt x="57812" y="696907"/>
                    <a:pt x="51342" y="679672"/>
                  </a:cubicBezTo>
                  <a:close/>
                  <a:moveTo>
                    <a:pt x="255626" y="745746"/>
                  </a:moveTo>
                  <a:lnTo>
                    <a:pt x="155821" y="845585"/>
                  </a:lnTo>
                  <a:cubicBezTo>
                    <a:pt x="144667" y="833959"/>
                    <a:pt x="134214" y="821936"/>
                    <a:pt x="124460" y="809517"/>
                  </a:cubicBezTo>
                  <a:lnTo>
                    <a:pt x="225281" y="708696"/>
                  </a:lnTo>
                  <a:cubicBezTo>
                    <a:pt x="234541" y="721721"/>
                    <a:pt x="244679" y="734103"/>
                    <a:pt x="255626" y="745746"/>
                  </a:cubicBezTo>
                  <a:close/>
                  <a:moveTo>
                    <a:pt x="188908" y="643604"/>
                  </a:moveTo>
                  <a:cubicBezTo>
                    <a:pt x="195922" y="660189"/>
                    <a:pt x="204222" y="676201"/>
                    <a:pt x="213733" y="691492"/>
                  </a:cubicBezTo>
                  <a:lnTo>
                    <a:pt x="112133" y="793092"/>
                  </a:lnTo>
                  <a:cubicBezTo>
                    <a:pt x="101838" y="778868"/>
                    <a:pt x="92330" y="764092"/>
                    <a:pt x="83651" y="748828"/>
                  </a:cubicBezTo>
                  <a:close/>
                  <a:moveTo>
                    <a:pt x="170146" y="430651"/>
                  </a:moveTo>
                  <a:lnTo>
                    <a:pt x="102955" y="497842"/>
                  </a:lnTo>
                  <a:lnTo>
                    <a:pt x="34171" y="497842"/>
                  </a:lnTo>
                  <a:lnTo>
                    <a:pt x="238049" y="290476"/>
                  </a:lnTo>
                  <a:cubicBezTo>
                    <a:pt x="204996" y="331394"/>
                    <a:pt x="181766" y="379349"/>
                    <a:pt x="170146" y="430651"/>
                  </a:cubicBezTo>
                  <a:close/>
                  <a:moveTo>
                    <a:pt x="242418" y="257016"/>
                  </a:moveTo>
                  <a:lnTo>
                    <a:pt x="20997" y="482230"/>
                  </a:lnTo>
                  <a:cubicBezTo>
                    <a:pt x="22592" y="451963"/>
                    <a:pt x="26979" y="421910"/>
                    <a:pt x="34104" y="392449"/>
                  </a:cubicBezTo>
                  <a:lnTo>
                    <a:pt x="205977" y="220576"/>
                  </a:lnTo>
                  <a:close/>
                  <a:moveTo>
                    <a:pt x="191618" y="206216"/>
                  </a:moveTo>
                  <a:lnTo>
                    <a:pt x="45754" y="352080"/>
                  </a:lnTo>
                  <a:cubicBezTo>
                    <a:pt x="68559" y="284133"/>
                    <a:pt x="106151" y="222089"/>
                    <a:pt x="155821" y="170419"/>
                  </a:cubicBezTo>
                  <a:close/>
                  <a:moveTo>
                    <a:pt x="476402" y="410364"/>
                  </a:moveTo>
                  <a:cubicBezTo>
                    <a:pt x="476402" y="376498"/>
                    <a:pt x="453136" y="348761"/>
                    <a:pt x="424553" y="348761"/>
                  </a:cubicBezTo>
                  <a:cubicBezTo>
                    <a:pt x="395969" y="348761"/>
                    <a:pt x="372703" y="376396"/>
                    <a:pt x="372703" y="410364"/>
                  </a:cubicBezTo>
                  <a:cubicBezTo>
                    <a:pt x="372703" y="444333"/>
                    <a:pt x="395969" y="471934"/>
                    <a:pt x="424553" y="471934"/>
                  </a:cubicBezTo>
                  <a:cubicBezTo>
                    <a:pt x="453136" y="471934"/>
                    <a:pt x="476402" y="444299"/>
                    <a:pt x="476402" y="410364"/>
                  </a:cubicBezTo>
                  <a:close/>
                  <a:moveTo>
                    <a:pt x="424553" y="451614"/>
                  </a:moveTo>
                  <a:cubicBezTo>
                    <a:pt x="407179" y="451614"/>
                    <a:pt x="393023" y="433089"/>
                    <a:pt x="393023" y="410364"/>
                  </a:cubicBezTo>
                  <a:cubicBezTo>
                    <a:pt x="393023" y="387640"/>
                    <a:pt x="407179" y="369081"/>
                    <a:pt x="424553" y="369081"/>
                  </a:cubicBezTo>
                  <a:cubicBezTo>
                    <a:pt x="441926" y="369081"/>
                    <a:pt x="456082" y="387606"/>
                    <a:pt x="456082" y="410364"/>
                  </a:cubicBezTo>
                  <a:cubicBezTo>
                    <a:pt x="456082" y="433123"/>
                    <a:pt x="441960" y="451614"/>
                    <a:pt x="424553" y="451614"/>
                  </a:cubicBezTo>
                  <a:close/>
                  <a:moveTo>
                    <a:pt x="590973" y="689324"/>
                  </a:moveTo>
                  <a:cubicBezTo>
                    <a:pt x="619557" y="689324"/>
                    <a:pt x="642823" y="661723"/>
                    <a:pt x="642823" y="627755"/>
                  </a:cubicBezTo>
                  <a:cubicBezTo>
                    <a:pt x="642823" y="593786"/>
                    <a:pt x="619523" y="566151"/>
                    <a:pt x="590973" y="566151"/>
                  </a:cubicBezTo>
                  <a:cubicBezTo>
                    <a:pt x="562424" y="566151"/>
                    <a:pt x="539123" y="593786"/>
                    <a:pt x="539123" y="627755"/>
                  </a:cubicBezTo>
                  <a:cubicBezTo>
                    <a:pt x="539123" y="661723"/>
                    <a:pt x="562390" y="689324"/>
                    <a:pt x="590973" y="689324"/>
                  </a:cubicBezTo>
                  <a:close/>
                  <a:moveTo>
                    <a:pt x="590973" y="586471"/>
                  </a:moveTo>
                  <a:cubicBezTo>
                    <a:pt x="608347" y="586471"/>
                    <a:pt x="622503" y="604996"/>
                    <a:pt x="622503" y="627755"/>
                  </a:cubicBezTo>
                  <a:cubicBezTo>
                    <a:pt x="622503" y="650513"/>
                    <a:pt x="608347" y="669004"/>
                    <a:pt x="590973" y="669004"/>
                  </a:cubicBezTo>
                  <a:cubicBezTo>
                    <a:pt x="573600" y="669004"/>
                    <a:pt x="559443" y="650513"/>
                    <a:pt x="559443" y="627755"/>
                  </a:cubicBezTo>
                  <a:cubicBezTo>
                    <a:pt x="559443" y="604996"/>
                    <a:pt x="573566" y="586471"/>
                    <a:pt x="590973" y="586471"/>
                  </a:cubicBezTo>
                  <a:close/>
                  <a:moveTo>
                    <a:pt x="423435" y="684278"/>
                  </a:moveTo>
                  <a:lnTo>
                    <a:pt x="405858" y="674118"/>
                  </a:lnTo>
                  <a:lnTo>
                    <a:pt x="592125" y="353841"/>
                  </a:lnTo>
                  <a:lnTo>
                    <a:pt x="609702" y="364001"/>
                  </a:lnTo>
                  <a:close/>
                </a:path>
              </a:pathLst>
            </a:custGeom>
            <a:grpFill/>
            <a:ln w="3365" cap="flat">
              <a:noFill/>
              <a:prstDash val="solid"/>
              <a:miter/>
            </a:ln>
          </p:spPr>
          <p:txBody>
            <a:bodyPr lIns="137160" tIns="68580" rIns="137160" bIns="685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Arial" charset="0"/>
              </a:endParaRPr>
            </a:p>
          </p:txBody>
        </p:sp>
      </p:grpSp>
      <p:grpSp>
        <p:nvGrpSpPr>
          <p:cNvPr id="49" name="Group 44">
            <a:extLst>
              <a:ext uri="{FF2B5EF4-FFF2-40B4-BE49-F238E27FC236}">
                <a16:creationId xmlns:a16="http://schemas.microsoft.com/office/drawing/2014/main" id="{66AA172A-2707-39E8-D8B8-5B86CF0B1B00}"/>
              </a:ext>
            </a:extLst>
          </p:cNvPr>
          <p:cNvGrpSpPr>
            <a:grpSpLocks noChangeAspect="1"/>
          </p:cNvGrpSpPr>
          <p:nvPr/>
        </p:nvGrpSpPr>
        <p:grpSpPr>
          <a:xfrm>
            <a:off x="10147144" y="4021549"/>
            <a:ext cx="574817" cy="574817"/>
            <a:chOff x="4032000" y="2889051"/>
            <a:chExt cx="1080000" cy="1080000"/>
          </a:xfrm>
          <a:solidFill>
            <a:schemeClr val="accent6">
              <a:lumMod val="75000"/>
            </a:schemeClr>
          </a:solidFill>
        </p:grpSpPr>
        <p:sp>
          <p:nvSpPr>
            <p:cNvPr id="53" name="Frame 48">
              <a:extLst>
                <a:ext uri="{FF2B5EF4-FFF2-40B4-BE49-F238E27FC236}">
                  <a16:creationId xmlns:a16="http://schemas.microsoft.com/office/drawing/2014/main" id="{8713B72C-6185-464D-2DBE-491E932EC1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32000" y="2889051"/>
              <a:ext cx="1080000" cy="1080000"/>
            </a:xfrm>
            <a:prstGeom prst="frame">
              <a:avLst>
                <a:gd name="adj1" fmla="val 0"/>
              </a:avLst>
            </a:prstGeom>
            <a:grpFill/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:a16="http://schemas.microsoft.com/office/drawing/2014/main" id="{155F4CA1-8C60-98F3-C9A8-4EAAFC6C5D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4000" y="3009629"/>
              <a:ext cx="1016000" cy="838843"/>
            </a:xfrm>
            <a:custGeom>
              <a:avLst/>
              <a:gdLst>
                <a:gd name="connsiteX0" fmla="*/ 1005840 w 1016000"/>
                <a:gd name="connsiteY0" fmla="*/ 752551 h 838843"/>
                <a:gd name="connsiteX1" fmla="*/ 936752 w 1016000"/>
                <a:gd name="connsiteY1" fmla="*/ 752551 h 838843"/>
                <a:gd name="connsiteX2" fmla="*/ 936752 w 1016000"/>
                <a:gd name="connsiteY2" fmla="*/ 696705 h 838843"/>
                <a:gd name="connsiteX3" fmla="*/ 926592 w 1016000"/>
                <a:gd name="connsiteY3" fmla="*/ 686545 h 838843"/>
                <a:gd name="connsiteX4" fmla="*/ 880533 w 1016000"/>
                <a:gd name="connsiteY4" fmla="*/ 686545 h 838843"/>
                <a:gd name="connsiteX5" fmla="*/ 880533 w 1016000"/>
                <a:gd name="connsiteY5" fmla="*/ 523985 h 838843"/>
                <a:gd name="connsiteX6" fmla="*/ 870373 w 1016000"/>
                <a:gd name="connsiteY6" fmla="*/ 513825 h 838843"/>
                <a:gd name="connsiteX7" fmla="*/ 665311 w 1016000"/>
                <a:gd name="connsiteY7" fmla="*/ 513825 h 838843"/>
                <a:gd name="connsiteX8" fmla="*/ 655151 w 1016000"/>
                <a:gd name="connsiteY8" fmla="*/ 523985 h 838843"/>
                <a:gd name="connsiteX9" fmla="*/ 655151 w 1016000"/>
                <a:gd name="connsiteY9" fmla="*/ 686545 h 838843"/>
                <a:gd name="connsiteX10" fmla="*/ 620641 w 1016000"/>
                <a:gd name="connsiteY10" fmla="*/ 686545 h 838843"/>
                <a:gd name="connsiteX11" fmla="*/ 620641 w 1016000"/>
                <a:gd name="connsiteY11" fmla="*/ 345406 h 838843"/>
                <a:gd name="connsiteX12" fmla="*/ 610481 w 1016000"/>
                <a:gd name="connsiteY12" fmla="*/ 335246 h 838843"/>
                <a:gd name="connsiteX13" fmla="*/ 452662 w 1016000"/>
                <a:gd name="connsiteY13" fmla="*/ 335246 h 838843"/>
                <a:gd name="connsiteX14" fmla="*/ 483650 w 1016000"/>
                <a:gd name="connsiteY14" fmla="*/ 283735 h 838843"/>
                <a:gd name="connsiteX15" fmla="*/ 471085 w 1016000"/>
                <a:gd name="connsiteY15" fmla="*/ 249868 h 838843"/>
                <a:gd name="connsiteX16" fmla="*/ 403352 w 1016000"/>
                <a:gd name="connsiteY16" fmla="*/ 160494 h 838843"/>
                <a:gd name="connsiteX17" fmla="*/ 372872 w 1016000"/>
                <a:gd name="connsiteY17" fmla="*/ 20354 h 838843"/>
                <a:gd name="connsiteX18" fmla="*/ 643128 w 1016000"/>
                <a:gd name="connsiteY18" fmla="*/ 20354 h 838843"/>
                <a:gd name="connsiteX19" fmla="*/ 612648 w 1016000"/>
                <a:gd name="connsiteY19" fmla="*/ 160494 h 838843"/>
                <a:gd name="connsiteX20" fmla="*/ 544915 w 1016000"/>
                <a:gd name="connsiteY20" fmla="*/ 249868 h 838843"/>
                <a:gd name="connsiteX21" fmla="*/ 532350 w 1016000"/>
                <a:gd name="connsiteY21" fmla="*/ 283735 h 838843"/>
                <a:gd name="connsiteX22" fmla="*/ 556734 w 1016000"/>
                <a:gd name="connsiteY22" fmla="*/ 327762 h 838843"/>
                <a:gd name="connsiteX23" fmla="*/ 572685 w 1016000"/>
                <a:gd name="connsiteY23" fmla="*/ 315163 h 838843"/>
                <a:gd name="connsiteX24" fmla="*/ 551248 w 1016000"/>
                <a:gd name="connsiteY24" fmla="*/ 276386 h 838843"/>
                <a:gd name="connsiteX25" fmla="*/ 554431 w 1016000"/>
                <a:gd name="connsiteY25" fmla="*/ 267784 h 838843"/>
                <a:gd name="connsiteX26" fmla="*/ 618168 w 1016000"/>
                <a:gd name="connsiteY26" fmla="*/ 204250 h 838843"/>
                <a:gd name="connsiteX27" fmla="*/ 713164 w 1016000"/>
                <a:gd name="connsiteY27" fmla="*/ 97164 h 838843"/>
                <a:gd name="connsiteX28" fmla="*/ 706628 w 1016000"/>
                <a:gd name="connsiteY28" fmla="*/ 50868 h 838843"/>
                <a:gd name="connsiteX29" fmla="*/ 664870 w 1016000"/>
                <a:gd name="connsiteY29" fmla="*/ 29261 h 838843"/>
                <a:gd name="connsiteX30" fmla="*/ 661992 w 1016000"/>
                <a:gd name="connsiteY30" fmla="*/ 29261 h 838843"/>
                <a:gd name="connsiteX31" fmla="*/ 665683 w 1016000"/>
                <a:gd name="connsiteY31" fmla="*/ 12328 h 838843"/>
                <a:gd name="connsiteX32" fmla="*/ 657924 w 1016000"/>
                <a:gd name="connsiteY32" fmla="*/ 234 h 838843"/>
                <a:gd name="connsiteX33" fmla="*/ 655726 w 1016000"/>
                <a:gd name="connsiteY33" fmla="*/ 0 h 838843"/>
                <a:gd name="connsiteX34" fmla="*/ 360274 w 1016000"/>
                <a:gd name="connsiteY34" fmla="*/ 0 h 838843"/>
                <a:gd name="connsiteX35" fmla="*/ 350083 w 1016000"/>
                <a:gd name="connsiteY35" fmla="*/ 10129 h 838843"/>
                <a:gd name="connsiteX36" fmla="*/ 350317 w 1016000"/>
                <a:gd name="connsiteY36" fmla="*/ 12328 h 838843"/>
                <a:gd name="connsiteX37" fmla="*/ 354008 w 1016000"/>
                <a:gd name="connsiteY37" fmla="*/ 29261 h 838843"/>
                <a:gd name="connsiteX38" fmla="*/ 351130 w 1016000"/>
                <a:gd name="connsiteY38" fmla="*/ 29261 h 838843"/>
                <a:gd name="connsiteX39" fmla="*/ 309372 w 1016000"/>
                <a:gd name="connsiteY39" fmla="*/ 50868 h 838843"/>
                <a:gd name="connsiteX40" fmla="*/ 302836 w 1016000"/>
                <a:gd name="connsiteY40" fmla="*/ 97164 h 838843"/>
                <a:gd name="connsiteX41" fmla="*/ 397832 w 1016000"/>
                <a:gd name="connsiteY41" fmla="*/ 204250 h 838843"/>
                <a:gd name="connsiteX42" fmla="*/ 461569 w 1016000"/>
                <a:gd name="connsiteY42" fmla="*/ 267784 h 838843"/>
                <a:gd name="connsiteX43" fmla="*/ 464752 w 1016000"/>
                <a:gd name="connsiteY43" fmla="*/ 276386 h 838843"/>
                <a:gd name="connsiteX44" fmla="*/ 418389 w 1016000"/>
                <a:gd name="connsiteY44" fmla="*/ 335348 h 838843"/>
                <a:gd name="connsiteX45" fmla="*/ 405519 w 1016000"/>
                <a:gd name="connsiteY45" fmla="*/ 335348 h 838843"/>
                <a:gd name="connsiteX46" fmla="*/ 395359 w 1016000"/>
                <a:gd name="connsiteY46" fmla="*/ 345508 h 838843"/>
                <a:gd name="connsiteX47" fmla="*/ 395359 w 1016000"/>
                <a:gd name="connsiteY47" fmla="*/ 686545 h 838843"/>
                <a:gd name="connsiteX48" fmla="*/ 360849 w 1016000"/>
                <a:gd name="connsiteY48" fmla="*/ 686545 h 838843"/>
                <a:gd name="connsiteX49" fmla="*/ 360849 w 1016000"/>
                <a:gd name="connsiteY49" fmla="*/ 434137 h 838843"/>
                <a:gd name="connsiteX50" fmla="*/ 350689 w 1016000"/>
                <a:gd name="connsiteY50" fmla="*/ 423977 h 838843"/>
                <a:gd name="connsiteX51" fmla="*/ 145627 w 1016000"/>
                <a:gd name="connsiteY51" fmla="*/ 423977 h 838843"/>
                <a:gd name="connsiteX52" fmla="*/ 135467 w 1016000"/>
                <a:gd name="connsiteY52" fmla="*/ 434137 h 838843"/>
                <a:gd name="connsiteX53" fmla="*/ 135467 w 1016000"/>
                <a:gd name="connsiteY53" fmla="*/ 686545 h 838843"/>
                <a:gd name="connsiteX54" fmla="*/ 89408 w 1016000"/>
                <a:gd name="connsiteY54" fmla="*/ 686545 h 838843"/>
                <a:gd name="connsiteX55" fmla="*/ 79248 w 1016000"/>
                <a:gd name="connsiteY55" fmla="*/ 696705 h 838843"/>
                <a:gd name="connsiteX56" fmla="*/ 79248 w 1016000"/>
                <a:gd name="connsiteY56" fmla="*/ 752551 h 838843"/>
                <a:gd name="connsiteX57" fmla="*/ 10160 w 1016000"/>
                <a:gd name="connsiteY57" fmla="*/ 752551 h 838843"/>
                <a:gd name="connsiteX58" fmla="*/ 0 w 1016000"/>
                <a:gd name="connsiteY58" fmla="*/ 762711 h 838843"/>
                <a:gd name="connsiteX59" fmla="*/ 0 w 1016000"/>
                <a:gd name="connsiteY59" fmla="*/ 828684 h 838843"/>
                <a:gd name="connsiteX60" fmla="*/ 10160 w 1016000"/>
                <a:gd name="connsiteY60" fmla="*/ 838844 h 838843"/>
                <a:gd name="connsiteX61" fmla="*/ 754549 w 1016000"/>
                <a:gd name="connsiteY61" fmla="*/ 838844 h 838843"/>
                <a:gd name="connsiteX62" fmla="*/ 754549 w 1016000"/>
                <a:gd name="connsiteY62" fmla="*/ 818524 h 838843"/>
                <a:gd name="connsiteX63" fmla="*/ 20320 w 1016000"/>
                <a:gd name="connsiteY63" fmla="*/ 818524 h 838843"/>
                <a:gd name="connsiteX64" fmla="*/ 20320 w 1016000"/>
                <a:gd name="connsiteY64" fmla="*/ 772871 h 838843"/>
                <a:gd name="connsiteX65" fmla="*/ 995680 w 1016000"/>
                <a:gd name="connsiteY65" fmla="*/ 772871 h 838843"/>
                <a:gd name="connsiteX66" fmla="*/ 995680 w 1016000"/>
                <a:gd name="connsiteY66" fmla="*/ 818524 h 838843"/>
                <a:gd name="connsiteX67" fmla="*/ 870373 w 1016000"/>
                <a:gd name="connsiteY67" fmla="*/ 818524 h 838843"/>
                <a:gd name="connsiteX68" fmla="*/ 870373 w 1016000"/>
                <a:gd name="connsiteY68" fmla="*/ 838844 h 838843"/>
                <a:gd name="connsiteX69" fmla="*/ 1005840 w 1016000"/>
                <a:gd name="connsiteY69" fmla="*/ 838844 h 838843"/>
                <a:gd name="connsiteX70" fmla="*/ 1016000 w 1016000"/>
                <a:gd name="connsiteY70" fmla="*/ 828684 h 838843"/>
                <a:gd name="connsiteX71" fmla="*/ 1016000 w 1016000"/>
                <a:gd name="connsiteY71" fmla="*/ 762711 h 838843"/>
                <a:gd name="connsiteX72" fmla="*/ 1005840 w 1016000"/>
                <a:gd name="connsiteY72" fmla="*/ 752551 h 838843"/>
                <a:gd name="connsiteX73" fmla="*/ 664870 w 1016000"/>
                <a:gd name="connsiteY73" fmla="*/ 49479 h 838843"/>
                <a:gd name="connsiteX74" fmla="*/ 695686 w 1016000"/>
                <a:gd name="connsiteY74" fmla="*/ 80234 h 838843"/>
                <a:gd name="connsiteX75" fmla="*/ 693996 w 1016000"/>
                <a:gd name="connsiteY75" fmla="*/ 90322 h 838843"/>
                <a:gd name="connsiteX76" fmla="*/ 630868 w 1016000"/>
                <a:gd name="connsiteY76" fmla="*/ 171602 h 838843"/>
                <a:gd name="connsiteX77" fmla="*/ 632595 w 1016000"/>
                <a:gd name="connsiteY77" fmla="*/ 164592 h 838843"/>
                <a:gd name="connsiteX78" fmla="*/ 657589 w 1016000"/>
                <a:gd name="connsiteY78" fmla="*/ 49445 h 838843"/>
                <a:gd name="connsiteX79" fmla="*/ 322004 w 1016000"/>
                <a:gd name="connsiteY79" fmla="*/ 90322 h 838843"/>
                <a:gd name="connsiteX80" fmla="*/ 341041 w 1016000"/>
                <a:gd name="connsiteY80" fmla="*/ 51169 h 838843"/>
                <a:gd name="connsiteX81" fmla="*/ 351130 w 1016000"/>
                <a:gd name="connsiteY81" fmla="*/ 49479 h 838843"/>
                <a:gd name="connsiteX82" fmla="*/ 358411 w 1016000"/>
                <a:gd name="connsiteY82" fmla="*/ 49479 h 838843"/>
                <a:gd name="connsiteX83" fmla="*/ 383405 w 1016000"/>
                <a:gd name="connsiteY83" fmla="*/ 164626 h 838843"/>
                <a:gd name="connsiteX84" fmla="*/ 385132 w 1016000"/>
                <a:gd name="connsiteY84" fmla="*/ 171636 h 838843"/>
                <a:gd name="connsiteX85" fmla="*/ 322004 w 1016000"/>
                <a:gd name="connsiteY85" fmla="*/ 90322 h 838843"/>
                <a:gd name="connsiteX86" fmla="*/ 675471 w 1016000"/>
                <a:gd name="connsiteY86" fmla="*/ 534213 h 838843"/>
                <a:gd name="connsiteX87" fmla="*/ 860213 w 1016000"/>
                <a:gd name="connsiteY87" fmla="*/ 534213 h 838843"/>
                <a:gd name="connsiteX88" fmla="*/ 860213 w 1016000"/>
                <a:gd name="connsiteY88" fmla="*/ 686613 h 838843"/>
                <a:gd name="connsiteX89" fmla="*/ 675471 w 1016000"/>
                <a:gd name="connsiteY89" fmla="*/ 686613 h 838843"/>
                <a:gd name="connsiteX90" fmla="*/ 415679 w 1016000"/>
                <a:gd name="connsiteY90" fmla="*/ 355566 h 838843"/>
                <a:gd name="connsiteX91" fmla="*/ 600321 w 1016000"/>
                <a:gd name="connsiteY91" fmla="*/ 355566 h 838843"/>
                <a:gd name="connsiteX92" fmla="*/ 600321 w 1016000"/>
                <a:gd name="connsiteY92" fmla="*/ 686545 h 838843"/>
                <a:gd name="connsiteX93" fmla="*/ 415679 w 1016000"/>
                <a:gd name="connsiteY93" fmla="*/ 686545 h 838843"/>
                <a:gd name="connsiteX94" fmla="*/ 155787 w 1016000"/>
                <a:gd name="connsiteY94" fmla="*/ 444297 h 838843"/>
                <a:gd name="connsiteX95" fmla="*/ 340394 w 1016000"/>
                <a:gd name="connsiteY95" fmla="*/ 444297 h 838843"/>
                <a:gd name="connsiteX96" fmla="*/ 340394 w 1016000"/>
                <a:gd name="connsiteY96" fmla="*/ 686545 h 838843"/>
                <a:gd name="connsiteX97" fmla="*/ 155787 w 1016000"/>
                <a:gd name="connsiteY97" fmla="*/ 686545 h 838843"/>
                <a:gd name="connsiteX98" fmla="*/ 99433 w 1016000"/>
                <a:gd name="connsiteY98" fmla="*/ 752484 h 838843"/>
                <a:gd name="connsiteX99" fmla="*/ 99433 w 1016000"/>
                <a:gd name="connsiteY99" fmla="*/ 706865 h 838843"/>
                <a:gd name="connsiteX100" fmla="*/ 916432 w 1016000"/>
                <a:gd name="connsiteY100" fmla="*/ 706865 h 838843"/>
                <a:gd name="connsiteX101" fmla="*/ 916432 w 1016000"/>
                <a:gd name="connsiteY101" fmla="*/ 752551 h 838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16000" h="838843">
                  <a:moveTo>
                    <a:pt x="1005840" y="752551"/>
                  </a:moveTo>
                  <a:lnTo>
                    <a:pt x="936752" y="752551"/>
                  </a:lnTo>
                  <a:lnTo>
                    <a:pt x="936752" y="696705"/>
                  </a:lnTo>
                  <a:cubicBezTo>
                    <a:pt x="936752" y="691093"/>
                    <a:pt x="932204" y="686545"/>
                    <a:pt x="926592" y="686545"/>
                  </a:cubicBezTo>
                  <a:lnTo>
                    <a:pt x="880533" y="686545"/>
                  </a:lnTo>
                  <a:lnTo>
                    <a:pt x="880533" y="523985"/>
                  </a:lnTo>
                  <a:cubicBezTo>
                    <a:pt x="880533" y="518373"/>
                    <a:pt x="875985" y="513825"/>
                    <a:pt x="870373" y="513825"/>
                  </a:cubicBezTo>
                  <a:lnTo>
                    <a:pt x="665311" y="513825"/>
                  </a:lnTo>
                  <a:cubicBezTo>
                    <a:pt x="659699" y="513825"/>
                    <a:pt x="655151" y="518373"/>
                    <a:pt x="655151" y="523985"/>
                  </a:cubicBezTo>
                  <a:lnTo>
                    <a:pt x="655151" y="686545"/>
                  </a:lnTo>
                  <a:lnTo>
                    <a:pt x="620641" y="686545"/>
                  </a:lnTo>
                  <a:lnTo>
                    <a:pt x="620641" y="345406"/>
                  </a:lnTo>
                  <a:cubicBezTo>
                    <a:pt x="620641" y="339794"/>
                    <a:pt x="616092" y="335246"/>
                    <a:pt x="610481" y="335246"/>
                  </a:cubicBezTo>
                  <a:lnTo>
                    <a:pt x="452662" y="335246"/>
                  </a:lnTo>
                  <a:cubicBezTo>
                    <a:pt x="467936" y="319092"/>
                    <a:pt x="478062" y="297993"/>
                    <a:pt x="483650" y="283735"/>
                  </a:cubicBezTo>
                  <a:cubicBezTo>
                    <a:pt x="488696" y="270893"/>
                    <a:pt x="483284" y="256310"/>
                    <a:pt x="471085" y="249868"/>
                  </a:cubicBezTo>
                  <a:cubicBezTo>
                    <a:pt x="436413" y="231546"/>
                    <a:pt x="411619" y="198829"/>
                    <a:pt x="403352" y="160494"/>
                  </a:cubicBezTo>
                  <a:lnTo>
                    <a:pt x="372872" y="20354"/>
                  </a:lnTo>
                  <a:lnTo>
                    <a:pt x="643128" y="20354"/>
                  </a:lnTo>
                  <a:lnTo>
                    <a:pt x="612648" y="160494"/>
                  </a:lnTo>
                  <a:cubicBezTo>
                    <a:pt x="604381" y="198829"/>
                    <a:pt x="579587" y="231546"/>
                    <a:pt x="544915" y="249868"/>
                  </a:cubicBezTo>
                  <a:cubicBezTo>
                    <a:pt x="532713" y="256310"/>
                    <a:pt x="527304" y="270893"/>
                    <a:pt x="532350" y="283735"/>
                  </a:cubicBezTo>
                  <a:cubicBezTo>
                    <a:pt x="538372" y="299483"/>
                    <a:pt x="546578" y="314303"/>
                    <a:pt x="556734" y="327762"/>
                  </a:cubicBezTo>
                  <a:lnTo>
                    <a:pt x="572685" y="315163"/>
                  </a:lnTo>
                  <a:cubicBezTo>
                    <a:pt x="563768" y="303300"/>
                    <a:pt x="556551" y="290248"/>
                    <a:pt x="551248" y="276386"/>
                  </a:cubicBezTo>
                  <a:cubicBezTo>
                    <a:pt x="549910" y="273128"/>
                    <a:pt x="551295" y="269386"/>
                    <a:pt x="554431" y="267784"/>
                  </a:cubicBezTo>
                  <a:cubicBezTo>
                    <a:pt x="581555" y="253462"/>
                    <a:pt x="603758" y="231328"/>
                    <a:pt x="618168" y="204250"/>
                  </a:cubicBezTo>
                  <a:cubicBezTo>
                    <a:pt x="677401" y="170383"/>
                    <a:pt x="702530" y="127373"/>
                    <a:pt x="713164" y="97164"/>
                  </a:cubicBezTo>
                  <a:cubicBezTo>
                    <a:pt x="718715" y="81594"/>
                    <a:pt x="716273" y="64292"/>
                    <a:pt x="706628" y="50868"/>
                  </a:cubicBezTo>
                  <a:cubicBezTo>
                    <a:pt x="697023" y="37336"/>
                    <a:pt x="681465" y="29287"/>
                    <a:pt x="664870" y="29261"/>
                  </a:cubicBezTo>
                  <a:lnTo>
                    <a:pt x="661992" y="29261"/>
                  </a:lnTo>
                  <a:lnTo>
                    <a:pt x="665683" y="12328"/>
                  </a:lnTo>
                  <a:cubicBezTo>
                    <a:pt x="666879" y="6846"/>
                    <a:pt x="663407" y="1431"/>
                    <a:pt x="657924" y="234"/>
                  </a:cubicBezTo>
                  <a:cubicBezTo>
                    <a:pt x="657203" y="76"/>
                    <a:pt x="656465" y="-2"/>
                    <a:pt x="655726" y="0"/>
                  </a:cubicBezTo>
                  <a:lnTo>
                    <a:pt x="360274" y="0"/>
                  </a:lnTo>
                  <a:cubicBezTo>
                    <a:pt x="354662" y="-17"/>
                    <a:pt x="350100" y="4518"/>
                    <a:pt x="350083" y="10129"/>
                  </a:cubicBezTo>
                  <a:cubicBezTo>
                    <a:pt x="350080" y="10868"/>
                    <a:pt x="350158" y="11605"/>
                    <a:pt x="350317" y="12328"/>
                  </a:cubicBezTo>
                  <a:lnTo>
                    <a:pt x="354008" y="29261"/>
                  </a:lnTo>
                  <a:lnTo>
                    <a:pt x="351130" y="29261"/>
                  </a:lnTo>
                  <a:cubicBezTo>
                    <a:pt x="334535" y="29287"/>
                    <a:pt x="318978" y="37336"/>
                    <a:pt x="309372" y="50868"/>
                  </a:cubicBezTo>
                  <a:cubicBezTo>
                    <a:pt x="299727" y="64292"/>
                    <a:pt x="297285" y="81594"/>
                    <a:pt x="302836" y="97164"/>
                  </a:cubicBezTo>
                  <a:cubicBezTo>
                    <a:pt x="313470" y="127373"/>
                    <a:pt x="338599" y="170282"/>
                    <a:pt x="397832" y="204250"/>
                  </a:cubicBezTo>
                  <a:cubicBezTo>
                    <a:pt x="412242" y="231328"/>
                    <a:pt x="434445" y="253462"/>
                    <a:pt x="461569" y="267784"/>
                  </a:cubicBezTo>
                  <a:cubicBezTo>
                    <a:pt x="464705" y="269386"/>
                    <a:pt x="466090" y="273128"/>
                    <a:pt x="464752" y="276386"/>
                  </a:cubicBezTo>
                  <a:cubicBezTo>
                    <a:pt x="458995" y="290982"/>
                    <a:pt x="443044" y="325493"/>
                    <a:pt x="418389" y="335348"/>
                  </a:cubicBezTo>
                  <a:lnTo>
                    <a:pt x="405519" y="335348"/>
                  </a:lnTo>
                  <a:cubicBezTo>
                    <a:pt x="399908" y="335348"/>
                    <a:pt x="395359" y="339896"/>
                    <a:pt x="395359" y="345508"/>
                  </a:cubicBezTo>
                  <a:lnTo>
                    <a:pt x="395359" y="686545"/>
                  </a:lnTo>
                  <a:lnTo>
                    <a:pt x="360849" y="686545"/>
                  </a:lnTo>
                  <a:lnTo>
                    <a:pt x="360849" y="434137"/>
                  </a:lnTo>
                  <a:cubicBezTo>
                    <a:pt x="360849" y="428525"/>
                    <a:pt x="356301" y="423977"/>
                    <a:pt x="350689" y="423977"/>
                  </a:cubicBezTo>
                  <a:lnTo>
                    <a:pt x="145627" y="423977"/>
                  </a:lnTo>
                  <a:cubicBezTo>
                    <a:pt x="140015" y="423977"/>
                    <a:pt x="135467" y="428525"/>
                    <a:pt x="135467" y="434137"/>
                  </a:cubicBezTo>
                  <a:lnTo>
                    <a:pt x="135467" y="686545"/>
                  </a:lnTo>
                  <a:lnTo>
                    <a:pt x="89408" y="686545"/>
                  </a:lnTo>
                  <a:cubicBezTo>
                    <a:pt x="83797" y="686545"/>
                    <a:pt x="79248" y="691093"/>
                    <a:pt x="79248" y="696705"/>
                  </a:cubicBezTo>
                  <a:lnTo>
                    <a:pt x="79248" y="752551"/>
                  </a:lnTo>
                  <a:lnTo>
                    <a:pt x="10160" y="752551"/>
                  </a:lnTo>
                  <a:cubicBezTo>
                    <a:pt x="4549" y="752551"/>
                    <a:pt x="0" y="757100"/>
                    <a:pt x="0" y="762711"/>
                  </a:cubicBezTo>
                  <a:lnTo>
                    <a:pt x="0" y="828684"/>
                  </a:lnTo>
                  <a:cubicBezTo>
                    <a:pt x="0" y="834295"/>
                    <a:pt x="4549" y="838844"/>
                    <a:pt x="10160" y="838844"/>
                  </a:cubicBezTo>
                  <a:lnTo>
                    <a:pt x="754549" y="838844"/>
                  </a:lnTo>
                  <a:lnTo>
                    <a:pt x="754549" y="818524"/>
                  </a:lnTo>
                  <a:lnTo>
                    <a:pt x="20320" y="818524"/>
                  </a:lnTo>
                  <a:lnTo>
                    <a:pt x="20320" y="772871"/>
                  </a:lnTo>
                  <a:lnTo>
                    <a:pt x="995680" y="772871"/>
                  </a:lnTo>
                  <a:lnTo>
                    <a:pt x="995680" y="818524"/>
                  </a:lnTo>
                  <a:lnTo>
                    <a:pt x="870373" y="818524"/>
                  </a:lnTo>
                  <a:lnTo>
                    <a:pt x="870373" y="838844"/>
                  </a:lnTo>
                  <a:lnTo>
                    <a:pt x="1005840" y="838844"/>
                  </a:lnTo>
                  <a:cubicBezTo>
                    <a:pt x="1011452" y="838844"/>
                    <a:pt x="1016000" y="834295"/>
                    <a:pt x="1016000" y="828684"/>
                  </a:cubicBezTo>
                  <a:lnTo>
                    <a:pt x="1016000" y="762711"/>
                  </a:lnTo>
                  <a:cubicBezTo>
                    <a:pt x="1016000" y="757100"/>
                    <a:pt x="1011452" y="752551"/>
                    <a:pt x="1005840" y="752551"/>
                  </a:cubicBezTo>
                  <a:close/>
                  <a:moveTo>
                    <a:pt x="664870" y="49479"/>
                  </a:moveTo>
                  <a:cubicBezTo>
                    <a:pt x="681871" y="49463"/>
                    <a:pt x="695669" y="63232"/>
                    <a:pt x="695686" y="80234"/>
                  </a:cubicBezTo>
                  <a:cubicBezTo>
                    <a:pt x="695689" y="83667"/>
                    <a:pt x="695117" y="87077"/>
                    <a:pt x="693996" y="90322"/>
                  </a:cubicBezTo>
                  <a:cubicBezTo>
                    <a:pt x="685969" y="113081"/>
                    <a:pt x="668528" y="144001"/>
                    <a:pt x="630868" y="171602"/>
                  </a:cubicBezTo>
                  <a:cubicBezTo>
                    <a:pt x="631502" y="169345"/>
                    <a:pt x="632077" y="167008"/>
                    <a:pt x="632595" y="164592"/>
                  </a:cubicBezTo>
                  <a:lnTo>
                    <a:pt x="657589" y="49445"/>
                  </a:lnTo>
                  <a:close/>
                  <a:moveTo>
                    <a:pt x="322004" y="90322"/>
                  </a:moveTo>
                  <a:cubicBezTo>
                    <a:pt x="316449" y="74254"/>
                    <a:pt x="324972" y="56724"/>
                    <a:pt x="341041" y="51169"/>
                  </a:cubicBezTo>
                  <a:cubicBezTo>
                    <a:pt x="344285" y="50047"/>
                    <a:pt x="347696" y="49476"/>
                    <a:pt x="351130" y="49479"/>
                  </a:cubicBezTo>
                  <a:lnTo>
                    <a:pt x="358411" y="49479"/>
                  </a:lnTo>
                  <a:lnTo>
                    <a:pt x="383405" y="164626"/>
                  </a:lnTo>
                  <a:cubicBezTo>
                    <a:pt x="383913" y="166997"/>
                    <a:pt x="384522" y="169333"/>
                    <a:pt x="385132" y="171636"/>
                  </a:cubicBezTo>
                  <a:cubicBezTo>
                    <a:pt x="347472" y="144001"/>
                    <a:pt x="330031" y="113081"/>
                    <a:pt x="322004" y="90322"/>
                  </a:cubicBezTo>
                  <a:close/>
                  <a:moveTo>
                    <a:pt x="675471" y="534213"/>
                  </a:moveTo>
                  <a:lnTo>
                    <a:pt x="860213" y="534213"/>
                  </a:lnTo>
                  <a:lnTo>
                    <a:pt x="860213" y="686613"/>
                  </a:lnTo>
                  <a:lnTo>
                    <a:pt x="675471" y="686613"/>
                  </a:lnTo>
                  <a:close/>
                  <a:moveTo>
                    <a:pt x="415679" y="355566"/>
                  </a:moveTo>
                  <a:lnTo>
                    <a:pt x="600321" y="355566"/>
                  </a:lnTo>
                  <a:lnTo>
                    <a:pt x="600321" y="686545"/>
                  </a:lnTo>
                  <a:lnTo>
                    <a:pt x="415679" y="686545"/>
                  </a:lnTo>
                  <a:close/>
                  <a:moveTo>
                    <a:pt x="155787" y="444297"/>
                  </a:moveTo>
                  <a:lnTo>
                    <a:pt x="340394" y="444297"/>
                  </a:lnTo>
                  <a:lnTo>
                    <a:pt x="340394" y="686545"/>
                  </a:lnTo>
                  <a:lnTo>
                    <a:pt x="155787" y="686545"/>
                  </a:lnTo>
                  <a:close/>
                  <a:moveTo>
                    <a:pt x="99433" y="752484"/>
                  </a:moveTo>
                  <a:lnTo>
                    <a:pt x="99433" y="706865"/>
                  </a:lnTo>
                  <a:lnTo>
                    <a:pt x="916432" y="706865"/>
                  </a:lnTo>
                  <a:lnTo>
                    <a:pt x="916432" y="752551"/>
                  </a:lnTo>
                  <a:close/>
                </a:path>
              </a:pathLst>
            </a:custGeom>
            <a:grpFill/>
            <a:ln w="3365" cap="flat">
              <a:noFill/>
              <a:prstDash val="solid"/>
              <a:miter/>
            </a:ln>
          </p:spPr>
          <p:txBody>
            <a:bodyPr lIns="137160" tIns="68580" rIns="137160" bIns="685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Arial" charset="0"/>
              </a:endParaRPr>
            </a:p>
          </p:txBody>
        </p:sp>
      </p:grpSp>
      <p:grpSp>
        <p:nvGrpSpPr>
          <p:cNvPr id="50" name="Group 45">
            <a:extLst>
              <a:ext uri="{FF2B5EF4-FFF2-40B4-BE49-F238E27FC236}">
                <a16:creationId xmlns:a16="http://schemas.microsoft.com/office/drawing/2014/main" id="{7113A941-683F-DEDD-3290-F8D81B20B35E}"/>
              </a:ext>
            </a:extLst>
          </p:cNvPr>
          <p:cNvGrpSpPr>
            <a:grpSpLocks noChangeAspect="1"/>
          </p:cNvGrpSpPr>
          <p:nvPr/>
        </p:nvGrpSpPr>
        <p:grpSpPr>
          <a:xfrm>
            <a:off x="1428283" y="4021549"/>
            <a:ext cx="574817" cy="574817"/>
            <a:chOff x="4032000" y="2889000"/>
            <a:chExt cx="1080000" cy="1080000"/>
          </a:xfrm>
          <a:solidFill>
            <a:schemeClr val="accent1"/>
          </a:solidFill>
        </p:grpSpPr>
        <p:sp>
          <p:nvSpPr>
            <p:cNvPr id="51" name="Frame 46">
              <a:extLst>
                <a:ext uri="{FF2B5EF4-FFF2-40B4-BE49-F238E27FC236}">
                  <a16:creationId xmlns:a16="http://schemas.microsoft.com/office/drawing/2014/main" id="{06F3C5A2-2644-257B-F944-236A825E4E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32000" y="2889000"/>
              <a:ext cx="1080000" cy="1080000"/>
            </a:xfrm>
            <a:prstGeom prst="frame">
              <a:avLst>
                <a:gd name="adj1" fmla="val 0"/>
              </a:avLst>
            </a:prstGeom>
            <a:grpFill/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:a16="http://schemas.microsoft.com/office/drawing/2014/main" id="{53DD09E7-7FF0-D730-1DB4-ECEDEC3098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64203" y="2921203"/>
              <a:ext cx="1015593" cy="1015593"/>
            </a:xfrm>
            <a:custGeom>
              <a:avLst/>
              <a:gdLst>
                <a:gd name="connsiteX0" fmla="*/ 507797 w 1015593"/>
                <a:gd name="connsiteY0" fmla="*/ 0 h 1015593"/>
                <a:gd name="connsiteX1" fmla="*/ 0 w 1015593"/>
                <a:gd name="connsiteY1" fmla="*/ 507797 h 1015593"/>
                <a:gd name="connsiteX2" fmla="*/ 507797 w 1015593"/>
                <a:gd name="connsiteY2" fmla="*/ 1015594 h 1015593"/>
                <a:gd name="connsiteX3" fmla="*/ 1015594 w 1015593"/>
                <a:gd name="connsiteY3" fmla="*/ 507797 h 1015593"/>
                <a:gd name="connsiteX4" fmla="*/ 507797 w 1015593"/>
                <a:gd name="connsiteY4" fmla="*/ 0 h 1015593"/>
                <a:gd name="connsiteX5" fmla="*/ 507797 w 1015593"/>
                <a:gd name="connsiteY5" fmla="*/ 995274 h 1015593"/>
                <a:gd name="connsiteX6" fmla="*/ 20320 w 1015593"/>
                <a:gd name="connsiteY6" fmla="*/ 507797 h 1015593"/>
                <a:gd name="connsiteX7" fmla="*/ 507797 w 1015593"/>
                <a:gd name="connsiteY7" fmla="*/ 20320 h 1015593"/>
                <a:gd name="connsiteX8" fmla="*/ 995274 w 1015593"/>
                <a:gd name="connsiteY8" fmla="*/ 507797 h 1015593"/>
                <a:gd name="connsiteX9" fmla="*/ 507797 w 1015593"/>
                <a:gd name="connsiteY9" fmla="*/ 995274 h 1015593"/>
                <a:gd name="connsiteX10" fmla="*/ 507797 w 1015593"/>
                <a:gd name="connsiteY10" fmla="*/ 123444 h 1015593"/>
                <a:gd name="connsiteX11" fmla="*/ 132182 w 1015593"/>
                <a:gd name="connsiteY11" fmla="*/ 426043 h 1015593"/>
                <a:gd name="connsiteX12" fmla="*/ 90829 w 1015593"/>
                <a:gd name="connsiteY12" fmla="*/ 476680 h 1015593"/>
                <a:gd name="connsiteX13" fmla="*/ 141465 w 1015593"/>
                <a:gd name="connsiteY13" fmla="*/ 518031 h 1015593"/>
                <a:gd name="connsiteX14" fmla="*/ 182818 w 1015593"/>
                <a:gd name="connsiteY14" fmla="*/ 467394 h 1015593"/>
                <a:gd name="connsiteX15" fmla="*/ 152502 w 1015593"/>
                <a:gd name="connsiteY15" fmla="*/ 428549 h 1015593"/>
                <a:gd name="connsiteX16" fmla="*/ 587065 w 1015593"/>
                <a:gd name="connsiteY16" fmla="*/ 152515 h 1015593"/>
                <a:gd name="connsiteX17" fmla="*/ 863099 w 1015593"/>
                <a:gd name="connsiteY17" fmla="*/ 587079 h 1015593"/>
                <a:gd name="connsiteX18" fmla="*/ 762271 w 1015593"/>
                <a:gd name="connsiteY18" fmla="*/ 768130 h 1015593"/>
                <a:gd name="connsiteX19" fmla="*/ 776461 w 1015593"/>
                <a:gd name="connsiteY19" fmla="*/ 782659 h 1015593"/>
                <a:gd name="connsiteX20" fmla="*/ 782662 w 1015593"/>
                <a:gd name="connsiteY20" fmla="*/ 239137 h 1015593"/>
                <a:gd name="connsiteX21" fmla="*/ 507797 w 1015593"/>
                <a:gd name="connsiteY21" fmla="*/ 123444 h 1015593"/>
                <a:gd name="connsiteX22" fmla="*/ 162695 w 1015593"/>
                <a:gd name="connsiteY22" fmla="*/ 471864 h 1015593"/>
                <a:gd name="connsiteX23" fmla="*/ 136957 w 1015593"/>
                <a:gd name="connsiteY23" fmla="*/ 497671 h 1015593"/>
                <a:gd name="connsiteX24" fmla="*/ 111150 w 1015593"/>
                <a:gd name="connsiteY24" fmla="*/ 471932 h 1015593"/>
                <a:gd name="connsiteX25" fmla="*/ 136889 w 1015593"/>
                <a:gd name="connsiteY25" fmla="*/ 446126 h 1015593"/>
                <a:gd name="connsiteX26" fmla="*/ 136923 w 1015593"/>
                <a:gd name="connsiteY26" fmla="*/ 446126 h 1015593"/>
                <a:gd name="connsiteX27" fmla="*/ 162695 w 1015593"/>
                <a:gd name="connsiteY27" fmla="*/ 471864 h 1015593"/>
                <a:gd name="connsiteX28" fmla="*/ 703377 w 1015593"/>
                <a:gd name="connsiteY28" fmla="*/ 778730 h 1015593"/>
                <a:gd name="connsiteX29" fmla="*/ 657284 w 1015593"/>
                <a:gd name="connsiteY29" fmla="*/ 824823 h 1015593"/>
                <a:gd name="connsiteX30" fmla="*/ 659486 w 1015593"/>
                <a:gd name="connsiteY30" fmla="*/ 838810 h 1015593"/>
                <a:gd name="connsiteX31" fmla="*/ 507797 w 1015593"/>
                <a:gd name="connsiteY31" fmla="*/ 871830 h 1015593"/>
                <a:gd name="connsiteX32" fmla="*/ 306730 w 1015593"/>
                <a:gd name="connsiteY32" fmla="*/ 811818 h 1015593"/>
                <a:gd name="connsiteX33" fmla="*/ 364981 w 1015593"/>
                <a:gd name="connsiteY33" fmla="*/ 728878 h 1015593"/>
                <a:gd name="connsiteX34" fmla="*/ 728885 w 1015593"/>
                <a:gd name="connsiteY34" fmla="*/ 651012 h 1015593"/>
                <a:gd name="connsiteX35" fmla="*/ 771144 w 1015593"/>
                <a:gd name="connsiteY35" fmla="*/ 507797 h 1015593"/>
                <a:gd name="connsiteX36" fmla="*/ 646650 w 1015593"/>
                <a:gd name="connsiteY36" fmla="*/ 284277 h 1015593"/>
                <a:gd name="connsiteX37" fmla="*/ 647361 w 1015593"/>
                <a:gd name="connsiteY37" fmla="*/ 276691 h 1015593"/>
                <a:gd name="connsiteX38" fmla="*/ 601303 w 1015593"/>
                <a:gd name="connsiteY38" fmla="*/ 230227 h 1015593"/>
                <a:gd name="connsiteX39" fmla="*/ 554838 w 1015593"/>
                <a:gd name="connsiteY39" fmla="*/ 276286 h 1015593"/>
                <a:gd name="connsiteX40" fmla="*/ 600896 w 1015593"/>
                <a:gd name="connsiteY40" fmla="*/ 322750 h 1015593"/>
                <a:gd name="connsiteX41" fmla="*/ 638793 w 1015593"/>
                <a:gd name="connsiteY41" fmla="*/ 303310 h 1015593"/>
                <a:gd name="connsiteX42" fmla="*/ 711803 w 1015593"/>
                <a:gd name="connsiteY42" fmla="*/ 639206 h 1015593"/>
                <a:gd name="connsiteX43" fmla="*/ 507797 w 1015593"/>
                <a:gd name="connsiteY43" fmla="*/ 750824 h 1015593"/>
                <a:gd name="connsiteX44" fmla="*/ 376665 w 1015593"/>
                <a:gd name="connsiteY44" fmla="*/ 712250 h 1015593"/>
                <a:gd name="connsiteX45" fmla="*/ 443450 w 1015593"/>
                <a:gd name="connsiteY45" fmla="*/ 617118 h 1015593"/>
                <a:gd name="connsiteX46" fmla="*/ 617528 w 1015593"/>
                <a:gd name="connsiteY46" fmla="*/ 572130 h 1015593"/>
                <a:gd name="connsiteX47" fmla="*/ 572540 w 1015593"/>
                <a:gd name="connsiteY47" fmla="*/ 398052 h 1015593"/>
                <a:gd name="connsiteX48" fmla="*/ 398462 w 1015593"/>
                <a:gd name="connsiteY48" fmla="*/ 443040 h 1015593"/>
                <a:gd name="connsiteX49" fmla="*/ 426822 w 1015593"/>
                <a:gd name="connsiteY49" fmla="*/ 605434 h 1015593"/>
                <a:gd name="connsiteX50" fmla="*/ 360037 w 1015593"/>
                <a:gd name="connsiteY50" fmla="*/ 700566 h 1015593"/>
                <a:gd name="connsiteX51" fmla="*/ 314727 w 1015593"/>
                <a:gd name="connsiteY51" fmla="*/ 360067 h 1015593"/>
                <a:gd name="connsiteX52" fmla="*/ 507797 w 1015593"/>
                <a:gd name="connsiteY52" fmla="*/ 264770 h 1015593"/>
                <a:gd name="connsiteX53" fmla="*/ 507797 w 1015593"/>
                <a:gd name="connsiteY53" fmla="*/ 244450 h 1015593"/>
                <a:gd name="connsiteX54" fmla="*/ 244440 w 1015593"/>
                <a:gd name="connsiteY54" fmla="*/ 507516 h 1015593"/>
                <a:gd name="connsiteX55" fmla="*/ 348353 w 1015593"/>
                <a:gd name="connsiteY55" fmla="*/ 717194 h 1015593"/>
                <a:gd name="connsiteX56" fmla="*/ 290102 w 1015593"/>
                <a:gd name="connsiteY56" fmla="*/ 800134 h 1015593"/>
                <a:gd name="connsiteX57" fmla="*/ 153281 w 1015593"/>
                <a:gd name="connsiteY57" fmla="*/ 590872 h 1015593"/>
                <a:gd name="connsiteX58" fmla="*/ 133502 w 1015593"/>
                <a:gd name="connsiteY58" fmla="*/ 595478 h 1015593"/>
                <a:gd name="connsiteX59" fmla="*/ 267343 w 1015593"/>
                <a:gd name="connsiteY59" fmla="*/ 807585 h 1015593"/>
                <a:gd name="connsiteX60" fmla="*/ 278790 w 1015593"/>
                <a:gd name="connsiteY60" fmla="*/ 816390 h 1015593"/>
                <a:gd name="connsiteX61" fmla="*/ 239031 w 1015593"/>
                <a:gd name="connsiteY61" fmla="*/ 872913 h 1015593"/>
                <a:gd name="connsiteX62" fmla="*/ 255659 w 1015593"/>
                <a:gd name="connsiteY62" fmla="*/ 884563 h 1015593"/>
                <a:gd name="connsiteX63" fmla="*/ 295351 w 1015593"/>
                <a:gd name="connsiteY63" fmla="*/ 828040 h 1015593"/>
                <a:gd name="connsiteX64" fmla="*/ 507797 w 1015593"/>
                <a:gd name="connsiteY64" fmla="*/ 892150 h 1015593"/>
                <a:gd name="connsiteX65" fmla="*/ 669883 w 1015593"/>
                <a:gd name="connsiteY65" fmla="*/ 856386 h 1015593"/>
                <a:gd name="connsiteX66" fmla="*/ 734991 w 1015593"/>
                <a:gd name="connsiteY66" fmla="*/ 858300 h 1015593"/>
                <a:gd name="connsiteX67" fmla="*/ 736905 w 1015593"/>
                <a:gd name="connsiteY67" fmla="*/ 793191 h 1015593"/>
                <a:gd name="connsiteX68" fmla="*/ 703377 w 1015593"/>
                <a:gd name="connsiteY68" fmla="*/ 778730 h 1015593"/>
                <a:gd name="connsiteX69" fmla="*/ 601404 w 1015593"/>
                <a:gd name="connsiteY69" fmla="*/ 302260 h 1015593"/>
                <a:gd name="connsiteX70" fmla="*/ 575632 w 1015593"/>
                <a:gd name="connsiteY70" fmla="*/ 276487 h 1015593"/>
                <a:gd name="connsiteX71" fmla="*/ 601404 w 1015593"/>
                <a:gd name="connsiteY71" fmla="*/ 250715 h 1015593"/>
                <a:gd name="connsiteX72" fmla="*/ 627177 w 1015593"/>
                <a:gd name="connsiteY72" fmla="*/ 276487 h 1015593"/>
                <a:gd name="connsiteX73" fmla="*/ 627177 w 1015593"/>
                <a:gd name="connsiteY73" fmla="*/ 276521 h 1015593"/>
                <a:gd name="connsiteX74" fmla="*/ 601404 w 1015593"/>
                <a:gd name="connsiteY74" fmla="*/ 302260 h 1015593"/>
                <a:gd name="connsiteX75" fmla="*/ 401185 w 1015593"/>
                <a:gd name="connsiteY75" fmla="*/ 507797 h 1015593"/>
                <a:gd name="connsiteX76" fmla="*/ 507790 w 1015593"/>
                <a:gd name="connsiteY76" fmla="*/ 400771 h 1015593"/>
                <a:gd name="connsiteX77" fmla="*/ 614816 w 1015593"/>
                <a:gd name="connsiteY77" fmla="*/ 507377 h 1015593"/>
                <a:gd name="connsiteX78" fmla="*/ 508210 w 1015593"/>
                <a:gd name="connsiteY78" fmla="*/ 614402 h 1015593"/>
                <a:gd name="connsiteX79" fmla="*/ 455168 w 1015593"/>
                <a:gd name="connsiteY79" fmla="*/ 600422 h 1015593"/>
                <a:gd name="connsiteX80" fmla="*/ 490288 w 1015593"/>
                <a:gd name="connsiteY80" fmla="*/ 550401 h 1015593"/>
                <a:gd name="connsiteX81" fmla="*/ 550943 w 1015593"/>
                <a:gd name="connsiteY81" fmla="*/ 525377 h 1015593"/>
                <a:gd name="connsiteX82" fmla="*/ 525919 w 1015593"/>
                <a:gd name="connsiteY82" fmla="*/ 464722 h 1015593"/>
                <a:gd name="connsiteX83" fmla="*/ 465264 w 1015593"/>
                <a:gd name="connsiteY83" fmla="*/ 489746 h 1015593"/>
                <a:gd name="connsiteX84" fmla="*/ 473693 w 1015593"/>
                <a:gd name="connsiteY84" fmla="*/ 538683 h 1015593"/>
                <a:gd name="connsiteX85" fmla="*/ 438539 w 1015593"/>
                <a:gd name="connsiteY85" fmla="*/ 588738 h 1015593"/>
                <a:gd name="connsiteX86" fmla="*/ 401185 w 1015593"/>
                <a:gd name="connsiteY86" fmla="*/ 507797 h 1015593"/>
                <a:gd name="connsiteX87" fmla="*/ 482024 w 1015593"/>
                <a:gd name="connsiteY87" fmla="*/ 507797 h 1015593"/>
                <a:gd name="connsiteX88" fmla="*/ 507797 w 1015593"/>
                <a:gd name="connsiteY88" fmla="*/ 482024 h 1015593"/>
                <a:gd name="connsiteX89" fmla="*/ 533569 w 1015593"/>
                <a:gd name="connsiteY89" fmla="*/ 507797 h 1015593"/>
                <a:gd name="connsiteX90" fmla="*/ 507797 w 1015593"/>
                <a:gd name="connsiteY90" fmla="*/ 533569 h 1015593"/>
                <a:gd name="connsiteX91" fmla="*/ 482024 w 1015593"/>
                <a:gd name="connsiteY91" fmla="*/ 507797 h 1015593"/>
                <a:gd name="connsiteX92" fmla="*/ 703377 w 1015593"/>
                <a:gd name="connsiteY92" fmla="*/ 850561 h 1015593"/>
                <a:gd name="connsiteX93" fmla="*/ 677570 w 1015593"/>
                <a:gd name="connsiteY93" fmla="*/ 824823 h 1015593"/>
                <a:gd name="connsiteX94" fmla="*/ 703309 w 1015593"/>
                <a:gd name="connsiteY94" fmla="*/ 799016 h 1015593"/>
                <a:gd name="connsiteX95" fmla="*/ 729116 w 1015593"/>
                <a:gd name="connsiteY95" fmla="*/ 824755 h 1015593"/>
                <a:gd name="connsiteX96" fmla="*/ 729116 w 1015593"/>
                <a:gd name="connsiteY96" fmla="*/ 824823 h 1015593"/>
                <a:gd name="connsiteX97" fmla="*/ 703377 w 1015593"/>
                <a:gd name="connsiteY97" fmla="*/ 850561 h 1015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15593" h="1015593">
                  <a:moveTo>
                    <a:pt x="507797" y="0"/>
                  </a:moveTo>
                  <a:cubicBezTo>
                    <a:pt x="227787" y="0"/>
                    <a:pt x="0" y="227787"/>
                    <a:pt x="0" y="507797"/>
                  </a:cubicBezTo>
                  <a:cubicBezTo>
                    <a:pt x="0" y="787806"/>
                    <a:pt x="227787" y="1015594"/>
                    <a:pt x="507797" y="1015594"/>
                  </a:cubicBezTo>
                  <a:cubicBezTo>
                    <a:pt x="787806" y="1015594"/>
                    <a:pt x="1015594" y="787806"/>
                    <a:pt x="1015594" y="507797"/>
                  </a:cubicBezTo>
                  <a:cubicBezTo>
                    <a:pt x="1015594" y="227787"/>
                    <a:pt x="787806" y="0"/>
                    <a:pt x="507797" y="0"/>
                  </a:cubicBezTo>
                  <a:close/>
                  <a:moveTo>
                    <a:pt x="507797" y="995274"/>
                  </a:moveTo>
                  <a:cubicBezTo>
                    <a:pt x="238997" y="995274"/>
                    <a:pt x="20320" y="776597"/>
                    <a:pt x="20320" y="507797"/>
                  </a:cubicBezTo>
                  <a:cubicBezTo>
                    <a:pt x="20320" y="238997"/>
                    <a:pt x="238997" y="20320"/>
                    <a:pt x="507797" y="20320"/>
                  </a:cubicBezTo>
                  <a:cubicBezTo>
                    <a:pt x="776597" y="20320"/>
                    <a:pt x="995274" y="238997"/>
                    <a:pt x="995274" y="507797"/>
                  </a:cubicBezTo>
                  <a:cubicBezTo>
                    <a:pt x="995274" y="776597"/>
                    <a:pt x="776597" y="995274"/>
                    <a:pt x="507797" y="995274"/>
                  </a:cubicBezTo>
                  <a:close/>
                  <a:moveTo>
                    <a:pt x="507797" y="123444"/>
                  </a:moveTo>
                  <a:cubicBezTo>
                    <a:pt x="327011" y="123430"/>
                    <a:pt x="170648" y="249397"/>
                    <a:pt x="132182" y="426043"/>
                  </a:cubicBezTo>
                  <a:cubicBezTo>
                    <a:pt x="106780" y="428606"/>
                    <a:pt x="88265" y="451277"/>
                    <a:pt x="90829" y="476680"/>
                  </a:cubicBezTo>
                  <a:cubicBezTo>
                    <a:pt x="93393" y="502080"/>
                    <a:pt x="116063" y="520595"/>
                    <a:pt x="141465" y="518031"/>
                  </a:cubicBezTo>
                  <a:cubicBezTo>
                    <a:pt x="166868" y="515468"/>
                    <a:pt x="185381" y="492797"/>
                    <a:pt x="182818" y="467394"/>
                  </a:cubicBezTo>
                  <a:cubicBezTo>
                    <a:pt x="181031" y="449692"/>
                    <a:pt x="169241" y="434584"/>
                    <a:pt x="152502" y="428549"/>
                  </a:cubicBezTo>
                  <a:cubicBezTo>
                    <a:pt x="196279" y="232323"/>
                    <a:pt x="390838" y="108739"/>
                    <a:pt x="587065" y="152515"/>
                  </a:cubicBezTo>
                  <a:cubicBezTo>
                    <a:pt x="783292" y="196293"/>
                    <a:pt x="906875" y="390852"/>
                    <a:pt x="863099" y="587079"/>
                  </a:cubicBezTo>
                  <a:cubicBezTo>
                    <a:pt x="847740" y="655923"/>
                    <a:pt x="812712" y="718823"/>
                    <a:pt x="762271" y="768130"/>
                  </a:cubicBezTo>
                  <a:lnTo>
                    <a:pt x="776461" y="782659"/>
                  </a:lnTo>
                  <a:cubicBezTo>
                    <a:pt x="928262" y="634282"/>
                    <a:pt x="931039" y="390940"/>
                    <a:pt x="782662" y="239137"/>
                  </a:cubicBezTo>
                  <a:cubicBezTo>
                    <a:pt x="710347" y="165151"/>
                    <a:pt x="611256" y="123443"/>
                    <a:pt x="507797" y="123444"/>
                  </a:cubicBezTo>
                  <a:close/>
                  <a:moveTo>
                    <a:pt x="162695" y="471864"/>
                  </a:moveTo>
                  <a:cubicBezTo>
                    <a:pt x="162714" y="486098"/>
                    <a:pt x="151191" y="497650"/>
                    <a:pt x="136957" y="497671"/>
                  </a:cubicBezTo>
                  <a:cubicBezTo>
                    <a:pt x="122723" y="497691"/>
                    <a:pt x="111169" y="486166"/>
                    <a:pt x="111150" y="471932"/>
                  </a:cubicBezTo>
                  <a:cubicBezTo>
                    <a:pt x="111132" y="457698"/>
                    <a:pt x="122655" y="446146"/>
                    <a:pt x="136889" y="446126"/>
                  </a:cubicBezTo>
                  <a:cubicBezTo>
                    <a:pt x="136900" y="446126"/>
                    <a:pt x="136912" y="446126"/>
                    <a:pt x="136923" y="446126"/>
                  </a:cubicBezTo>
                  <a:cubicBezTo>
                    <a:pt x="151144" y="446126"/>
                    <a:pt x="162677" y="457644"/>
                    <a:pt x="162695" y="471864"/>
                  </a:cubicBezTo>
                  <a:close/>
                  <a:moveTo>
                    <a:pt x="703377" y="778730"/>
                  </a:moveTo>
                  <a:cubicBezTo>
                    <a:pt x="677929" y="778750"/>
                    <a:pt x="657305" y="799375"/>
                    <a:pt x="657284" y="824823"/>
                  </a:cubicBezTo>
                  <a:cubicBezTo>
                    <a:pt x="657284" y="829571"/>
                    <a:pt x="658026" y="834292"/>
                    <a:pt x="659486" y="838810"/>
                  </a:cubicBezTo>
                  <a:cubicBezTo>
                    <a:pt x="611923" y="860708"/>
                    <a:pt x="560158" y="871979"/>
                    <a:pt x="507797" y="871830"/>
                  </a:cubicBezTo>
                  <a:cubicBezTo>
                    <a:pt x="436338" y="871989"/>
                    <a:pt x="366414" y="851117"/>
                    <a:pt x="306730" y="811818"/>
                  </a:cubicBezTo>
                  <a:lnTo>
                    <a:pt x="364981" y="728878"/>
                  </a:lnTo>
                  <a:cubicBezTo>
                    <a:pt x="486972" y="807866"/>
                    <a:pt x="649898" y="773003"/>
                    <a:pt x="728885" y="651012"/>
                  </a:cubicBezTo>
                  <a:cubicBezTo>
                    <a:pt x="756503" y="608357"/>
                    <a:pt x="771181" y="558614"/>
                    <a:pt x="771144" y="507797"/>
                  </a:cubicBezTo>
                  <a:cubicBezTo>
                    <a:pt x="770775" y="416858"/>
                    <a:pt x="723771" y="332467"/>
                    <a:pt x="646650" y="284277"/>
                  </a:cubicBezTo>
                  <a:cubicBezTo>
                    <a:pt x="647111" y="281774"/>
                    <a:pt x="647348" y="279235"/>
                    <a:pt x="647361" y="276691"/>
                  </a:cubicBezTo>
                  <a:cubicBezTo>
                    <a:pt x="647473" y="251141"/>
                    <a:pt x="626852" y="230339"/>
                    <a:pt x="601303" y="230227"/>
                  </a:cubicBezTo>
                  <a:cubicBezTo>
                    <a:pt x="575754" y="230116"/>
                    <a:pt x="554949" y="250737"/>
                    <a:pt x="554838" y="276286"/>
                  </a:cubicBezTo>
                  <a:cubicBezTo>
                    <a:pt x="554726" y="301836"/>
                    <a:pt x="575347" y="322638"/>
                    <a:pt x="600896" y="322750"/>
                  </a:cubicBezTo>
                  <a:cubicBezTo>
                    <a:pt x="615940" y="322816"/>
                    <a:pt x="630072" y="315565"/>
                    <a:pt x="638793" y="303310"/>
                  </a:cubicBezTo>
                  <a:cubicBezTo>
                    <a:pt x="751708" y="375903"/>
                    <a:pt x="784396" y="526291"/>
                    <a:pt x="711803" y="639206"/>
                  </a:cubicBezTo>
                  <a:cubicBezTo>
                    <a:pt x="667163" y="708640"/>
                    <a:pt x="590340" y="750672"/>
                    <a:pt x="507797" y="750824"/>
                  </a:cubicBezTo>
                  <a:cubicBezTo>
                    <a:pt x="461284" y="750855"/>
                    <a:pt x="415751" y="737460"/>
                    <a:pt x="376665" y="712250"/>
                  </a:cubicBezTo>
                  <a:lnTo>
                    <a:pt x="443450" y="617118"/>
                  </a:lnTo>
                  <a:cubicBezTo>
                    <a:pt x="503943" y="652766"/>
                    <a:pt x="581880" y="632623"/>
                    <a:pt x="617528" y="572130"/>
                  </a:cubicBezTo>
                  <a:cubicBezTo>
                    <a:pt x="653173" y="511637"/>
                    <a:pt x="633032" y="433700"/>
                    <a:pt x="572540" y="398052"/>
                  </a:cubicBezTo>
                  <a:cubicBezTo>
                    <a:pt x="512044" y="362407"/>
                    <a:pt x="434106" y="382548"/>
                    <a:pt x="398462" y="443040"/>
                  </a:cubicBezTo>
                  <a:cubicBezTo>
                    <a:pt x="366783" y="496797"/>
                    <a:pt x="378799" y="565597"/>
                    <a:pt x="426822" y="605434"/>
                  </a:cubicBezTo>
                  <a:lnTo>
                    <a:pt x="360037" y="700566"/>
                  </a:lnTo>
                  <a:cubicBezTo>
                    <a:pt x="253498" y="619052"/>
                    <a:pt x="233212" y="466605"/>
                    <a:pt x="314727" y="360067"/>
                  </a:cubicBezTo>
                  <a:cubicBezTo>
                    <a:pt x="360721" y="299954"/>
                    <a:pt x="432108" y="264718"/>
                    <a:pt x="507797" y="264770"/>
                  </a:cubicBezTo>
                  <a:lnTo>
                    <a:pt x="507797" y="244450"/>
                  </a:lnTo>
                  <a:cubicBezTo>
                    <a:pt x="362428" y="244370"/>
                    <a:pt x="244520" y="362150"/>
                    <a:pt x="244440" y="507516"/>
                  </a:cubicBezTo>
                  <a:cubicBezTo>
                    <a:pt x="244395" y="589812"/>
                    <a:pt x="282842" y="667390"/>
                    <a:pt x="348353" y="717194"/>
                  </a:cubicBezTo>
                  <a:lnTo>
                    <a:pt x="290102" y="800134"/>
                  </a:lnTo>
                  <a:cubicBezTo>
                    <a:pt x="221131" y="748806"/>
                    <a:pt x="172640" y="674638"/>
                    <a:pt x="153281" y="590872"/>
                  </a:cubicBezTo>
                  <a:lnTo>
                    <a:pt x="133502" y="595478"/>
                  </a:lnTo>
                  <a:cubicBezTo>
                    <a:pt x="153268" y="679105"/>
                    <a:pt x="200368" y="753747"/>
                    <a:pt x="267343" y="807585"/>
                  </a:cubicBezTo>
                  <a:cubicBezTo>
                    <a:pt x="271103" y="810599"/>
                    <a:pt x="274930" y="813511"/>
                    <a:pt x="278790" y="816390"/>
                  </a:cubicBezTo>
                  <a:lnTo>
                    <a:pt x="239031" y="872913"/>
                  </a:lnTo>
                  <a:lnTo>
                    <a:pt x="255659" y="884563"/>
                  </a:lnTo>
                  <a:lnTo>
                    <a:pt x="295351" y="828040"/>
                  </a:lnTo>
                  <a:cubicBezTo>
                    <a:pt x="358353" y="869770"/>
                    <a:pt x="432230" y="892065"/>
                    <a:pt x="507797" y="892150"/>
                  </a:cubicBezTo>
                  <a:cubicBezTo>
                    <a:pt x="563799" y="892292"/>
                    <a:pt x="619140" y="880083"/>
                    <a:pt x="669883" y="856386"/>
                  </a:cubicBezTo>
                  <a:cubicBezTo>
                    <a:pt x="687334" y="874895"/>
                    <a:pt x="716483" y="875751"/>
                    <a:pt x="734991" y="858300"/>
                  </a:cubicBezTo>
                  <a:cubicBezTo>
                    <a:pt x="753500" y="840848"/>
                    <a:pt x="754356" y="811699"/>
                    <a:pt x="736905" y="793191"/>
                  </a:cubicBezTo>
                  <a:cubicBezTo>
                    <a:pt x="728198" y="783959"/>
                    <a:pt x="716067" y="778727"/>
                    <a:pt x="703377" y="778730"/>
                  </a:cubicBezTo>
                  <a:close/>
                  <a:moveTo>
                    <a:pt x="601404" y="302260"/>
                  </a:moveTo>
                  <a:cubicBezTo>
                    <a:pt x="587170" y="302260"/>
                    <a:pt x="575632" y="290721"/>
                    <a:pt x="575632" y="276487"/>
                  </a:cubicBezTo>
                  <a:cubicBezTo>
                    <a:pt x="575632" y="262254"/>
                    <a:pt x="587170" y="250715"/>
                    <a:pt x="601404" y="250715"/>
                  </a:cubicBezTo>
                  <a:cubicBezTo>
                    <a:pt x="615638" y="250715"/>
                    <a:pt x="627177" y="262254"/>
                    <a:pt x="627177" y="276487"/>
                  </a:cubicBezTo>
                  <a:cubicBezTo>
                    <a:pt x="627177" y="276499"/>
                    <a:pt x="627177" y="276510"/>
                    <a:pt x="627177" y="276521"/>
                  </a:cubicBezTo>
                  <a:cubicBezTo>
                    <a:pt x="627157" y="290742"/>
                    <a:pt x="615625" y="302260"/>
                    <a:pt x="601404" y="302260"/>
                  </a:cubicBezTo>
                  <a:close/>
                  <a:moveTo>
                    <a:pt x="401185" y="507797"/>
                  </a:moveTo>
                  <a:cubicBezTo>
                    <a:pt x="401069" y="448804"/>
                    <a:pt x="448798" y="400887"/>
                    <a:pt x="507790" y="400771"/>
                  </a:cubicBezTo>
                  <a:cubicBezTo>
                    <a:pt x="566782" y="400656"/>
                    <a:pt x="614700" y="448385"/>
                    <a:pt x="614816" y="507377"/>
                  </a:cubicBezTo>
                  <a:cubicBezTo>
                    <a:pt x="614931" y="566369"/>
                    <a:pt x="567202" y="614287"/>
                    <a:pt x="508210" y="614402"/>
                  </a:cubicBezTo>
                  <a:cubicBezTo>
                    <a:pt x="489614" y="614440"/>
                    <a:pt x="471329" y="609620"/>
                    <a:pt x="455168" y="600422"/>
                  </a:cubicBezTo>
                  <a:lnTo>
                    <a:pt x="490288" y="550401"/>
                  </a:lnTo>
                  <a:cubicBezTo>
                    <a:pt x="513947" y="560239"/>
                    <a:pt x="541105" y="549036"/>
                    <a:pt x="550943" y="525377"/>
                  </a:cubicBezTo>
                  <a:cubicBezTo>
                    <a:pt x="560785" y="501718"/>
                    <a:pt x="549582" y="474560"/>
                    <a:pt x="525919" y="464722"/>
                  </a:cubicBezTo>
                  <a:cubicBezTo>
                    <a:pt x="502260" y="454880"/>
                    <a:pt x="475102" y="466083"/>
                    <a:pt x="465264" y="489746"/>
                  </a:cubicBezTo>
                  <a:cubicBezTo>
                    <a:pt x="458372" y="506313"/>
                    <a:pt x="461653" y="525374"/>
                    <a:pt x="473693" y="538683"/>
                  </a:cubicBezTo>
                  <a:lnTo>
                    <a:pt x="438539" y="588738"/>
                  </a:lnTo>
                  <a:cubicBezTo>
                    <a:pt x="414843" y="568527"/>
                    <a:pt x="401191" y="538944"/>
                    <a:pt x="401185" y="507797"/>
                  </a:cubicBezTo>
                  <a:close/>
                  <a:moveTo>
                    <a:pt x="482024" y="507797"/>
                  </a:moveTo>
                  <a:cubicBezTo>
                    <a:pt x="482024" y="493563"/>
                    <a:pt x="493563" y="482024"/>
                    <a:pt x="507797" y="482024"/>
                  </a:cubicBezTo>
                  <a:cubicBezTo>
                    <a:pt x="522031" y="482024"/>
                    <a:pt x="533569" y="493563"/>
                    <a:pt x="533569" y="507797"/>
                  </a:cubicBezTo>
                  <a:cubicBezTo>
                    <a:pt x="533569" y="522031"/>
                    <a:pt x="522031" y="533569"/>
                    <a:pt x="507797" y="533569"/>
                  </a:cubicBezTo>
                  <a:cubicBezTo>
                    <a:pt x="493580" y="533532"/>
                    <a:pt x="482062" y="522014"/>
                    <a:pt x="482024" y="507797"/>
                  </a:cubicBezTo>
                  <a:close/>
                  <a:moveTo>
                    <a:pt x="703377" y="850561"/>
                  </a:moveTo>
                  <a:cubicBezTo>
                    <a:pt x="689143" y="850582"/>
                    <a:pt x="677591" y="839057"/>
                    <a:pt x="677570" y="824823"/>
                  </a:cubicBezTo>
                  <a:cubicBezTo>
                    <a:pt x="677550" y="810589"/>
                    <a:pt x="689075" y="799037"/>
                    <a:pt x="703309" y="799016"/>
                  </a:cubicBezTo>
                  <a:cubicBezTo>
                    <a:pt x="717543" y="798996"/>
                    <a:pt x="729095" y="810521"/>
                    <a:pt x="729116" y="824755"/>
                  </a:cubicBezTo>
                  <a:cubicBezTo>
                    <a:pt x="729116" y="824779"/>
                    <a:pt x="729116" y="824799"/>
                    <a:pt x="729116" y="824823"/>
                  </a:cubicBezTo>
                  <a:cubicBezTo>
                    <a:pt x="729095" y="839030"/>
                    <a:pt x="717584" y="850544"/>
                    <a:pt x="703377" y="850561"/>
                  </a:cubicBezTo>
                  <a:close/>
                </a:path>
              </a:pathLst>
            </a:custGeom>
            <a:grpFill/>
            <a:ln w="3365" cap="flat">
              <a:noFill/>
              <a:prstDash val="solid"/>
              <a:miter/>
            </a:ln>
          </p:spPr>
          <p:txBody>
            <a:bodyPr lIns="137160" tIns="68580" rIns="137160" bIns="685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Arial" charset="0"/>
              </a:endParaRPr>
            </a:p>
          </p:txBody>
        </p:sp>
      </p:grpSp>
      <p:sp>
        <p:nvSpPr>
          <p:cNvPr id="61" name="TextBox 21">
            <a:extLst>
              <a:ext uri="{FF2B5EF4-FFF2-40B4-BE49-F238E27FC236}">
                <a16:creationId xmlns:a16="http://schemas.microsoft.com/office/drawing/2014/main" id="{623BA9A8-4D79-3437-D30E-82A2A1543EB4}"/>
              </a:ext>
            </a:extLst>
          </p:cNvPr>
          <p:cNvSpPr txBox="1"/>
          <p:nvPr/>
        </p:nvSpPr>
        <p:spPr>
          <a:xfrm>
            <a:off x="664133" y="5055332"/>
            <a:ext cx="2103120" cy="660647"/>
          </a:xfrm>
          <a:prstGeom prst="rect">
            <a:avLst/>
          </a:prstGeom>
          <a:noFill/>
        </p:spPr>
        <p:txBody>
          <a:bodyPr wrap="square" lIns="36000" tIns="46800" rIns="36000" bIns="468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93773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Erkennen von Markttrends und Chancen</a:t>
            </a:r>
          </a:p>
        </p:txBody>
      </p:sp>
      <p:sp>
        <p:nvSpPr>
          <p:cNvPr id="62" name="TextBox 21">
            <a:extLst>
              <a:ext uri="{FF2B5EF4-FFF2-40B4-BE49-F238E27FC236}">
                <a16:creationId xmlns:a16="http://schemas.microsoft.com/office/drawing/2014/main" id="{FF4851D9-8BC2-5E7D-EF18-E9402D11CF0B}"/>
              </a:ext>
            </a:extLst>
          </p:cNvPr>
          <p:cNvSpPr txBox="1"/>
          <p:nvPr/>
        </p:nvSpPr>
        <p:spPr>
          <a:xfrm>
            <a:off x="9382994" y="5055332"/>
            <a:ext cx="2103120" cy="660647"/>
          </a:xfrm>
          <a:prstGeom prst="rect">
            <a:avLst/>
          </a:prstGeom>
          <a:noFill/>
        </p:spPr>
        <p:txBody>
          <a:bodyPr wrap="square" lIns="36000" tIns="46800" rIns="36000" bIns="468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C0AA81">
                    <a:lumMod val="75000"/>
                  </a:srgbClr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Quantifizierung von Werten und Durchführung komplexer Abwägungen</a:t>
            </a:r>
          </a:p>
        </p:txBody>
      </p:sp>
      <p:sp>
        <p:nvSpPr>
          <p:cNvPr id="63" name="TextBox 58">
            <a:extLst>
              <a:ext uri="{FF2B5EF4-FFF2-40B4-BE49-F238E27FC236}">
                <a16:creationId xmlns:a16="http://schemas.microsoft.com/office/drawing/2014/main" id="{3BE076E1-8F92-338C-47D8-46B28421D9DA}"/>
              </a:ext>
            </a:extLst>
          </p:cNvPr>
          <p:cNvSpPr txBox="1"/>
          <p:nvPr/>
        </p:nvSpPr>
        <p:spPr>
          <a:xfrm>
            <a:off x="7203277" y="5055332"/>
            <a:ext cx="2103120" cy="660647"/>
          </a:xfrm>
          <a:prstGeom prst="rect">
            <a:avLst/>
          </a:prstGeom>
          <a:noFill/>
        </p:spPr>
        <p:txBody>
          <a:bodyPr wrap="square" lIns="36000" tIns="46800" rIns="36000" bIns="468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CDCDCD">
                    <a:lumMod val="50000"/>
                  </a:srgbClr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Analyse des Inputs von Anbietern und Bewertung ihrer Eignung</a:t>
            </a:r>
          </a:p>
        </p:txBody>
      </p:sp>
      <p:sp>
        <p:nvSpPr>
          <p:cNvPr id="64" name="TextBox 21">
            <a:extLst>
              <a:ext uri="{FF2B5EF4-FFF2-40B4-BE49-F238E27FC236}">
                <a16:creationId xmlns:a16="http://schemas.microsoft.com/office/drawing/2014/main" id="{BC0D408C-A726-E4DA-63CC-1F7978C02BA6}"/>
              </a:ext>
            </a:extLst>
          </p:cNvPr>
          <p:cNvSpPr txBox="1"/>
          <p:nvPr/>
        </p:nvSpPr>
        <p:spPr>
          <a:xfrm>
            <a:off x="5023563" y="5055332"/>
            <a:ext cx="2103120" cy="660647"/>
          </a:xfrm>
          <a:prstGeom prst="rect">
            <a:avLst/>
          </a:prstGeom>
          <a:noFill/>
        </p:spPr>
        <p:txBody>
          <a:bodyPr wrap="square" lIns="36000" tIns="46800" rIns="36000" bIns="468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5B26B7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Erstellung der erforderlichen Ausschreibungsunterlagen</a:t>
            </a:r>
          </a:p>
        </p:txBody>
      </p:sp>
      <p:sp>
        <p:nvSpPr>
          <p:cNvPr id="65" name="TextBox 21">
            <a:extLst>
              <a:ext uri="{FF2B5EF4-FFF2-40B4-BE49-F238E27FC236}">
                <a16:creationId xmlns:a16="http://schemas.microsoft.com/office/drawing/2014/main" id="{5C8CC33E-A745-B3FB-5161-CD46ED3E3C7A}"/>
              </a:ext>
            </a:extLst>
          </p:cNvPr>
          <p:cNvSpPr txBox="1"/>
          <p:nvPr/>
        </p:nvSpPr>
        <p:spPr>
          <a:xfrm>
            <a:off x="2843848" y="5055332"/>
            <a:ext cx="2103120" cy="813195"/>
          </a:xfrm>
          <a:prstGeom prst="rect">
            <a:avLst/>
          </a:prstGeom>
          <a:noFill/>
        </p:spPr>
        <p:txBody>
          <a:bodyPr wrap="square" lIns="36000" tIns="46800" rIns="36000" bIns="468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3C4BC8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Lato Light"/>
              </a:rPr>
              <a:t>Strukturierung und Formulierung von Systemanforderungen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439A39C2-2664-247B-BB4A-71A832921D14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63BBD64-2295-94E2-009B-A607B6FCF4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9" name="shape">
            <a:extLst>
              <a:ext uri="{FF2B5EF4-FFF2-40B4-BE49-F238E27FC236}">
                <a16:creationId xmlns:a16="http://schemas.microsoft.com/office/drawing/2014/main" id="{977D343E-2131-B0A5-BB3E-D67C7F27EF36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31" name="Picture Placeholder 21">
            <a:extLst>
              <a:ext uri="{FF2B5EF4-FFF2-40B4-BE49-F238E27FC236}">
                <a16:creationId xmlns:a16="http://schemas.microsoft.com/office/drawing/2014/main" id="{ED1A7AB0-8CE3-2A85-5A9E-7CC695A7AC98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10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408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B5947A-E4D9-BD21-4535-428033FD13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000B4E4A-BA76-664C-DA19-9499883DEAE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A21CD5DB-C7E1-C6D4-E590-E1D5C28CAC08}"/>
              </a:ext>
            </a:extLst>
          </p:cNvPr>
          <p:cNvGrpSpPr/>
          <p:nvPr/>
        </p:nvGrpSpPr>
        <p:grpSpPr>
          <a:xfrm>
            <a:off x="7922472" y="5364523"/>
            <a:ext cx="3430118" cy="511875"/>
            <a:chOff x="8252672" y="5364523"/>
            <a:chExt cx="3430118" cy="511875"/>
          </a:xfrm>
        </p:grpSpPr>
        <p:sp>
          <p:nvSpPr>
            <p:cNvPr id="32" name="Rechteck: abgerundete Ecken 31">
              <a:extLst>
                <a:ext uri="{FF2B5EF4-FFF2-40B4-BE49-F238E27FC236}">
                  <a16:creationId xmlns:a16="http://schemas.microsoft.com/office/drawing/2014/main" id="{695E489C-8CCB-A880-4A5F-7DEE474318DA}"/>
                </a:ext>
              </a:extLst>
            </p:cNvPr>
            <p:cNvSpPr/>
            <p:nvPr/>
          </p:nvSpPr>
          <p:spPr>
            <a:xfrm>
              <a:off x="8252672" y="5364523"/>
              <a:ext cx="3430118" cy="51187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EF4251"/>
                </a:gs>
                <a:gs pos="100000">
                  <a:srgbClr val="F4704D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647FF87B-D3DE-E7B2-F485-484DB6687236}"/>
                </a:ext>
              </a:extLst>
            </p:cNvPr>
            <p:cNvSpPr txBox="1"/>
            <p:nvPr/>
          </p:nvSpPr>
          <p:spPr>
            <a:xfrm>
              <a:off x="9524340" y="5364523"/>
              <a:ext cx="1684917" cy="50549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Klimaschutz &amp; Dekarbonisierung </a:t>
              </a:r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8DB28E1D-DE15-4759-6456-8B0300C5A418}"/>
                </a:ext>
              </a:extLst>
            </p:cNvPr>
            <p:cNvSpPr/>
            <p:nvPr/>
          </p:nvSpPr>
          <p:spPr>
            <a:xfrm>
              <a:off x="11209260" y="5404607"/>
              <a:ext cx="428236" cy="431708"/>
            </a:xfrm>
            <a:prstGeom prst="ellipse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F9975A1-EB85-DB42-CDD7-861ADD6C3935}"/>
              </a:ext>
            </a:extLst>
          </p:cNvPr>
          <p:cNvGrpSpPr/>
          <p:nvPr/>
        </p:nvGrpSpPr>
        <p:grpSpPr>
          <a:xfrm>
            <a:off x="7922472" y="4731752"/>
            <a:ext cx="3430118" cy="514407"/>
            <a:chOff x="8252672" y="4731752"/>
            <a:chExt cx="3430118" cy="514407"/>
          </a:xfrm>
        </p:grpSpPr>
        <p:sp>
          <p:nvSpPr>
            <p:cNvPr id="39" name="Rechteck: abgerundete Ecken 38">
              <a:extLst>
                <a:ext uri="{FF2B5EF4-FFF2-40B4-BE49-F238E27FC236}">
                  <a16:creationId xmlns:a16="http://schemas.microsoft.com/office/drawing/2014/main" id="{19C64DC2-C7B5-C7C2-6937-3B87A691F7F0}"/>
                </a:ext>
              </a:extLst>
            </p:cNvPr>
            <p:cNvSpPr/>
            <p:nvPr/>
          </p:nvSpPr>
          <p:spPr>
            <a:xfrm>
              <a:off x="8252672" y="4734284"/>
              <a:ext cx="3430118" cy="51187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EF4251"/>
                </a:gs>
                <a:gs pos="100000">
                  <a:srgbClr val="F4704D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64F6714-4C8D-5175-BCCD-AFBC9EAC9776}"/>
                </a:ext>
              </a:extLst>
            </p:cNvPr>
            <p:cNvSpPr/>
            <p:nvPr/>
          </p:nvSpPr>
          <p:spPr>
            <a:xfrm>
              <a:off x="11209259" y="4774367"/>
              <a:ext cx="428236" cy="431708"/>
            </a:xfrm>
            <a:prstGeom prst="ellipse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6022C8AF-9C4B-49A6-C9FA-2FCA81722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244689" y="4811977"/>
              <a:ext cx="356488" cy="356488"/>
            </a:xfrm>
            <a:prstGeom prst="rect">
              <a:avLst/>
            </a:prstGeom>
          </p:spPr>
        </p:pic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24480E07-26F1-992A-AC1B-BE0EEB301C16}"/>
                </a:ext>
              </a:extLst>
            </p:cNvPr>
            <p:cNvSpPr txBox="1"/>
            <p:nvPr/>
          </p:nvSpPr>
          <p:spPr>
            <a:xfrm>
              <a:off x="9524341" y="4731752"/>
              <a:ext cx="1851958" cy="5070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ESG Reporting &amp;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Regulatorik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E27196CD-3B0B-DC0D-C452-D194645B9B54}"/>
              </a:ext>
            </a:extLst>
          </p:cNvPr>
          <p:cNvGrpSpPr/>
          <p:nvPr/>
        </p:nvGrpSpPr>
        <p:grpSpPr>
          <a:xfrm>
            <a:off x="7922471" y="5994762"/>
            <a:ext cx="3430118" cy="511875"/>
            <a:chOff x="8252672" y="5766798"/>
            <a:chExt cx="3430118" cy="511875"/>
          </a:xfrm>
        </p:grpSpPr>
        <p:sp>
          <p:nvSpPr>
            <p:cNvPr id="44" name="Rechteck: abgerundete Ecken 43">
              <a:extLst>
                <a:ext uri="{FF2B5EF4-FFF2-40B4-BE49-F238E27FC236}">
                  <a16:creationId xmlns:a16="http://schemas.microsoft.com/office/drawing/2014/main" id="{FF5A2FCE-D4F3-A12D-ED96-0CA8BF42974F}"/>
                </a:ext>
              </a:extLst>
            </p:cNvPr>
            <p:cNvSpPr/>
            <p:nvPr/>
          </p:nvSpPr>
          <p:spPr>
            <a:xfrm>
              <a:off x="8252672" y="5766798"/>
              <a:ext cx="3430118" cy="51187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EF4251"/>
                </a:gs>
                <a:gs pos="100000">
                  <a:srgbClr val="F4704D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EC456451-FEE2-4FC1-6612-D868C215C57C}"/>
                </a:ext>
              </a:extLst>
            </p:cNvPr>
            <p:cNvGrpSpPr/>
            <p:nvPr/>
          </p:nvGrpSpPr>
          <p:grpSpPr>
            <a:xfrm>
              <a:off x="9524340" y="5766798"/>
              <a:ext cx="2113156" cy="505491"/>
              <a:chOff x="9524340" y="5766798"/>
              <a:chExt cx="2113156" cy="505491"/>
            </a:xfrm>
          </p:grpSpPr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3B997C29-E7DF-8B74-74F2-4A1F62494367}"/>
                  </a:ext>
                </a:extLst>
              </p:cNvPr>
              <p:cNvSpPr txBox="1"/>
              <p:nvPr/>
            </p:nvSpPr>
            <p:spPr>
              <a:xfrm>
                <a:off x="9524340" y="5766798"/>
                <a:ext cx="1684917" cy="50549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Data Analytics</a:t>
                </a:r>
              </a:p>
            </p:txBody>
          </p:sp>
          <p:grpSp>
            <p:nvGrpSpPr>
              <p:cNvPr id="47" name="Gruppieren 46">
                <a:extLst>
                  <a:ext uri="{FF2B5EF4-FFF2-40B4-BE49-F238E27FC236}">
                    <a16:creationId xmlns:a16="http://schemas.microsoft.com/office/drawing/2014/main" id="{505D1888-A657-A0D4-F47C-C3217D0EB6AD}"/>
                  </a:ext>
                </a:extLst>
              </p:cNvPr>
              <p:cNvGrpSpPr/>
              <p:nvPr/>
            </p:nvGrpSpPr>
            <p:grpSpPr>
              <a:xfrm>
                <a:off x="11209260" y="5806882"/>
                <a:ext cx="428236" cy="431708"/>
                <a:chOff x="11398402" y="6341408"/>
                <a:chExt cx="214118" cy="215854"/>
              </a:xfrm>
            </p:grpSpPr>
            <p:sp>
              <p:nvSpPr>
                <p:cNvPr id="48" name="Ellipse 47">
                  <a:extLst>
                    <a:ext uri="{FF2B5EF4-FFF2-40B4-BE49-F238E27FC236}">
                      <a16:creationId xmlns:a16="http://schemas.microsoft.com/office/drawing/2014/main" id="{DD3320BD-590B-3606-D5D3-F6F61214A1C6}"/>
                    </a:ext>
                  </a:extLst>
                </p:cNvPr>
                <p:cNvSpPr/>
                <p:nvPr/>
              </p:nvSpPr>
              <p:spPr>
                <a:xfrm>
                  <a:off x="11398402" y="6341408"/>
                  <a:ext cx="214118" cy="215854"/>
                </a:xfrm>
                <a:prstGeom prst="ellipse">
                  <a:avLst/>
                </a:pr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lIns="360000" tIns="432000" rIns="72000" bIns="36000" rtlCol="0" anchor="t" anchorCtr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endParaRPr>
                </a:p>
              </p:txBody>
            </p:sp>
            <p:pic>
              <p:nvPicPr>
                <p:cNvPr id="49" name="Grafik 48">
                  <a:extLst>
                    <a:ext uri="{FF2B5EF4-FFF2-40B4-BE49-F238E27FC236}">
                      <a16:creationId xmlns:a16="http://schemas.microsoft.com/office/drawing/2014/main" id="{5C3D7DE6-FACC-E603-7750-1B79B82C8E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23306" y="6367519"/>
                  <a:ext cx="163631" cy="163631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50" name="Grafik 49">
            <a:extLst>
              <a:ext uri="{FF2B5EF4-FFF2-40B4-BE49-F238E27FC236}">
                <a16:creationId xmlns:a16="http://schemas.microsoft.com/office/drawing/2014/main" id="{534D754B-8B9F-9E8C-C916-AB77401F9E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14489" y="5442217"/>
            <a:ext cx="356488" cy="356488"/>
          </a:xfrm>
          <a:prstGeom prst="rect">
            <a:avLst/>
          </a:prstGeom>
        </p:spPr>
      </p:pic>
      <p:sp>
        <p:nvSpPr>
          <p:cNvPr id="19" name="Titel 18">
            <a:extLst>
              <a:ext uri="{FF2B5EF4-FFF2-40B4-BE49-F238E27FC236}">
                <a16:creationId xmlns:a16="http://schemas.microsoft.com/office/drawing/2014/main" id="{9C73DE35-9D55-ABF5-88D1-403A0294E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6936" y="622301"/>
            <a:ext cx="7412755" cy="648000"/>
          </a:xfrm>
        </p:spPr>
        <p:txBody>
          <a:bodyPr/>
          <a:lstStyle/>
          <a:p>
            <a:r>
              <a:rPr lang="de-DE"/>
              <a:t>Erstellung einer THG-Bilanzierung gemäß CSRD </a:t>
            </a:r>
            <a:br>
              <a:rPr lang="de-DE"/>
            </a:br>
            <a:r>
              <a:rPr lang="de-DE"/>
              <a:t>&amp; Berechnung von wissenschaftlich-basierten Zielen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75E1B0D-5D81-F0AC-9153-DD5B89D8E1B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4148200" y="396000"/>
            <a:ext cx="7164000" cy="144000"/>
          </a:xfrm>
        </p:spPr>
        <p:txBody>
          <a:bodyPr/>
          <a:lstStyle/>
          <a:p>
            <a:r>
              <a:rPr lang="de-DE"/>
              <a:t>Praxisbeispiel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FA87CFA-F4E2-6765-2CF8-F5CE27E0CA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Government / Public Services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770CD5C7-BDB4-C114-4DEC-781036771CD4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/>
        <p:txBody>
          <a:bodyPr/>
          <a:lstStyle/>
          <a:p>
            <a:r>
              <a:rPr lang="de-DE"/>
              <a:t> </a:t>
            </a:r>
          </a:p>
        </p:txBody>
      </p:sp>
      <p:pic>
        <p:nvPicPr>
          <p:cNvPr id="26" name="valantic logo">
            <a:extLst>
              <a:ext uri="{FF2B5EF4-FFF2-40B4-BE49-F238E27FC236}">
                <a16:creationId xmlns:a16="http://schemas.microsoft.com/office/drawing/2014/main" id="{7C11402F-F783-E7DB-96AB-AB3FA8470ACE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6" r="56"/>
          <a:stretch>
            <a:fillRect/>
          </a:stretch>
        </p:blipFill>
        <p:spPr>
          <a:xfrm>
            <a:off x="415925" y="6218238"/>
            <a:ext cx="1168400" cy="450850"/>
          </a:xfrm>
          <a:prstGeom prst="rect">
            <a:avLst/>
          </a:prstGeom>
        </p:spPr>
      </p:pic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4DA04045-2D35-7DF6-34D7-C2341160C6AE}"/>
              </a:ext>
            </a:extLst>
          </p:cNvPr>
          <p:cNvSpPr txBox="1">
            <a:spLocks/>
          </p:cNvSpPr>
          <p:nvPr/>
        </p:nvSpPr>
        <p:spPr>
          <a:xfrm>
            <a:off x="550862" y="1507551"/>
            <a:ext cx="2880000" cy="3600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200" b="0" kern="1200" cap="all" spc="100" baseline="0" noProof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800" b="1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600" b="1" kern="1200" cap="none" spc="10" baseline="0" noProof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600" b="1" kern="1200" spc="4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en-US" sz="1600" b="1" kern="1200" cap="none" spc="40" baseline="0" noProof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2743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600" b="1" i="0" kern="1200" cap="all" spc="100" baseline="0" noProof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200" b="0" i="0" u="none" strike="noStrike" kern="1200" cap="all" spc="10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etail</a:t>
            </a:r>
          </a:p>
        </p:txBody>
      </p:sp>
      <p:sp>
        <p:nvSpPr>
          <p:cNvPr id="36" name="Bildplatzhalter 21">
            <a:extLst>
              <a:ext uri="{FF2B5EF4-FFF2-40B4-BE49-F238E27FC236}">
                <a16:creationId xmlns:a16="http://schemas.microsoft.com/office/drawing/2014/main" id="{E43D1DCE-A3A6-A127-0B54-F8621572BDAC}"/>
              </a:ext>
            </a:extLst>
          </p:cNvPr>
          <p:cNvSpPr txBox="1">
            <a:spLocks/>
          </p:cNvSpPr>
          <p:nvPr/>
        </p:nvSpPr>
        <p:spPr>
          <a:xfrm>
            <a:off x="549237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4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4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400" b="0" kern="1200" cap="none" spc="10" baseline="0" noProof="0" dirty="0" smtClean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400" b="0" kern="1200" cap="none" spc="40" baseline="0" noProof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nl-NL" sz="14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nl-NL" sz="1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400" i="0" kern="1200" cap="all" spc="100" baseline="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37" name="valantic logo">
            <a:extLst>
              <a:ext uri="{FF2B5EF4-FFF2-40B4-BE49-F238E27FC236}">
                <a16:creationId xmlns:a16="http://schemas.microsoft.com/office/drawing/2014/main" id="{0109F2F3-B1AD-BE3E-4556-636FF5C9D7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6" r="56"/>
          <a:stretch>
            <a:fillRect/>
          </a:stretch>
        </p:blipFill>
        <p:spPr>
          <a:xfrm>
            <a:off x="415925" y="6218238"/>
            <a:ext cx="1168400" cy="450850"/>
          </a:xfrm>
          <a:prstGeom prst="rect">
            <a:avLst/>
          </a:prstGeom>
          <a:noFill/>
        </p:spPr>
      </p:pic>
      <p:sp>
        <p:nvSpPr>
          <p:cNvPr id="128" name="Textplatzhalter 10">
            <a:extLst>
              <a:ext uri="{FF2B5EF4-FFF2-40B4-BE49-F238E27FC236}">
                <a16:creationId xmlns:a16="http://schemas.microsoft.com/office/drawing/2014/main" id="{F62344B8-E15C-2AE9-AB8F-9EFB3A0E41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478840" y="1926595"/>
            <a:ext cx="3826216" cy="2522908"/>
          </a:xfrm>
        </p:spPr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lang="de-DE" altLang="en-US">
                <a:solidFill>
                  <a:prstClr val="black"/>
                </a:solidFill>
                <a:latin typeface="Arial"/>
              </a:rPr>
              <a:t> </a:t>
            </a:r>
            <a:endParaRPr kumimoji="0" lang="de-DE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Textplatzhalter 11">
            <a:extLst>
              <a:ext uri="{FF2B5EF4-FFF2-40B4-BE49-F238E27FC236}">
                <a16:creationId xmlns:a16="http://schemas.microsoft.com/office/drawing/2014/main" id="{25E82FDE-0106-874D-A430-85282E3E1F34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8434263" y="1914400"/>
            <a:ext cx="2340000" cy="540000"/>
          </a:xfrm>
        </p:spPr>
        <p:txBody>
          <a:bodyPr/>
          <a:lstStyle/>
          <a:p>
            <a:r>
              <a:rPr lang="de-DE"/>
              <a:t>Beratungsansatz &amp; Technologie</a:t>
            </a:r>
          </a:p>
        </p:txBody>
      </p:sp>
      <p:sp>
        <p:nvSpPr>
          <p:cNvPr id="130" name="Textplatzhalter 13">
            <a:extLst>
              <a:ext uri="{FF2B5EF4-FFF2-40B4-BE49-F238E27FC236}">
                <a16:creationId xmlns:a16="http://schemas.microsoft.com/office/drawing/2014/main" id="{7828D99E-C832-8F4B-8365-C2F73B4E5A3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 rot="16200000">
            <a:off x="6269229" y="3138291"/>
            <a:ext cx="2522908" cy="99510"/>
          </a:xfrm>
        </p:spPr>
        <p:txBody>
          <a:bodyPr/>
          <a:lstStyle/>
          <a:p>
            <a:endParaRPr lang="de-DE"/>
          </a:p>
        </p:txBody>
      </p:sp>
      <p:sp>
        <p:nvSpPr>
          <p:cNvPr id="131" name="Textplatzhalter 14">
            <a:extLst>
              <a:ext uri="{FF2B5EF4-FFF2-40B4-BE49-F238E27FC236}">
                <a16:creationId xmlns:a16="http://schemas.microsoft.com/office/drawing/2014/main" id="{E5B124E9-2EA9-CEC6-98A2-043B1D17800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146936" y="1926596"/>
            <a:ext cx="3160360" cy="2522904"/>
          </a:xfrm>
        </p:spPr>
        <p:txBody>
          <a:bodyPr/>
          <a:lstStyle/>
          <a:p>
            <a:pPr marL="0" lvl="1" indent="0">
              <a:lnSpc>
                <a:spcPct val="100000"/>
              </a:lnSpc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</a:p>
        </p:txBody>
      </p:sp>
      <p:sp>
        <p:nvSpPr>
          <p:cNvPr id="132" name="Textplatzhalter 15">
            <a:extLst>
              <a:ext uri="{FF2B5EF4-FFF2-40B4-BE49-F238E27FC236}">
                <a16:creationId xmlns:a16="http://schemas.microsoft.com/office/drawing/2014/main" id="{2C5961E9-16FA-C36C-D556-0306B9B7CE09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5140530" y="1901700"/>
            <a:ext cx="2340000" cy="540000"/>
          </a:xfrm>
        </p:spPr>
        <p:txBody>
          <a:bodyPr/>
          <a:lstStyle/>
          <a:p>
            <a:r>
              <a:rPr lang="de-DE"/>
              <a:t>Herausforderung</a:t>
            </a:r>
          </a:p>
        </p:txBody>
      </p:sp>
      <p:sp>
        <p:nvSpPr>
          <p:cNvPr id="133" name="Textplatzhalter 17">
            <a:extLst>
              <a:ext uri="{FF2B5EF4-FFF2-40B4-BE49-F238E27FC236}">
                <a16:creationId xmlns:a16="http://schemas.microsoft.com/office/drawing/2014/main" id="{8C175E3B-1296-4A78-B6B7-F17907FD12D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 rot="16200000">
            <a:off x="2932325" y="3137521"/>
            <a:ext cx="2522904" cy="101051"/>
          </a:xfrm>
        </p:spPr>
        <p:txBody>
          <a:bodyPr/>
          <a:lstStyle/>
          <a:p>
            <a:endParaRPr lang="de-DE"/>
          </a:p>
        </p:txBody>
      </p:sp>
      <p:pic>
        <p:nvPicPr>
          <p:cNvPr id="134" name="Content Placeholder 21">
            <a:extLst>
              <a:ext uri="{FF2B5EF4-FFF2-40B4-BE49-F238E27FC236}">
                <a16:creationId xmlns:a16="http://schemas.microsoft.com/office/drawing/2014/main" id="{58214BFA-0F7B-9D2B-6F04-1F12413BBEC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54525" y="1901825"/>
            <a:ext cx="539750" cy="539750"/>
          </a:xfrm>
          <a:prstGeom prst="rect">
            <a:avLst/>
          </a:prstGeom>
          <a:noFill/>
        </p:spPr>
      </p:pic>
      <p:pic>
        <p:nvPicPr>
          <p:cNvPr id="135" name="Content Placeholder 19">
            <a:extLst>
              <a:ext uri="{FF2B5EF4-FFF2-40B4-BE49-F238E27FC236}">
                <a16:creationId xmlns:a16="http://schemas.microsoft.com/office/drawing/2014/main" id="{CB43DBBA-AA70-12D0-FA01-7D4FBCB5B4DC}"/>
              </a:ext>
            </a:extLst>
          </p:cNvPr>
          <p:cNvPicPr>
            <a:picLocks noGrp="1" noChangeAspect="1"/>
          </p:cNvPicPr>
          <p:nvPr>
            <p:ph sz="quarter" idx="48"/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95676" y="1914525"/>
            <a:ext cx="539750" cy="539750"/>
          </a:xfrm>
        </p:spPr>
      </p:pic>
      <p:sp>
        <p:nvSpPr>
          <p:cNvPr id="136" name="Textfeld 135">
            <a:extLst>
              <a:ext uri="{FF2B5EF4-FFF2-40B4-BE49-F238E27FC236}">
                <a16:creationId xmlns:a16="http://schemas.microsoft.com/office/drawing/2014/main" id="{E2CF2176-5865-5B09-312C-28E23B28CD72}"/>
              </a:ext>
            </a:extLst>
          </p:cNvPr>
          <p:cNvSpPr txBox="1"/>
          <p:nvPr/>
        </p:nvSpPr>
        <p:spPr>
          <a:xfrm>
            <a:off x="4346612" y="2379828"/>
            <a:ext cx="2960684" cy="1646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orbereitung auf die Erfüllung der CSRD-Anforderungen für die Offen-legung von Umweltinformationen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lang="de-DE" sz="1200">
                <a:solidFill>
                  <a:srgbClr val="100C2A"/>
                </a:solidFill>
                <a:latin typeface="Segoe UI"/>
              </a:rPr>
              <a:t>Aufwändige Datenkonsolidierung über alle Regionen und Unternehmensbereich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lang="de-DE" sz="1200">
                <a:solidFill>
                  <a:srgbClr val="100C2A"/>
                </a:solidFill>
                <a:latin typeface="Segoe UI"/>
              </a:rPr>
              <a:t>Bestehendes Carbon Accounting Tool als „Black-box“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8EA3FD43-B240-C770-1215-70611156EE40}"/>
              </a:ext>
            </a:extLst>
          </p:cNvPr>
          <p:cNvSpPr txBox="1"/>
          <p:nvPr/>
        </p:nvSpPr>
        <p:spPr>
          <a:xfrm>
            <a:off x="7691919" y="2397016"/>
            <a:ext cx="3613138" cy="1831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ollumfängliche Datensammlung in bestehender Corporate Performance Lösung für Finanzielles und ESG Reporting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plementierung einer individuellen Datenerhebung und Emissionsberechnung in vorhandenem Corporate Performance Tool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twicklung und Validierung von Reduktionszielen in Einklang mit der Science-based Targets Initiative (SBTi)</a:t>
            </a:r>
          </a:p>
        </p:txBody>
      </p:sp>
      <p:sp>
        <p:nvSpPr>
          <p:cNvPr id="111" name="Textplatzhalter 6">
            <a:extLst>
              <a:ext uri="{FF2B5EF4-FFF2-40B4-BE49-F238E27FC236}">
                <a16:creationId xmlns:a16="http://schemas.microsoft.com/office/drawing/2014/main" id="{EA26CFD0-FCAB-A7BB-00AB-0DD287310F1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134938" y="4613146"/>
            <a:ext cx="4988368" cy="2018925"/>
          </a:xfrm>
        </p:spPr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12" name="Textplatzhalter 7">
            <a:extLst>
              <a:ext uri="{FF2B5EF4-FFF2-40B4-BE49-F238E27FC236}">
                <a16:creationId xmlns:a16="http://schemas.microsoft.com/office/drawing/2014/main" id="{A7B889D0-A163-1415-A640-98B5C85BE9B4}"/>
              </a:ext>
            </a:extLst>
          </p:cNvPr>
          <p:cNvSpPr>
            <a:spLocks noGrp="1"/>
          </p:cNvSpPr>
          <p:nvPr>
            <p:ph type="body" idx="64"/>
          </p:nvPr>
        </p:nvSpPr>
        <p:spPr>
          <a:xfrm>
            <a:off x="5140530" y="4706159"/>
            <a:ext cx="2340000" cy="540000"/>
          </a:xfrm>
        </p:spPr>
        <p:txBody>
          <a:bodyPr/>
          <a:lstStyle/>
          <a:p>
            <a:r>
              <a:rPr lang="de-DE"/>
              <a:t>Kundennutzen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6474AE41-5F17-88BB-E504-E48E93A7CCDA}"/>
              </a:ext>
            </a:extLst>
          </p:cNvPr>
          <p:cNvSpPr txBox="1"/>
          <p:nvPr/>
        </p:nvSpPr>
        <p:spPr>
          <a:xfrm>
            <a:off x="4346611" y="5160917"/>
            <a:ext cx="4776695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ollständige Berichterstattung des Corporate Carbon Footprint mit verbesserter Datenqualität und Granularität stellt die Einhaltung der Anforderungen der CSRD sicher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ftwaregestützte Datenerhebung, klare Prüfpfade und definierte Verantwortlichkeiten sorgen für Transparenz und Belastbarkeit 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bitionierte, extern validierte Ziele im Einklang mit dem Pariser Abkommen, einschließlich der Scope 3 Emissionen</a:t>
            </a:r>
          </a:p>
        </p:txBody>
      </p:sp>
      <p:sp>
        <p:nvSpPr>
          <p:cNvPr id="113" name="Textplatzhalter 9">
            <a:extLst>
              <a:ext uri="{FF2B5EF4-FFF2-40B4-BE49-F238E27FC236}">
                <a16:creationId xmlns:a16="http://schemas.microsoft.com/office/drawing/2014/main" id="{262355BA-70A6-848F-4342-16381C167DF3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 rot="16200000">
            <a:off x="3184313" y="5572208"/>
            <a:ext cx="2018925" cy="101048"/>
          </a:xfrm>
        </p:spPr>
        <p:txBody>
          <a:bodyPr/>
          <a:lstStyle/>
          <a:p>
            <a:endParaRPr lang="de-DE"/>
          </a:p>
        </p:txBody>
      </p:sp>
      <p:pic>
        <p:nvPicPr>
          <p:cNvPr id="114" name="Content Placeholder 17">
            <a:extLst>
              <a:ext uri="{FF2B5EF4-FFF2-40B4-BE49-F238E27FC236}">
                <a16:creationId xmlns:a16="http://schemas.microsoft.com/office/drawing/2014/main" id="{E6D0711F-A795-E485-9D78-851771DA8F53}"/>
              </a:ext>
            </a:extLst>
          </p:cNvPr>
          <p:cNvPicPr>
            <a:picLocks noGrp="1" noChangeAspect="1"/>
          </p:cNvPicPr>
          <p:nvPr>
            <p:ph sz="quarter" idx="51"/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54525" y="4646462"/>
            <a:ext cx="539750" cy="539750"/>
          </a:xfrm>
        </p:spPr>
      </p:pic>
      <p:pic>
        <p:nvPicPr>
          <p:cNvPr id="3" name="Grafik 11">
            <a:extLst>
              <a:ext uri="{FF2B5EF4-FFF2-40B4-BE49-F238E27FC236}">
                <a16:creationId xmlns:a16="http://schemas.microsoft.com/office/drawing/2014/main" id="{2C2FA964-CD9A-B893-D166-B1392D099DD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32308" y="711936"/>
            <a:ext cx="1993858" cy="360001"/>
          </a:xfrm>
          <a:prstGeom prst="rect">
            <a:avLst/>
          </a:prstGeom>
        </p:spPr>
      </p:pic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4BF4EDAC-AFA5-F1F8-1806-064B50A6AA0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9"/>
          <a:srcRect l="17533" r="17533"/>
          <a:stretch>
            <a:fillRect/>
          </a:stretch>
        </p:blipFill>
        <p:spPr/>
      </p:pic>
      <p:sp>
        <p:nvSpPr>
          <p:cNvPr id="14" name="Textplatzhalter 20">
            <a:extLst>
              <a:ext uri="{FF2B5EF4-FFF2-40B4-BE49-F238E27FC236}">
                <a16:creationId xmlns:a16="http://schemas.microsoft.com/office/drawing/2014/main" id="{4E9D0CD4-E154-9E90-E7D6-34DFA9CACD4A}"/>
              </a:ext>
            </a:extLst>
          </p:cNvPr>
          <p:cNvSpPr txBox="1">
            <a:spLocks/>
          </p:cNvSpPr>
          <p:nvPr/>
        </p:nvSpPr>
        <p:spPr>
          <a:xfrm>
            <a:off x="703262" y="1659951"/>
            <a:ext cx="2880000" cy="3600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200" b="0" kern="1200" cap="all" spc="100" baseline="0" noProof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800" b="1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600" b="1" kern="1200" cap="none" spc="10" baseline="0" noProof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600" b="1" kern="1200" spc="4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en-US" sz="1600" b="1" kern="1200" cap="none" spc="40" baseline="0" noProof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2743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600" b="1" i="0" kern="1200" cap="all" spc="100" baseline="0" noProof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200" b="0" i="0" u="none" strike="noStrike" kern="1200" cap="all" spc="10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etail</a:t>
            </a:r>
          </a:p>
        </p:txBody>
      </p:sp>
      <p:sp>
        <p:nvSpPr>
          <p:cNvPr id="15" name="Bildplatzhalter 21">
            <a:extLst>
              <a:ext uri="{FF2B5EF4-FFF2-40B4-BE49-F238E27FC236}">
                <a16:creationId xmlns:a16="http://schemas.microsoft.com/office/drawing/2014/main" id="{A9694FB4-5F89-F103-FAB1-2172A410F9D0}"/>
              </a:ext>
            </a:extLst>
          </p:cNvPr>
          <p:cNvSpPr txBox="1">
            <a:spLocks/>
          </p:cNvSpPr>
          <p:nvPr/>
        </p:nvSpPr>
        <p:spPr>
          <a:xfrm>
            <a:off x="701637" y="5943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4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4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400" b="0" kern="1200" cap="none" spc="10" baseline="0" noProof="0" dirty="0" smtClean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400" b="0" kern="1200" cap="none" spc="40" baseline="0" noProof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nl-NL" sz="14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nl-NL" sz="1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400" i="0" kern="1200" cap="all" spc="100" baseline="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6" name="Grafik 11">
            <a:extLst>
              <a:ext uri="{FF2B5EF4-FFF2-40B4-BE49-F238E27FC236}">
                <a16:creationId xmlns:a16="http://schemas.microsoft.com/office/drawing/2014/main" id="{E906ACC4-0457-B0F2-43BD-849C2CBF3F76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784708" y="864336"/>
            <a:ext cx="1993858" cy="360001"/>
          </a:xfrm>
          <a:prstGeom prst="rect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27CB1EAF-B5E1-9BDC-E1ED-D064A8AEF4FE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721720-9270-50F8-AFE2-9B4F526A994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11" name="shape">
            <a:extLst>
              <a:ext uri="{FF2B5EF4-FFF2-40B4-BE49-F238E27FC236}">
                <a16:creationId xmlns:a16="http://schemas.microsoft.com/office/drawing/2014/main" id="{FB5CA368-C3C8-5AC5-2E95-2F7E682EC664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12" name="Picture Placeholder 21">
            <a:extLst>
              <a:ext uri="{FF2B5EF4-FFF2-40B4-BE49-F238E27FC236}">
                <a16:creationId xmlns:a16="http://schemas.microsoft.com/office/drawing/2014/main" id="{AAB71F23-AD6F-8B09-C5CA-0C3DC25A2435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100000"/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25" name="Foliennummernplatzhalter 1">
            <a:extLst>
              <a:ext uri="{FF2B5EF4-FFF2-40B4-BE49-F238E27FC236}">
                <a16:creationId xmlns:a16="http://schemas.microsoft.com/office/drawing/2014/main" id="{FBA2737B-96B3-61CE-34E5-21CA7A53CE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573BCF-C0F1-4720-B5E7-944FE630E67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87770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A7B8E9-2F85-7340-B872-DD0E4FA424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1E40156-ACE8-682E-596C-C2012A0A6A2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ED996D3A-7C7D-0867-0346-20942F5052FE}"/>
              </a:ext>
            </a:extLst>
          </p:cNvPr>
          <p:cNvGrpSpPr/>
          <p:nvPr/>
        </p:nvGrpSpPr>
        <p:grpSpPr>
          <a:xfrm>
            <a:off x="7922472" y="5364523"/>
            <a:ext cx="3430118" cy="511875"/>
            <a:chOff x="8252672" y="5364523"/>
            <a:chExt cx="3430118" cy="511875"/>
          </a:xfrm>
        </p:grpSpPr>
        <p:sp>
          <p:nvSpPr>
            <p:cNvPr id="32" name="Rechteck: abgerundete Ecken 31">
              <a:extLst>
                <a:ext uri="{FF2B5EF4-FFF2-40B4-BE49-F238E27FC236}">
                  <a16:creationId xmlns:a16="http://schemas.microsoft.com/office/drawing/2014/main" id="{C791DEB1-FACF-F29E-4F82-D2184A7B05EB}"/>
                </a:ext>
              </a:extLst>
            </p:cNvPr>
            <p:cNvSpPr/>
            <p:nvPr/>
          </p:nvSpPr>
          <p:spPr>
            <a:xfrm>
              <a:off x="8252672" y="5364523"/>
              <a:ext cx="3430118" cy="51187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EF4251"/>
                </a:gs>
                <a:gs pos="100000">
                  <a:srgbClr val="F4704D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D10F332B-DADF-A631-4538-2007B822BDD7}"/>
                </a:ext>
              </a:extLst>
            </p:cNvPr>
            <p:cNvSpPr txBox="1"/>
            <p:nvPr/>
          </p:nvSpPr>
          <p:spPr>
            <a:xfrm>
              <a:off x="9524340" y="5364523"/>
              <a:ext cx="1684917" cy="50549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Produktlebenszyklus-Analyse</a:t>
              </a:r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E15EB328-DE91-5116-C059-A4AB24CFDB35}"/>
                </a:ext>
              </a:extLst>
            </p:cNvPr>
            <p:cNvSpPr/>
            <p:nvPr/>
          </p:nvSpPr>
          <p:spPr>
            <a:xfrm>
              <a:off x="11209260" y="5404607"/>
              <a:ext cx="428236" cy="431708"/>
            </a:xfrm>
            <a:prstGeom prst="ellipse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56F13F2E-A95D-3975-B0D2-B114F929EAEF}"/>
              </a:ext>
            </a:extLst>
          </p:cNvPr>
          <p:cNvGrpSpPr/>
          <p:nvPr/>
        </p:nvGrpSpPr>
        <p:grpSpPr>
          <a:xfrm>
            <a:off x="7922472" y="4731752"/>
            <a:ext cx="3430118" cy="514407"/>
            <a:chOff x="8252672" y="4731752"/>
            <a:chExt cx="3430118" cy="514407"/>
          </a:xfrm>
        </p:grpSpPr>
        <p:sp>
          <p:nvSpPr>
            <p:cNvPr id="39" name="Rechteck: abgerundete Ecken 38">
              <a:extLst>
                <a:ext uri="{FF2B5EF4-FFF2-40B4-BE49-F238E27FC236}">
                  <a16:creationId xmlns:a16="http://schemas.microsoft.com/office/drawing/2014/main" id="{0D00971B-6D1F-2280-D934-E446BAA802D7}"/>
                </a:ext>
              </a:extLst>
            </p:cNvPr>
            <p:cNvSpPr/>
            <p:nvPr/>
          </p:nvSpPr>
          <p:spPr>
            <a:xfrm>
              <a:off x="8252672" y="4734284"/>
              <a:ext cx="3430118" cy="51187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EF4251"/>
                </a:gs>
                <a:gs pos="100000">
                  <a:srgbClr val="F4704D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E39C7A0-CE50-D4A7-D576-2C0214E07DD0}"/>
                </a:ext>
              </a:extLst>
            </p:cNvPr>
            <p:cNvSpPr/>
            <p:nvPr/>
          </p:nvSpPr>
          <p:spPr>
            <a:xfrm>
              <a:off x="11209259" y="4774367"/>
              <a:ext cx="428236" cy="431708"/>
            </a:xfrm>
            <a:prstGeom prst="ellipse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E971EC0-7FDE-1DBD-FFCB-3472FA67C1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1244689" y="4811977"/>
              <a:ext cx="356488" cy="356488"/>
            </a:xfrm>
            <a:prstGeom prst="rect">
              <a:avLst/>
            </a:prstGeom>
          </p:spPr>
        </p:pic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CCED0111-8997-CB35-4936-38C54BF75131}"/>
                </a:ext>
              </a:extLst>
            </p:cNvPr>
            <p:cNvSpPr txBox="1"/>
            <p:nvPr/>
          </p:nvSpPr>
          <p:spPr>
            <a:xfrm>
              <a:off x="9524341" y="4731752"/>
              <a:ext cx="1851958" cy="5070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Circular</a:t>
              </a: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 Economy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19EE0CD5-CDB1-6113-F8B5-FEDB27E340EC}"/>
              </a:ext>
            </a:extLst>
          </p:cNvPr>
          <p:cNvGrpSpPr/>
          <p:nvPr/>
        </p:nvGrpSpPr>
        <p:grpSpPr>
          <a:xfrm>
            <a:off x="7922471" y="5994762"/>
            <a:ext cx="3430118" cy="511875"/>
            <a:chOff x="8252672" y="5766798"/>
            <a:chExt cx="3430118" cy="511875"/>
          </a:xfrm>
        </p:grpSpPr>
        <p:sp>
          <p:nvSpPr>
            <p:cNvPr id="44" name="Rechteck: abgerundete Ecken 43">
              <a:extLst>
                <a:ext uri="{FF2B5EF4-FFF2-40B4-BE49-F238E27FC236}">
                  <a16:creationId xmlns:a16="http://schemas.microsoft.com/office/drawing/2014/main" id="{1D8B88D3-0E63-B749-A829-BA09462CD474}"/>
                </a:ext>
              </a:extLst>
            </p:cNvPr>
            <p:cNvSpPr/>
            <p:nvPr/>
          </p:nvSpPr>
          <p:spPr>
            <a:xfrm>
              <a:off x="8252672" y="5766798"/>
              <a:ext cx="3430118" cy="51187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EF4251"/>
                </a:gs>
                <a:gs pos="100000">
                  <a:srgbClr val="F4704D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4599CE50-783F-7FAD-F4D0-D61CC38B4760}"/>
                </a:ext>
              </a:extLst>
            </p:cNvPr>
            <p:cNvGrpSpPr/>
            <p:nvPr/>
          </p:nvGrpSpPr>
          <p:grpSpPr>
            <a:xfrm>
              <a:off x="9524340" y="5766798"/>
              <a:ext cx="2113156" cy="505491"/>
              <a:chOff x="9524340" y="5766798"/>
              <a:chExt cx="2113156" cy="505491"/>
            </a:xfrm>
          </p:grpSpPr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53F4831F-D91E-B2C4-6730-ED8334DB18E1}"/>
                  </a:ext>
                </a:extLst>
              </p:cNvPr>
              <p:cNvSpPr txBox="1"/>
              <p:nvPr/>
            </p:nvSpPr>
            <p:spPr>
              <a:xfrm>
                <a:off x="9524340" y="5766798"/>
                <a:ext cx="1684917" cy="50549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Vorbereitung auf Regulatorik</a:t>
                </a:r>
              </a:p>
            </p:txBody>
          </p:sp>
          <p:grpSp>
            <p:nvGrpSpPr>
              <p:cNvPr id="47" name="Gruppieren 46">
                <a:extLst>
                  <a:ext uri="{FF2B5EF4-FFF2-40B4-BE49-F238E27FC236}">
                    <a16:creationId xmlns:a16="http://schemas.microsoft.com/office/drawing/2014/main" id="{532EE894-7851-B5F1-86FD-D22731CEB3F2}"/>
                  </a:ext>
                </a:extLst>
              </p:cNvPr>
              <p:cNvGrpSpPr/>
              <p:nvPr/>
            </p:nvGrpSpPr>
            <p:grpSpPr>
              <a:xfrm>
                <a:off x="11209260" y="5806882"/>
                <a:ext cx="428236" cy="431708"/>
                <a:chOff x="11398402" y="6341408"/>
                <a:chExt cx="214118" cy="215854"/>
              </a:xfrm>
            </p:grpSpPr>
            <p:sp>
              <p:nvSpPr>
                <p:cNvPr id="48" name="Ellipse 47">
                  <a:extLst>
                    <a:ext uri="{FF2B5EF4-FFF2-40B4-BE49-F238E27FC236}">
                      <a16:creationId xmlns:a16="http://schemas.microsoft.com/office/drawing/2014/main" id="{EE0035F9-7787-46A3-F3BD-2C29AD16C9BA}"/>
                    </a:ext>
                  </a:extLst>
                </p:cNvPr>
                <p:cNvSpPr/>
                <p:nvPr/>
              </p:nvSpPr>
              <p:spPr>
                <a:xfrm>
                  <a:off x="11398402" y="6341408"/>
                  <a:ext cx="214118" cy="215854"/>
                </a:xfrm>
                <a:prstGeom prst="ellipse">
                  <a:avLst/>
                </a:pr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lIns="360000" tIns="432000" rIns="72000" bIns="36000" rtlCol="0" anchor="t" anchorCtr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endParaRPr>
                </a:p>
              </p:txBody>
            </p:sp>
            <p:pic>
              <p:nvPicPr>
                <p:cNvPr id="49" name="Grafik 48">
                  <a:extLst>
                    <a:ext uri="{FF2B5EF4-FFF2-40B4-BE49-F238E27FC236}">
                      <a16:creationId xmlns:a16="http://schemas.microsoft.com/office/drawing/2014/main" id="{79626A17-AAF9-67AB-D98F-B6549CA718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rcRect/>
                <a:stretch/>
              </p:blipFill>
              <p:spPr>
                <a:xfrm>
                  <a:off x="11423306" y="6367519"/>
                  <a:ext cx="163631" cy="163631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50" name="Grafik 49">
            <a:extLst>
              <a:ext uri="{FF2B5EF4-FFF2-40B4-BE49-F238E27FC236}">
                <a16:creationId xmlns:a16="http://schemas.microsoft.com/office/drawing/2014/main" id="{5C467CD7-A820-C4D4-6667-75D2847043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0914489" y="5442217"/>
            <a:ext cx="356488" cy="356488"/>
          </a:xfrm>
          <a:prstGeom prst="rect">
            <a:avLst/>
          </a:prstGeom>
        </p:spPr>
      </p:pic>
      <p:sp>
        <p:nvSpPr>
          <p:cNvPr id="19" name="Titel 18">
            <a:extLst>
              <a:ext uri="{FF2B5EF4-FFF2-40B4-BE49-F238E27FC236}">
                <a16:creationId xmlns:a16="http://schemas.microsoft.com/office/drawing/2014/main" id="{7708A133-92F0-78DC-64D5-2853F73FB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6937" y="622301"/>
            <a:ext cx="7109192" cy="648000"/>
          </a:xfrm>
        </p:spPr>
        <p:txBody>
          <a:bodyPr/>
          <a:lstStyle/>
          <a:p>
            <a:r>
              <a:rPr lang="de-DE"/>
              <a:t>Digitale Produktpässe (DPP) in der Textilindustri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585783-BB5C-A4B2-7EAB-C46A1DC06F0B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4148200" y="396000"/>
            <a:ext cx="7164000" cy="144000"/>
          </a:xfrm>
        </p:spPr>
        <p:txBody>
          <a:bodyPr/>
          <a:lstStyle/>
          <a:p>
            <a:r>
              <a:rPr lang="de-DE"/>
              <a:t>PRAXISBEISPIEL</a:t>
            </a:r>
          </a:p>
        </p:txBody>
      </p:sp>
      <p:pic>
        <p:nvPicPr>
          <p:cNvPr id="26" name="valantic logo">
            <a:extLst>
              <a:ext uri="{FF2B5EF4-FFF2-40B4-BE49-F238E27FC236}">
                <a16:creationId xmlns:a16="http://schemas.microsoft.com/office/drawing/2014/main" id="{89E03EE3-6589-D326-18A3-9877A789BE5A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6" r="56"/>
          <a:stretch>
            <a:fillRect/>
          </a:stretch>
        </p:blipFill>
        <p:spPr>
          <a:xfrm>
            <a:off x="415925" y="6218238"/>
            <a:ext cx="1168400" cy="450850"/>
          </a:xfrm>
          <a:prstGeom prst="rect">
            <a:avLst/>
          </a:prstGeom>
        </p:spPr>
      </p:pic>
      <p:pic>
        <p:nvPicPr>
          <p:cNvPr id="37" name="valantic logo">
            <a:extLst>
              <a:ext uri="{FF2B5EF4-FFF2-40B4-BE49-F238E27FC236}">
                <a16:creationId xmlns:a16="http://schemas.microsoft.com/office/drawing/2014/main" id="{49B0AF09-ACF4-358D-849C-34C6551E154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6" r="56"/>
          <a:stretch>
            <a:fillRect/>
          </a:stretch>
        </p:blipFill>
        <p:spPr>
          <a:xfrm>
            <a:off x="415925" y="6218238"/>
            <a:ext cx="1168400" cy="450850"/>
          </a:xfrm>
          <a:prstGeom prst="rect">
            <a:avLst/>
          </a:prstGeom>
          <a:noFill/>
        </p:spPr>
      </p:pic>
      <p:sp>
        <p:nvSpPr>
          <p:cNvPr id="128" name="Textplatzhalter 10">
            <a:extLst>
              <a:ext uri="{FF2B5EF4-FFF2-40B4-BE49-F238E27FC236}">
                <a16:creationId xmlns:a16="http://schemas.microsoft.com/office/drawing/2014/main" id="{A9C9EC4A-96BC-CA92-28D5-0E50BD93041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478840" y="1926595"/>
            <a:ext cx="3826216" cy="2522908"/>
          </a:xfrm>
        </p:spPr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lang="de-DE" altLang="en-US">
                <a:solidFill>
                  <a:prstClr val="black"/>
                </a:solidFill>
                <a:latin typeface="Arial"/>
              </a:rPr>
              <a:t> </a:t>
            </a:r>
            <a:endParaRPr kumimoji="0" lang="de-DE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Textplatzhalter 11">
            <a:extLst>
              <a:ext uri="{FF2B5EF4-FFF2-40B4-BE49-F238E27FC236}">
                <a16:creationId xmlns:a16="http://schemas.microsoft.com/office/drawing/2014/main" id="{9F552949-0613-6004-E273-46380D7FFDFB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8434263" y="1914400"/>
            <a:ext cx="2340000" cy="540000"/>
          </a:xfrm>
        </p:spPr>
        <p:txBody>
          <a:bodyPr/>
          <a:lstStyle/>
          <a:p>
            <a:r>
              <a:rPr lang="de-DE"/>
              <a:t>Beratungsansatz &amp; Technologie</a:t>
            </a:r>
          </a:p>
        </p:txBody>
      </p:sp>
      <p:sp>
        <p:nvSpPr>
          <p:cNvPr id="130" name="Textplatzhalter 13">
            <a:extLst>
              <a:ext uri="{FF2B5EF4-FFF2-40B4-BE49-F238E27FC236}">
                <a16:creationId xmlns:a16="http://schemas.microsoft.com/office/drawing/2014/main" id="{0B89FDAF-330C-E112-A8A7-010A6F848172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 rot="16200000">
            <a:off x="6269229" y="3138291"/>
            <a:ext cx="2522908" cy="99510"/>
          </a:xfrm>
        </p:spPr>
        <p:txBody>
          <a:bodyPr/>
          <a:lstStyle/>
          <a:p>
            <a:endParaRPr lang="de-DE"/>
          </a:p>
        </p:txBody>
      </p:sp>
      <p:sp>
        <p:nvSpPr>
          <p:cNvPr id="131" name="Textplatzhalter 14">
            <a:extLst>
              <a:ext uri="{FF2B5EF4-FFF2-40B4-BE49-F238E27FC236}">
                <a16:creationId xmlns:a16="http://schemas.microsoft.com/office/drawing/2014/main" id="{8E0C1575-14C6-1E61-073A-38B7C63F817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146936" y="1926596"/>
            <a:ext cx="3160360" cy="2522904"/>
          </a:xfrm>
        </p:spPr>
        <p:txBody>
          <a:bodyPr/>
          <a:lstStyle/>
          <a:p>
            <a:pPr marL="0" lvl="1" indent="0">
              <a:lnSpc>
                <a:spcPct val="100000"/>
              </a:lnSpc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</a:p>
        </p:txBody>
      </p:sp>
      <p:sp>
        <p:nvSpPr>
          <p:cNvPr id="132" name="Textplatzhalter 15">
            <a:extLst>
              <a:ext uri="{FF2B5EF4-FFF2-40B4-BE49-F238E27FC236}">
                <a16:creationId xmlns:a16="http://schemas.microsoft.com/office/drawing/2014/main" id="{6486CD72-3A46-5349-3814-B1BA6A91AD34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5140530" y="1901700"/>
            <a:ext cx="2340000" cy="540000"/>
          </a:xfrm>
        </p:spPr>
        <p:txBody>
          <a:bodyPr/>
          <a:lstStyle/>
          <a:p>
            <a:r>
              <a:rPr lang="de-DE"/>
              <a:t>Herausforderung</a:t>
            </a:r>
          </a:p>
        </p:txBody>
      </p:sp>
      <p:sp>
        <p:nvSpPr>
          <p:cNvPr id="133" name="Textplatzhalter 17">
            <a:extLst>
              <a:ext uri="{FF2B5EF4-FFF2-40B4-BE49-F238E27FC236}">
                <a16:creationId xmlns:a16="http://schemas.microsoft.com/office/drawing/2014/main" id="{C3AC16D7-662C-3BC6-8119-81ABBF12D76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 rot="16200000">
            <a:off x="2932325" y="3137521"/>
            <a:ext cx="2522904" cy="101051"/>
          </a:xfrm>
        </p:spPr>
        <p:txBody>
          <a:bodyPr/>
          <a:lstStyle/>
          <a:p>
            <a:endParaRPr lang="de-DE"/>
          </a:p>
        </p:txBody>
      </p:sp>
      <p:pic>
        <p:nvPicPr>
          <p:cNvPr id="134" name="Content Placeholder 21">
            <a:extLst>
              <a:ext uri="{FF2B5EF4-FFF2-40B4-BE49-F238E27FC236}">
                <a16:creationId xmlns:a16="http://schemas.microsoft.com/office/drawing/2014/main" id="{20BC539E-D3F1-D646-76C9-98B77D30FDF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54525" y="1901825"/>
            <a:ext cx="539750" cy="539750"/>
          </a:xfrm>
          <a:prstGeom prst="rect">
            <a:avLst/>
          </a:prstGeom>
          <a:noFill/>
        </p:spPr>
      </p:pic>
      <p:pic>
        <p:nvPicPr>
          <p:cNvPr id="135" name="Content Placeholder 19">
            <a:extLst>
              <a:ext uri="{FF2B5EF4-FFF2-40B4-BE49-F238E27FC236}">
                <a16:creationId xmlns:a16="http://schemas.microsoft.com/office/drawing/2014/main" id="{FEAE7F2C-50A5-4088-ACD6-603E142FF711}"/>
              </a:ext>
            </a:extLst>
          </p:cNvPr>
          <p:cNvPicPr>
            <a:picLocks noGrp="1" noChangeAspect="1"/>
          </p:cNvPicPr>
          <p:nvPr>
            <p:ph sz="quarter" idx="48"/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95676" y="1914525"/>
            <a:ext cx="539750" cy="539750"/>
          </a:xfrm>
        </p:spPr>
      </p:pic>
      <p:sp>
        <p:nvSpPr>
          <p:cNvPr id="136" name="Textfeld 135">
            <a:extLst>
              <a:ext uri="{FF2B5EF4-FFF2-40B4-BE49-F238E27FC236}">
                <a16:creationId xmlns:a16="http://schemas.microsoft.com/office/drawing/2014/main" id="{57004873-7E0C-8B0C-9F11-A04D92C8C328}"/>
              </a:ext>
            </a:extLst>
          </p:cNvPr>
          <p:cNvSpPr txBox="1"/>
          <p:nvPr/>
        </p:nvSpPr>
        <p:spPr>
          <a:xfrm>
            <a:off x="4346612" y="2379828"/>
            <a:ext cx="2960684" cy="14234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e Textilindustrie zählt zu den ressourcenintensivsten Branchen weltweit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lang="de-DE" sz="1200">
                <a:solidFill>
                  <a:srgbClr val="100C2A"/>
                </a:solidFill>
                <a:latin typeface="Segoe UI"/>
              </a:rPr>
              <a:t>In vielen Regionen mangelt es an Infrastruktur zur Sammlung, Sortierung und Wiederverwertung von Alttextilien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A1445B48-9A94-F427-CAC6-9EFD4F0D0CBF}"/>
              </a:ext>
            </a:extLst>
          </p:cNvPr>
          <p:cNvSpPr txBox="1"/>
          <p:nvPr/>
        </p:nvSpPr>
        <p:spPr>
          <a:xfrm>
            <a:off x="7691919" y="2397016"/>
            <a:ext cx="3613138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ploratives Innovationsprojekt darüber, wie DPP als </a:t>
            </a:r>
            <a:r>
              <a:rPr kumimoji="0" lang="de-DE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abler</a:t>
            </a:r>
            <a:r>
              <a:rPr kumimoji="0" lang="de-DE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für nachhaltige Geschäftsmodelle im Textilsektor fungieren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twicklung mehrerer Geschäftsmodellkonzepte auf Basis vorangegangener Analysen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endParaRPr kumimoji="0" lang="de-DE" altLang="en-US" sz="12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1" name="Textplatzhalter 6">
            <a:extLst>
              <a:ext uri="{FF2B5EF4-FFF2-40B4-BE49-F238E27FC236}">
                <a16:creationId xmlns:a16="http://schemas.microsoft.com/office/drawing/2014/main" id="{D06FAD69-0BDB-3CAC-5DBA-13451CFEF51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134938" y="4613146"/>
            <a:ext cx="4988368" cy="2018925"/>
          </a:xfrm>
        </p:spPr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12" name="Textplatzhalter 7">
            <a:extLst>
              <a:ext uri="{FF2B5EF4-FFF2-40B4-BE49-F238E27FC236}">
                <a16:creationId xmlns:a16="http://schemas.microsoft.com/office/drawing/2014/main" id="{A0231E6B-8B00-3CF6-05B4-0688AE564DC0}"/>
              </a:ext>
            </a:extLst>
          </p:cNvPr>
          <p:cNvSpPr>
            <a:spLocks noGrp="1"/>
          </p:cNvSpPr>
          <p:nvPr>
            <p:ph type="body" idx="64"/>
          </p:nvPr>
        </p:nvSpPr>
        <p:spPr>
          <a:xfrm>
            <a:off x="5140530" y="4706159"/>
            <a:ext cx="2340000" cy="540000"/>
          </a:xfrm>
        </p:spPr>
        <p:txBody>
          <a:bodyPr/>
          <a:lstStyle/>
          <a:p>
            <a:r>
              <a:rPr lang="de-DE"/>
              <a:t>Kundennutzen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4F13E828-3B1F-1BFD-1483-83B7ED7CD6A3}"/>
              </a:ext>
            </a:extLst>
          </p:cNvPr>
          <p:cNvSpPr txBox="1"/>
          <p:nvPr/>
        </p:nvSpPr>
        <p:spPr>
          <a:xfrm>
            <a:off x="4346611" y="5160917"/>
            <a:ext cx="4776695" cy="13926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parenz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entlang des 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esamten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duktlebenszyklus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lang="de-DE" sz="1200">
                <a:solidFill>
                  <a:srgbClr val="100C2A"/>
                </a:solidFill>
                <a:latin typeface="Segoe UI"/>
              </a:rPr>
              <a:t>Förderung der Kreislaufwirtschaft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lang="de-DE" sz="1200">
                <a:solidFill>
                  <a:srgbClr val="100C2A"/>
                </a:solidFill>
                <a:latin typeface="Segoe UI"/>
              </a:rPr>
              <a:t>Stärkung des Verbrauchervertrauens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eue digitale 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eschäftsmodelle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lang="de-DE" sz="1200">
                <a:solidFill>
                  <a:srgbClr val="100C2A"/>
                </a:solidFill>
                <a:latin typeface="Segoe UI"/>
              </a:rPr>
              <a:t>Strategische Rolle für Unternehmen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ulatorische Vorbereitung</a:t>
            </a:r>
          </a:p>
        </p:txBody>
      </p:sp>
      <p:sp>
        <p:nvSpPr>
          <p:cNvPr id="113" name="Textplatzhalter 9">
            <a:extLst>
              <a:ext uri="{FF2B5EF4-FFF2-40B4-BE49-F238E27FC236}">
                <a16:creationId xmlns:a16="http://schemas.microsoft.com/office/drawing/2014/main" id="{817EE404-DF90-1886-EB30-5A0F166DCF5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 rot="16200000">
            <a:off x="3184313" y="5572208"/>
            <a:ext cx="2018925" cy="101048"/>
          </a:xfrm>
        </p:spPr>
        <p:txBody>
          <a:bodyPr/>
          <a:lstStyle/>
          <a:p>
            <a:endParaRPr lang="de-DE"/>
          </a:p>
        </p:txBody>
      </p:sp>
      <p:pic>
        <p:nvPicPr>
          <p:cNvPr id="114" name="Content Placeholder 17">
            <a:extLst>
              <a:ext uri="{FF2B5EF4-FFF2-40B4-BE49-F238E27FC236}">
                <a16:creationId xmlns:a16="http://schemas.microsoft.com/office/drawing/2014/main" id="{B8F7BA20-0522-98C7-15D9-296F118E6821}"/>
              </a:ext>
            </a:extLst>
          </p:cNvPr>
          <p:cNvPicPr>
            <a:picLocks noGrp="1" noChangeAspect="1"/>
          </p:cNvPicPr>
          <p:nvPr>
            <p:ph sz="quarter" idx="51"/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54525" y="4646462"/>
            <a:ext cx="539750" cy="539750"/>
          </a:xfr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AEE30890-BD8B-E049-8239-414A9ADC35D8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F6E5ACD-524C-D5D4-7932-E8B93B13EB5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pic>
        <p:nvPicPr>
          <p:cNvPr id="12" name="Picture Placeholder 21">
            <a:extLst>
              <a:ext uri="{FF2B5EF4-FFF2-40B4-BE49-F238E27FC236}">
                <a16:creationId xmlns:a16="http://schemas.microsoft.com/office/drawing/2014/main" id="{7365989D-5707-A470-0526-4E79C3CD4CFC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100000"/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25" name="Foliennummernplatzhalter 1">
            <a:extLst>
              <a:ext uri="{FF2B5EF4-FFF2-40B4-BE49-F238E27FC236}">
                <a16:creationId xmlns:a16="http://schemas.microsoft.com/office/drawing/2014/main" id="{FADFDB6F-DC2C-75A0-2617-BEC9B16E37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573BCF-C0F1-4720-B5E7-944FE630E67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F005335-12AD-2A3A-A395-87C8C3DBF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rcRect l="33991" r="33991"/>
          <a:stretch/>
        </p:blipFill>
        <p:spPr bwMode="auto">
          <a:xfrm>
            <a:off x="-364859" y="-638006"/>
            <a:ext cx="4325627" cy="759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hape">
            <a:extLst>
              <a:ext uri="{FF2B5EF4-FFF2-40B4-BE49-F238E27FC236}">
                <a16:creationId xmlns:a16="http://schemas.microsoft.com/office/drawing/2014/main" id="{8E54C9DB-ECF3-64AA-45AF-8172BBDF8092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27" name="Picture Placeholder 21">
            <a:extLst>
              <a:ext uri="{FF2B5EF4-FFF2-40B4-BE49-F238E27FC236}">
                <a16:creationId xmlns:a16="http://schemas.microsoft.com/office/drawing/2014/main" id="{D8AA369D-7DEA-7A44-5839-149DC4FB8975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100000"/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56" r="56"/>
          <a:stretch/>
        </p:blipFill>
        <p:spPr>
          <a:xfrm>
            <a:off x="385004" y="6477149"/>
            <a:ext cx="1400055" cy="539634"/>
          </a:xfrm>
          <a:prstGeom prst="rect">
            <a:avLst/>
          </a:prstGeom>
        </p:spPr>
      </p:pic>
      <p:sp>
        <p:nvSpPr>
          <p:cNvPr id="28" name="Titel 18">
            <a:extLst>
              <a:ext uri="{FF2B5EF4-FFF2-40B4-BE49-F238E27FC236}">
                <a16:creationId xmlns:a16="http://schemas.microsoft.com/office/drawing/2014/main" id="{06B01D4A-D36C-D7D8-3329-C7BF1FAB54B7}"/>
              </a:ext>
            </a:extLst>
          </p:cNvPr>
          <p:cNvSpPr txBox="1">
            <a:spLocks/>
          </p:cNvSpPr>
          <p:nvPr/>
        </p:nvSpPr>
        <p:spPr>
          <a:xfrm>
            <a:off x="2551659" y="6525891"/>
            <a:ext cx="1805216" cy="4399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tabLst>
                <a:tab pos="10760075" algn="r"/>
              </a:tabLst>
              <a:defRPr sz="2400" b="0" kern="1200" spc="0" baseline="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de-DE" sz="800">
                <a:solidFill>
                  <a:schemeClr val="bg1"/>
                </a:solidFill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ancois Le Nguyen, </a:t>
            </a:r>
            <a:r>
              <a:rPr lang="de-DE" sz="800" err="1">
                <a:solidFill>
                  <a:schemeClr val="bg1"/>
                </a:solidFill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lang="de-DE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618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D7E54E-B932-042C-9EDC-CA035D6DE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83A50589-50FB-42A0-1D1B-477597E2055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73B28A-D8E0-B0E7-9C25-C1DAE8A802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40DA38-4FCE-7148-A83C-D7BBB7580802}" type="slidenum">
              <a:rPr kumimoji="0" lang="de-DE" altLang="x-none" sz="800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x-none" sz="800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338D21-D9D4-E225-6958-1587AC98A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0976810" cy="648000"/>
          </a:xfrm>
        </p:spPr>
        <p:txBody>
          <a:bodyPr>
            <a:noAutofit/>
          </a:bodyPr>
          <a:lstStyle/>
          <a:p>
            <a:r>
              <a:rPr lang="de-DE"/>
              <a:t>Twin Transformation: </a:t>
            </a:r>
            <a:br>
              <a:rPr lang="de-DE"/>
            </a:br>
            <a:r>
              <a:rPr lang="de-DE"/>
              <a:t>„Das wertschöpfende Zusammenspiel zwischen digitaler und nachhaltiger Transformation in Unternehmen und deren Ökosystemen“.</a:t>
            </a:r>
            <a:endParaRPr lang="de-DE" sz="240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FC7B2DF8-D62F-B02E-545E-A8652F058D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Über uns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967BFDD1-DA0C-CB9E-BF9D-6A1087AA13C0}"/>
              </a:ext>
            </a:extLst>
          </p:cNvPr>
          <p:cNvSpPr txBox="1">
            <a:spLocks/>
          </p:cNvSpPr>
          <p:nvPr/>
        </p:nvSpPr>
        <p:spPr>
          <a:xfrm>
            <a:off x="5145423" y="6733087"/>
            <a:ext cx="6207714" cy="270358"/>
          </a:xfrm>
          <a:prstGeom prst="rect">
            <a:avLst/>
          </a:prstGeom>
          <a:ln>
            <a:noFill/>
          </a:ln>
        </p:spPr>
        <p:txBody>
          <a:bodyPr lIns="0" tIns="0" rIns="0" bIns="0" numCol="1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x-non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Arial" charset="0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711F7C6-24A5-43A6-B5EB-C62A67D3F665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5D19CFC-6C5C-0F88-DC95-85485148C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7" name="shape">
            <a:extLst>
              <a:ext uri="{FF2B5EF4-FFF2-40B4-BE49-F238E27FC236}">
                <a16:creationId xmlns:a16="http://schemas.microsoft.com/office/drawing/2014/main" id="{FEE85998-C144-A9F2-568E-1F3E927A36FE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8" name="Picture Placeholder 21">
            <a:extLst>
              <a:ext uri="{FF2B5EF4-FFF2-40B4-BE49-F238E27FC236}">
                <a16:creationId xmlns:a16="http://schemas.microsoft.com/office/drawing/2014/main" id="{33C13E96-988E-BEA6-7232-233FCB3F9648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10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4AF6B57-9449-DB6A-AE07-0A98755DB2F1}"/>
              </a:ext>
            </a:extLst>
          </p:cNvPr>
          <p:cNvGrpSpPr>
            <a:grpSpLocks noChangeAspect="1"/>
          </p:cNvGrpSpPr>
          <p:nvPr/>
        </p:nvGrpSpPr>
        <p:grpSpPr>
          <a:xfrm>
            <a:off x="2838680" y="2816299"/>
            <a:ext cx="2525255" cy="2357184"/>
            <a:chOff x="2999953" y="2515196"/>
            <a:chExt cx="1895896" cy="1769713"/>
          </a:xfrm>
        </p:grpSpPr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B65ED74F-489D-E164-AF02-9561CC2DBAC1}"/>
                </a:ext>
              </a:extLst>
            </p:cNvPr>
            <p:cNvSpPr/>
            <p:nvPr/>
          </p:nvSpPr>
          <p:spPr>
            <a:xfrm>
              <a:off x="3244337" y="2640688"/>
              <a:ext cx="1404136" cy="1404137"/>
            </a:xfrm>
            <a:prstGeom prst="ellipse">
              <a:avLst/>
            </a:prstGeom>
            <a:solidFill>
              <a:srgbClr val="FF62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ssina Sans"/>
                <a:ea typeface="+mn-ea"/>
                <a:cs typeface="+mn-cs"/>
              </a:endParaRPr>
            </a:p>
          </p:txBody>
        </p:sp>
        <p:sp>
          <p:nvSpPr>
            <p:cNvPr id="64" name="Block Arc 9">
              <a:extLst>
                <a:ext uri="{FF2B5EF4-FFF2-40B4-BE49-F238E27FC236}">
                  <a16:creationId xmlns:a16="http://schemas.microsoft.com/office/drawing/2014/main" id="{07E4FC31-810B-9B3F-7836-449C41BB0386}"/>
                </a:ext>
              </a:extLst>
            </p:cNvPr>
            <p:cNvSpPr/>
            <p:nvPr/>
          </p:nvSpPr>
          <p:spPr>
            <a:xfrm rot="10800000">
              <a:off x="2999953" y="2515196"/>
              <a:ext cx="1895896" cy="1769713"/>
            </a:xfrm>
            <a:prstGeom prst="blockArc">
              <a:avLst>
                <a:gd name="adj1" fmla="val 11362424"/>
                <a:gd name="adj2" fmla="val 20982325"/>
                <a:gd name="adj3" fmla="val 14394"/>
              </a:avLst>
            </a:prstGeom>
            <a:solidFill>
              <a:srgbClr val="E6ED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2E3192"/>
                </a:solidFill>
                <a:effectLst/>
                <a:uLnTx/>
                <a:uFillTx/>
                <a:latin typeface="Messina Sans"/>
                <a:ea typeface="+mn-ea"/>
                <a:cs typeface="+mn-cs"/>
              </a:endParaRPr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5ED7D1A1-1C34-0C53-54E1-BE873AE7BF94}"/>
              </a:ext>
            </a:extLst>
          </p:cNvPr>
          <p:cNvSpPr/>
          <p:nvPr/>
        </p:nvSpPr>
        <p:spPr>
          <a:xfrm>
            <a:off x="2241334" y="5056450"/>
            <a:ext cx="3715958" cy="115249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fontAlgn="base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tabLst>
                <a:tab pos="182558" algn="l"/>
              </a:tabLst>
              <a:defRPr/>
            </a:pPr>
            <a:r>
              <a:rPr lang="de-DE" sz="2400">
                <a:solidFill>
                  <a:srgbClr val="100C2A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Marco Fuhr</a:t>
            </a:r>
          </a:p>
          <a:p>
            <a:pPr algn="ctr" fontAlgn="base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tabLst>
                <a:tab pos="182558" algn="l"/>
              </a:tabLst>
              <a:defRPr/>
            </a:pPr>
            <a:r>
              <a:rPr lang="de-DE" sz="1400">
                <a:solidFill>
                  <a:srgbClr val="100C2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ing Consultant &amp; Co-Lead Sustainability Practice</a:t>
            </a:r>
          </a:p>
          <a:p>
            <a:pPr algn="ctr" fontAlgn="base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tabLst>
                <a:tab pos="182558" algn="l"/>
              </a:tabLst>
              <a:defRPr/>
            </a:pPr>
            <a:r>
              <a:rPr lang="de-DE" sz="1400">
                <a:solidFill>
                  <a:srgbClr val="100C2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lantic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56D1E0D-00B3-6267-5E88-BC0292AC2F0E}"/>
              </a:ext>
            </a:extLst>
          </p:cNvPr>
          <p:cNvSpPr/>
          <p:nvPr/>
        </p:nvSpPr>
        <p:spPr>
          <a:xfrm>
            <a:off x="6272540" y="5056450"/>
            <a:ext cx="3715958" cy="921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fontAlgn="base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tabLst>
                <a:tab pos="182558" algn="l"/>
              </a:tabLst>
              <a:defRPr/>
            </a:pPr>
            <a:r>
              <a:rPr lang="de-DE" sz="2400">
                <a:solidFill>
                  <a:srgbClr val="100C2A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Katrin Häuser</a:t>
            </a:r>
          </a:p>
          <a:p>
            <a:pPr algn="ctr" fontAlgn="base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tabLst>
                <a:tab pos="182558" algn="l"/>
              </a:tabLst>
              <a:defRPr/>
            </a:pPr>
            <a:r>
              <a:rPr lang="de-DE" sz="1400">
                <a:solidFill>
                  <a:srgbClr val="100C2A"/>
                </a:solidFill>
                <a:latin typeface="Segoe UI"/>
                <a:cs typeface="Segoe UI"/>
              </a:rPr>
              <a:t>Manager</a:t>
            </a:r>
            <a:endParaRPr lang="de-DE" sz="1400">
              <a:solidFill>
                <a:srgbClr val="100C2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base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tabLst>
                <a:tab pos="182558" algn="l"/>
              </a:tabLst>
              <a:defRPr/>
            </a:pPr>
            <a:r>
              <a:rPr lang="de-DE" sz="1400">
                <a:solidFill>
                  <a:srgbClr val="100C2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hiyond by adelphi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1666AE-E37C-CD5A-46B2-3BCBFDB47EB4}"/>
              </a:ext>
            </a:extLst>
          </p:cNvPr>
          <p:cNvSpPr txBox="1"/>
          <p:nvPr/>
        </p:nvSpPr>
        <p:spPr>
          <a:xfrm>
            <a:off x="550862" y="162252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ts val="1800"/>
              </a:lnSpc>
            </a:pPr>
            <a:r>
              <a:rPr lang="de-DE" sz="700">
                <a:solidFill>
                  <a:schemeClr val="bg1">
                    <a:lumMod val="75000"/>
                  </a:schemeClr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Quelle: Hofmann et al., 2023, Christmann et al., 2024</a:t>
            </a:r>
            <a:endParaRPr lang="de-DE" sz="50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EF7B1FC-5A9A-89D4-13F2-EAF37F07CA0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500" b="98000" l="1000" r="90000">
                        <a14:foregroundMark x1="52250" y1="6500" x2="52250" y2="6500"/>
                        <a14:foregroundMark x1="48000" y1="87250" x2="48000" y2="87250"/>
                        <a14:foregroundMark x1="38000" y1="78750" x2="49000" y2="93000"/>
                        <a14:foregroundMark x1="32750" y1="94500" x2="44250" y2="92250"/>
                        <a14:foregroundMark x1="14500" y1="94750" x2="34000" y2="77750"/>
                        <a14:foregroundMark x1="60575" y1="64500" x2="60750" y2="64750"/>
                        <a14:foregroundMark x1="60400" y1="64250" x2="60575" y2="64500"/>
                        <a14:foregroundMark x1="60050" y1="63750" x2="60400" y2="64250"/>
                        <a14:foregroundMark x1="59350" y1="62750" x2="59690" y2="63236"/>
                        <a14:foregroundMark x1="59175" y1="62500" x2="59350" y2="62750"/>
                        <a14:foregroundMark x1="50250" y1="49750" x2="59175" y2="62500"/>
                        <a14:foregroundMark x1="1000" y1="98000" x2="24750" y2="97250"/>
                        <a14:foregroundMark x1="4750" y1="94000" x2="31000" y2="80250"/>
                        <a14:foregroundMark x1="27250" y1="79750" x2="40250" y2="71500"/>
                        <a14:foregroundMark x1="28500" y1="75750" x2="32250" y2="74000"/>
                        <a14:foregroundMark x1="23250" y1="79000" x2="35250" y2="71250"/>
                        <a14:foregroundMark x1="48750" y1="89750" x2="57250" y2="94000"/>
                        <a14:foregroundMark x1="60250" y1="92500" x2="68500" y2="95250"/>
                        <a14:foregroundMark x1="60250" y1="81000" x2="70750" y2="91500"/>
                        <a14:foregroundMark x1="68500" y1="88500" x2="80750" y2="93500"/>
                        <a14:foregroundMark x1="73250" y1="85750" x2="86750" y2="92500"/>
                        <a14:foregroundMark x1="60500" y1="76250" x2="60500" y2="76250"/>
                        <a14:foregroundMark x1="60250" y1="75250" x2="60250" y2="75250"/>
                        <a14:foregroundMark x1="59750" y1="73000" x2="59750" y2="73000"/>
                        <a14:foregroundMark x1="61000" y1="75250" x2="61000" y2="75250"/>
                        <a14:foregroundMark x1="59750" y1="73250" x2="59750" y2="73250"/>
                        <a14:foregroundMark x1="61500" y1="74250" x2="61500" y2="74250"/>
                        <a14:foregroundMark x1="49750" y1="43750" x2="44250" y2="56500"/>
                        <a14:backgroundMark x1="61000" y1="64500" x2="61000" y2="64500"/>
                        <a14:backgroundMark x1="60750" y1="65250" x2="60750" y2="65250"/>
                        <a14:backgroundMark x1="60500" y1="64500" x2="60500" y2="64500"/>
                        <a14:backgroundMark x1="60500" y1="64250" x2="60500" y2="64250"/>
                        <a14:backgroundMark x1="60250" y1="63750" x2="60250" y2="63750"/>
                        <a14:backgroundMark x1="60500" y1="64500" x2="60500" y2="64500"/>
                        <a14:backgroundMark x1="60000" y1="63750" x2="60000" y2="63750"/>
                        <a14:backgroundMark x1="60250" y1="62750" x2="60250" y2="62750"/>
                        <a14:backgroundMark x1="60750" y1="64250" x2="60750" y2="64250"/>
                        <a14:backgroundMark x1="60000" y1="64750" x2="60000" y2="63500"/>
                        <a14:backgroundMark x1="60500" y1="64000" x2="60500" y2="62250"/>
                        <a14:backgroundMark x1="60000" y1="62750" x2="60750" y2="62750"/>
                        <a14:backgroundMark x1="60500" y1="62500" x2="60500" y2="62500"/>
                        <a14:backgroundMark x1="59750" y1="63250" x2="59750" y2="63250"/>
                      </a14:backgroundRemoval>
                    </a14:imgEffect>
                  </a14:imgLayer>
                </a14:imgProps>
              </a:ext>
            </a:extLst>
          </a:blip>
          <a:srcRect l="3987" t="1623" r="9322" b="-454"/>
          <a:stretch>
            <a:fillRect/>
          </a:stretch>
        </p:blipFill>
        <p:spPr>
          <a:xfrm>
            <a:off x="3090333" y="2562739"/>
            <a:ext cx="2015065" cy="2297313"/>
          </a:xfrm>
          <a:prstGeom prst="flowChartConnector">
            <a:avLst/>
          </a:prstGeom>
        </p:spPr>
      </p:pic>
      <p:sp>
        <p:nvSpPr>
          <p:cNvPr id="18" name="Ellipse 17">
            <a:extLst>
              <a:ext uri="{FF2B5EF4-FFF2-40B4-BE49-F238E27FC236}">
                <a16:creationId xmlns:a16="http://schemas.microsoft.com/office/drawing/2014/main" id="{62A6CCB0-F4DD-23CD-B2DC-E6FCCDDD3C0D}"/>
              </a:ext>
            </a:extLst>
          </p:cNvPr>
          <p:cNvSpPr>
            <a:spLocks noChangeAspect="1"/>
          </p:cNvSpPr>
          <p:nvPr/>
        </p:nvSpPr>
        <p:spPr>
          <a:xfrm>
            <a:off x="7295280" y="2952845"/>
            <a:ext cx="1908000" cy="1908000"/>
          </a:xfrm>
          <a:prstGeom prst="ellipse">
            <a:avLst/>
          </a:prstGeom>
          <a:solidFill>
            <a:srgbClr val="014C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9702415-0018-F96C-E590-4D2231ED1DA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96" b="98984" l="2009" r="98353">
                        <a14:foregroundMark x1="48860" y1="11896" x2="74137" y2="23115"/>
                        <a14:foregroundMark x1="74137" y1="23115" x2="77138" y2="39300"/>
                        <a14:foregroundMark x1="59467" y1="11016" x2="59016" y2="18962"/>
                        <a14:foregroundMark x1="55924" y1="5260" x2="31347" y2="14808"/>
                        <a14:foregroundMark x1="31347" y1="14808" x2="28526" y2="19842"/>
                        <a14:foregroundMark x1="50621" y1="2596" x2="35161" y2="9684"/>
                        <a14:foregroundMark x1="25863" y1="51242" x2="22771" y2="74492"/>
                        <a14:foregroundMark x1="22771" y1="74492" x2="41435" y2="91467"/>
                        <a14:foregroundMark x1="41435" y1="91467" x2="18009" y2="94650"/>
                        <a14:foregroundMark x1="18009" y1="94650" x2="30467" y2="65734"/>
                        <a14:foregroundMark x1="30467" y1="65734" x2="49650" y2="81648"/>
                        <a14:foregroundMark x1="49650" y1="81648" x2="70345" y2="72460"/>
                        <a14:foregroundMark x1="70345" y1="72460" x2="74949" y2="45056"/>
                        <a14:foregroundMark x1="77590" y1="64944" x2="79801" y2="98555"/>
                        <a14:foregroundMark x1="79801" y1="98555" x2="79801" y2="98555"/>
                        <a14:foregroundMark x1="48409" y1="90587" x2="47100" y2="98104"/>
                        <a14:foregroundMark x1="6861" y1="89255" x2="3769" y2="97652"/>
                        <a14:foregroundMark x1="92169" y1="86614" x2="95283" y2="94131"/>
                        <a14:foregroundMark x1="98375" y1="93679" x2="93500" y2="98104"/>
                        <a14:foregroundMark x1="2009" y1="93679" x2="2009" y2="98984"/>
                        <a14:foregroundMark x1="37802" y1="38849" x2="41345" y2="40632"/>
                      </a14:backgroundRemoval>
                    </a14:imgEffect>
                    <a14:imgEffect>
                      <a14:brightnessContrast bright="15000"/>
                    </a14:imgEffect>
                  </a14:imgLayer>
                </a14:imgProps>
              </a:ext>
            </a:extLst>
          </a:blip>
          <a:srcRect l="5675" t="-4273" r="5767" b="1366"/>
          <a:stretch/>
        </p:blipFill>
        <p:spPr>
          <a:xfrm>
            <a:off x="7238610" y="2536417"/>
            <a:ext cx="2014154" cy="234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2688885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E0BBA-3CB6-AD15-97FD-5406CE19D0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140423-288F-155A-0650-E7152E30365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516BABFC-6EDF-46CB-8994-2DF9E93F1EA0}"/>
              </a:ext>
            </a:extLst>
          </p:cNvPr>
          <p:cNvGrpSpPr/>
          <p:nvPr/>
        </p:nvGrpSpPr>
        <p:grpSpPr>
          <a:xfrm>
            <a:off x="6381947" y="4706159"/>
            <a:ext cx="4971192" cy="1821262"/>
            <a:chOff x="8252672" y="4653604"/>
            <a:chExt cx="3844917" cy="1821262"/>
          </a:xfrm>
        </p:grpSpPr>
        <p:sp>
          <p:nvSpPr>
            <p:cNvPr id="44" name="Rechteck: abgerundete Ecken 43">
              <a:extLst>
                <a:ext uri="{FF2B5EF4-FFF2-40B4-BE49-F238E27FC236}">
                  <a16:creationId xmlns:a16="http://schemas.microsoft.com/office/drawing/2014/main" id="{93C581B2-18AC-DCC1-4E78-FCE51771594D}"/>
                </a:ext>
              </a:extLst>
            </p:cNvPr>
            <p:cNvSpPr/>
            <p:nvPr/>
          </p:nvSpPr>
          <p:spPr>
            <a:xfrm>
              <a:off x="8252672" y="4653604"/>
              <a:ext cx="3844917" cy="1821262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EF4251"/>
                </a:gs>
                <a:gs pos="100000">
                  <a:srgbClr val="F4704D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360000" tIns="432000" rIns="72000" b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AFA8B2C7-25CD-1083-6010-CF41DB4494EA}"/>
                </a:ext>
              </a:extLst>
            </p:cNvPr>
            <p:cNvSpPr txBox="1"/>
            <p:nvPr/>
          </p:nvSpPr>
          <p:spPr>
            <a:xfrm>
              <a:off x="9678985" y="4735827"/>
              <a:ext cx="2370523" cy="167361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„Unser Kerngeschäft ist es, nachhaltig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mobile Arbeitsprozesse zu ermöglichen –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ber Digitalisierung und Nachhaltigkeit finden heute noch zu sehr in Silos statt. </a:t>
              </a:r>
              <a:b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Unser Ziel: </a:t>
              </a: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ein gemeinsames Datenmodell als Grundlage für Echtzeitprozesse, KI und Nachhaltigkeitswirkung.“ </a:t>
              </a:r>
              <a:br>
                <a:rPr lang="de-DE" sz="1100">
                  <a:solidFill>
                    <a:srgbClr val="FFFFFF"/>
                  </a:solidFill>
                  <a:latin typeface="Segoe UI Semibold"/>
                </a:rPr>
              </a:b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Florian Huber, CTO STW</a:t>
              </a:r>
            </a:p>
          </p:txBody>
        </p:sp>
      </p:grpSp>
      <p:sp>
        <p:nvSpPr>
          <p:cNvPr id="19" name="Titel 18">
            <a:extLst>
              <a:ext uri="{FF2B5EF4-FFF2-40B4-BE49-F238E27FC236}">
                <a16:creationId xmlns:a16="http://schemas.microsoft.com/office/drawing/2014/main" id="{1F893C7A-A3F6-5393-2524-E42E8B259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6936" y="622301"/>
            <a:ext cx="7412755" cy="648000"/>
          </a:xfrm>
        </p:spPr>
        <p:txBody>
          <a:bodyPr/>
          <a:lstStyle/>
          <a:p>
            <a:r>
              <a:rPr lang="de-DE"/>
              <a:t>Twin Transformation bei STW – Sensor-Technik Wiedeman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759C164-22B4-A4B1-AD0E-0AD8882419BE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4148200" y="396000"/>
            <a:ext cx="7164000" cy="144000"/>
          </a:xfrm>
        </p:spPr>
        <p:txBody>
          <a:bodyPr/>
          <a:lstStyle/>
          <a:p>
            <a:r>
              <a:rPr lang="de-DE"/>
              <a:t>PRAXISBEISPIEL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382A9C5D-E906-D547-4309-E0482D4677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Government / Public Services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9440BB1-B943-7639-7770-4F656A30691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/>
        <p:txBody>
          <a:bodyPr/>
          <a:lstStyle/>
          <a:p>
            <a:r>
              <a:rPr lang="de-DE"/>
              <a:t> </a:t>
            </a:r>
          </a:p>
        </p:txBody>
      </p:sp>
      <p:pic>
        <p:nvPicPr>
          <p:cNvPr id="26" name="valantic logo">
            <a:extLst>
              <a:ext uri="{FF2B5EF4-FFF2-40B4-BE49-F238E27FC236}">
                <a16:creationId xmlns:a16="http://schemas.microsoft.com/office/drawing/2014/main" id="{F4C5A551-1D40-0483-5F87-037019279AE1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6" r="56"/>
          <a:stretch>
            <a:fillRect/>
          </a:stretch>
        </p:blipFill>
        <p:spPr>
          <a:xfrm>
            <a:off x="415925" y="6218238"/>
            <a:ext cx="1168400" cy="450850"/>
          </a:xfrm>
          <a:prstGeom prst="rect">
            <a:avLst/>
          </a:prstGeom>
        </p:spPr>
      </p:pic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AE7B84DA-55F3-FC50-34AD-EBA5CE7C3A36}"/>
              </a:ext>
            </a:extLst>
          </p:cNvPr>
          <p:cNvSpPr txBox="1">
            <a:spLocks/>
          </p:cNvSpPr>
          <p:nvPr/>
        </p:nvSpPr>
        <p:spPr>
          <a:xfrm>
            <a:off x="550862" y="1507551"/>
            <a:ext cx="2880000" cy="3600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200" b="0" kern="1200" cap="all" spc="100" baseline="0" noProof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800" b="1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600" b="1" kern="1200" cap="none" spc="10" baseline="0" noProof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600" b="1" kern="1200" spc="4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en-US" sz="1600" b="1" kern="1200" cap="none" spc="40" baseline="0" noProof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2743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600" b="1" i="0" kern="1200" cap="all" spc="100" baseline="0" noProof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200" b="0" i="0" u="none" strike="noStrike" kern="1200" cap="all" spc="10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etail</a:t>
            </a:r>
          </a:p>
        </p:txBody>
      </p:sp>
      <p:sp>
        <p:nvSpPr>
          <p:cNvPr id="36" name="Bildplatzhalter 21">
            <a:extLst>
              <a:ext uri="{FF2B5EF4-FFF2-40B4-BE49-F238E27FC236}">
                <a16:creationId xmlns:a16="http://schemas.microsoft.com/office/drawing/2014/main" id="{6EA6B13E-7DA2-60C7-402C-506017E1759E}"/>
              </a:ext>
            </a:extLst>
          </p:cNvPr>
          <p:cNvSpPr txBox="1">
            <a:spLocks/>
          </p:cNvSpPr>
          <p:nvPr/>
        </p:nvSpPr>
        <p:spPr>
          <a:xfrm>
            <a:off x="549237" y="4419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4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4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400" b="0" kern="1200" cap="none" spc="10" baseline="0" noProof="0" dirty="0" smtClean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400" b="0" kern="1200" cap="none" spc="40" baseline="0" noProof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nl-NL" sz="14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nl-NL" sz="1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400" i="0" kern="1200" cap="all" spc="100" baseline="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37" name="valantic logo">
            <a:extLst>
              <a:ext uri="{FF2B5EF4-FFF2-40B4-BE49-F238E27FC236}">
                <a16:creationId xmlns:a16="http://schemas.microsoft.com/office/drawing/2014/main" id="{27601DF7-77AF-D676-5669-D24396D9CE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6" r="56"/>
          <a:stretch>
            <a:fillRect/>
          </a:stretch>
        </p:blipFill>
        <p:spPr>
          <a:xfrm>
            <a:off x="415925" y="6218238"/>
            <a:ext cx="1168400" cy="450850"/>
          </a:xfrm>
          <a:prstGeom prst="rect">
            <a:avLst/>
          </a:prstGeom>
          <a:noFill/>
        </p:spPr>
      </p:pic>
      <p:sp>
        <p:nvSpPr>
          <p:cNvPr id="128" name="Textplatzhalter 10">
            <a:extLst>
              <a:ext uri="{FF2B5EF4-FFF2-40B4-BE49-F238E27FC236}">
                <a16:creationId xmlns:a16="http://schemas.microsoft.com/office/drawing/2014/main" id="{371DD4DF-4935-3D74-56E3-C645A4CF424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478840" y="1926595"/>
            <a:ext cx="3826216" cy="2522908"/>
          </a:xfrm>
        </p:spPr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lang="de-DE" altLang="en-US">
                <a:solidFill>
                  <a:prstClr val="black"/>
                </a:solidFill>
                <a:latin typeface="Arial"/>
              </a:rPr>
              <a:t> </a:t>
            </a:r>
            <a:endParaRPr kumimoji="0" lang="de-DE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Textplatzhalter 11">
            <a:extLst>
              <a:ext uri="{FF2B5EF4-FFF2-40B4-BE49-F238E27FC236}">
                <a16:creationId xmlns:a16="http://schemas.microsoft.com/office/drawing/2014/main" id="{E2A70004-01DA-8E2A-83BF-956C598B06AA}"/>
              </a:ext>
            </a:extLst>
          </p:cNvPr>
          <p:cNvSpPr>
            <a:spLocks noGrp="1"/>
          </p:cNvSpPr>
          <p:nvPr>
            <p:ph type="body" idx="65"/>
          </p:nvPr>
        </p:nvSpPr>
        <p:spPr>
          <a:xfrm>
            <a:off x="8434263" y="1914400"/>
            <a:ext cx="2340000" cy="540000"/>
          </a:xfrm>
        </p:spPr>
        <p:txBody>
          <a:bodyPr/>
          <a:lstStyle/>
          <a:p>
            <a:r>
              <a:rPr lang="de-DE"/>
              <a:t>Beratungsansatz &amp; Technologie</a:t>
            </a:r>
          </a:p>
        </p:txBody>
      </p:sp>
      <p:sp>
        <p:nvSpPr>
          <p:cNvPr id="130" name="Textplatzhalter 13">
            <a:extLst>
              <a:ext uri="{FF2B5EF4-FFF2-40B4-BE49-F238E27FC236}">
                <a16:creationId xmlns:a16="http://schemas.microsoft.com/office/drawing/2014/main" id="{A68E088B-3CF1-30E5-0B36-2EE36214517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 rot="16200000">
            <a:off x="6269229" y="3138291"/>
            <a:ext cx="2522908" cy="99510"/>
          </a:xfrm>
        </p:spPr>
        <p:txBody>
          <a:bodyPr/>
          <a:lstStyle/>
          <a:p>
            <a:endParaRPr lang="de-DE"/>
          </a:p>
        </p:txBody>
      </p:sp>
      <p:sp>
        <p:nvSpPr>
          <p:cNvPr id="131" name="Textplatzhalter 14">
            <a:extLst>
              <a:ext uri="{FF2B5EF4-FFF2-40B4-BE49-F238E27FC236}">
                <a16:creationId xmlns:a16="http://schemas.microsoft.com/office/drawing/2014/main" id="{DCD2AC49-71B1-7736-07CA-79B7595EE3D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146936" y="1926596"/>
            <a:ext cx="3160360" cy="2522904"/>
          </a:xfrm>
        </p:spPr>
        <p:txBody>
          <a:bodyPr/>
          <a:lstStyle/>
          <a:p>
            <a:pPr marL="0" lvl="1" indent="0">
              <a:lnSpc>
                <a:spcPct val="100000"/>
              </a:lnSpc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</a:p>
        </p:txBody>
      </p:sp>
      <p:sp>
        <p:nvSpPr>
          <p:cNvPr id="132" name="Textplatzhalter 15">
            <a:extLst>
              <a:ext uri="{FF2B5EF4-FFF2-40B4-BE49-F238E27FC236}">
                <a16:creationId xmlns:a16="http://schemas.microsoft.com/office/drawing/2014/main" id="{59EFC0C2-0170-7FD5-279A-805F0E5790E5}"/>
              </a:ext>
            </a:extLst>
          </p:cNvPr>
          <p:cNvSpPr>
            <a:spLocks noGrp="1"/>
          </p:cNvSpPr>
          <p:nvPr>
            <p:ph type="body" idx="63"/>
          </p:nvPr>
        </p:nvSpPr>
        <p:spPr>
          <a:xfrm>
            <a:off x="5140530" y="1901700"/>
            <a:ext cx="2340000" cy="540000"/>
          </a:xfrm>
        </p:spPr>
        <p:txBody>
          <a:bodyPr/>
          <a:lstStyle/>
          <a:p>
            <a:r>
              <a:rPr lang="de-DE"/>
              <a:t>Herausforderung</a:t>
            </a:r>
          </a:p>
        </p:txBody>
      </p:sp>
      <p:sp>
        <p:nvSpPr>
          <p:cNvPr id="133" name="Textplatzhalter 17">
            <a:extLst>
              <a:ext uri="{FF2B5EF4-FFF2-40B4-BE49-F238E27FC236}">
                <a16:creationId xmlns:a16="http://schemas.microsoft.com/office/drawing/2014/main" id="{3D984DE7-2529-DA32-C1FC-1460CDAD3D2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 rot="16200000">
            <a:off x="2932325" y="3137521"/>
            <a:ext cx="2522904" cy="101051"/>
          </a:xfrm>
        </p:spPr>
        <p:txBody>
          <a:bodyPr/>
          <a:lstStyle/>
          <a:p>
            <a:endParaRPr lang="de-DE"/>
          </a:p>
        </p:txBody>
      </p:sp>
      <p:pic>
        <p:nvPicPr>
          <p:cNvPr id="134" name="Content Placeholder 21">
            <a:extLst>
              <a:ext uri="{FF2B5EF4-FFF2-40B4-BE49-F238E27FC236}">
                <a16:creationId xmlns:a16="http://schemas.microsoft.com/office/drawing/2014/main" id="{0211C953-6F6E-BA5C-F000-42621AAED6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54525" y="1901825"/>
            <a:ext cx="539750" cy="539750"/>
          </a:xfrm>
          <a:prstGeom prst="rect">
            <a:avLst/>
          </a:prstGeom>
          <a:noFill/>
        </p:spPr>
      </p:pic>
      <p:pic>
        <p:nvPicPr>
          <p:cNvPr id="135" name="Content Placeholder 19">
            <a:extLst>
              <a:ext uri="{FF2B5EF4-FFF2-40B4-BE49-F238E27FC236}">
                <a16:creationId xmlns:a16="http://schemas.microsoft.com/office/drawing/2014/main" id="{5E53E7D0-1F62-D4D0-E0E4-52EC89325EE6}"/>
              </a:ext>
            </a:extLst>
          </p:cNvPr>
          <p:cNvPicPr>
            <a:picLocks noGrp="1" noChangeAspect="1"/>
          </p:cNvPicPr>
          <p:nvPr>
            <p:ph sz="quarter" idx="48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5676" y="1914525"/>
            <a:ext cx="539750" cy="539750"/>
          </a:xfrm>
        </p:spPr>
      </p:pic>
      <p:sp>
        <p:nvSpPr>
          <p:cNvPr id="136" name="Textfeld 135">
            <a:extLst>
              <a:ext uri="{FF2B5EF4-FFF2-40B4-BE49-F238E27FC236}">
                <a16:creationId xmlns:a16="http://schemas.microsoft.com/office/drawing/2014/main" id="{52B2D7CE-739B-A317-34AB-350F21F04F30}"/>
              </a:ext>
            </a:extLst>
          </p:cNvPr>
          <p:cNvSpPr txBox="1"/>
          <p:nvPr/>
        </p:nvSpPr>
        <p:spPr>
          <a:xfrm>
            <a:off x="4346612" y="2379828"/>
            <a:ext cx="2960684" cy="2015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Zunehmender Druck durch volatile Märkte, Bauteilknappheit und neue regulatorische Anforderungen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iloartig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rganisation der Digitalisierung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lang="de-DE" sz="1200">
                <a:solidFill>
                  <a:srgbClr val="100C2A"/>
                </a:solidFill>
                <a:latin typeface="Segoe UI"/>
              </a:rPr>
              <a:t>Nachhaltigkeit wird v.a. aus Normerfüllungs-Perspektive gedacht, nicht als echter Wertetreiber oder integraler Bestandteil von Geschäftsprozessen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3F6FBB72-3406-B00D-D6BE-782B1BF39121}"/>
              </a:ext>
            </a:extLst>
          </p:cNvPr>
          <p:cNvSpPr txBox="1"/>
          <p:nvPr/>
        </p:nvSpPr>
        <p:spPr>
          <a:xfrm>
            <a:off x="7691919" y="2397016"/>
            <a:ext cx="3465031" cy="10541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rarbeitung einer ganzheitlichen Datenstrategie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onzept für einen Data Lake / Data Warehouse, um übergreifend auf einheitliche Daten zugreifen zu können</a:t>
            </a:r>
          </a:p>
        </p:txBody>
      </p:sp>
      <p:sp>
        <p:nvSpPr>
          <p:cNvPr id="111" name="Textplatzhalter 6">
            <a:extLst>
              <a:ext uri="{FF2B5EF4-FFF2-40B4-BE49-F238E27FC236}">
                <a16:creationId xmlns:a16="http://schemas.microsoft.com/office/drawing/2014/main" id="{34BD2C02-F9EE-46BC-2D54-0F5109C3A56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134938" y="4613146"/>
            <a:ext cx="3988815" cy="2018925"/>
          </a:xfrm>
        </p:spPr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4A4B"/>
              </a:buClr>
              <a:buSz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12" name="Textplatzhalter 7">
            <a:extLst>
              <a:ext uri="{FF2B5EF4-FFF2-40B4-BE49-F238E27FC236}">
                <a16:creationId xmlns:a16="http://schemas.microsoft.com/office/drawing/2014/main" id="{91559FBE-4A51-DE9A-2A99-7521C6BDD71F}"/>
              </a:ext>
            </a:extLst>
          </p:cNvPr>
          <p:cNvSpPr>
            <a:spLocks noGrp="1"/>
          </p:cNvSpPr>
          <p:nvPr>
            <p:ph type="body" idx="64"/>
          </p:nvPr>
        </p:nvSpPr>
        <p:spPr>
          <a:xfrm>
            <a:off x="5140530" y="4706159"/>
            <a:ext cx="2340000" cy="540000"/>
          </a:xfrm>
        </p:spPr>
        <p:txBody>
          <a:bodyPr/>
          <a:lstStyle/>
          <a:p>
            <a:r>
              <a:rPr lang="de-DE"/>
              <a:t>Kundennutzen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8FECECD1-1212-4511-F75E-53FCCDA99B4D}"/>
              </a:ext>
            </a:extLst>
          </p:cNvPr>
          <p:cNvSpPr txBox="1"/>
          <p:nvPr/>
        </p:nvSpPr>
        <p:spPr>
          <a:xfrm>
            <a:off x="4346611" y="5160917"/>
            <a:ext cx="3988815" cy="10541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Lake / Data Warehouse dient als Basis für Innovation, 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chtzeitentscheidungen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und Nachhaltigkeitssteuerung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/>
            </a:pPr>
            <a:r>
              <a:rPr lang="de-DE" sz="1200" b="1">
                <a:solidFill>
                  <a:srgbClr val="100C2A"/>
                </a:solidFill>
                <a:latin typeface="Segoe UI"/>
              </a:rPr>
              <a:t>Systemische Integration </a:t>
            </a:r>
            <a:r>
              <a:rPr lang="de-DE" sz="1200">
                <a:solidFill>
                  <a:srgbClr val="100C2A"/>
                </a:solidFill>
                <a:latin typeface="Segoe UI"/>
              </a:rPr>
              <a:t>und wirtschaftliche Herangehensweise an das Thema Nachhaltigkeit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00C2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Textplatzhalter 9">
            <a:extLst>
              <a:ext uri="{FF2B5EF4-FFF2-40B4-BE49-F238E27FC236}">
                <a16:creationId xmlns:a16="http://schemas.microsoft.com/office/drawing/2014/main" id="{2020FA6E-DE0F-902D-CE9C-F1A1A8B2D6F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 rot="16200000">
            <a:off x="3184313" y="5572208"/>
            <a:ext cx="2018925" cy="101048"/>
          </a:xfrm>
        </p:spPr>
        <p:txBody>
          <a:bodyPr/>
          <a:lstStyle/>
          <a:p>
            <a:endParaRPr lang="de-DE"/>
          </a:p>
        </p:txBody>
      </p:sp>
      <p:pic>
        <p:nvPicPr>
          <p:cNvPr id="114" name="Content Placeholder 17">
            <a:extLst>
              <a:ext uri="{FF2B5EF4-FFF2-40B4-BE49-F238E27FC236}">
                <a16:creationId xmlns:a16="http://schemas.microsoft.com/office/drawing/2014/main" id="{9AEB97C6-1ACF-D328-3636-7FEAF11B75F8}"/>
              </a:ext>
            </a:extLst>
          </p:cNvPr>
          <p:cNvPicPr>
            <a:picLocks noGrp="1" noChangeAspect="1"/>
          </p:cNvPicPr>
          <p:nvPr>
            <p:ph sz="quarter" idx="51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54525" y="4646462"/>
            <a:ext cx="539750" cy="539750"/>
          </a:xfrm>
        </p:spPr>
      </p:pic>
      <p:pic>
        <p:nvPicPr>
          <p:cNvPr id="3" name="Grafik 11">
            <a:extLst>
              <a:ext uri="{FF2B5EF4-FFF2-40B4-BE49-F238E27FC236}">
                <a16:creationId xmlns:a16="http://schemas.microsoft.com/office/drawing/2014/main" id="{D3FFCF83-0E28-32A0-15AE-436A981DCD4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632308" y="711936"/>
            <a:ext cx="1993858" cy="360001"/>
          </a:xfrm>
          <a:prstGeom prst="rect">
            <a:avLst/>
          </a:prstGeom>
        </p:spPr>
      </p:pic>
      <p:sp>
        <p:nvSpPr>
          <p:cNvPr id="14" name="Textplatzhalter 20">
            <a:extLst>
              <a:ext uri="{FF2B5EF4-FFF2-40B4-BE49-F238E27FC236}">
                <a16:creationId xmlns:a16="http://schemas.microsoft.com/office/drawing/2014/main" id="{9857C9AC-B9B4-4377-3412-722A9AA5F925}"/>
              </a:ext>
            </a:extLst>
          </p:cNvPr>
          <p:cNvSpPr txBox="1">
            <a:spLocks/>
          </p:cNvSpPr>
          <p:nvPr/>
        </p:nvSpPr>
        <p:spPr>
          <a:xfrm>
            <a:off x="703262" y="1659951"/>
            <a:ext cx="2880000" cy="3600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200" b="0" kern="1200" cap="all" spc="100" baseline="0" noProof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800" b="1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600" b="1" kern="1200" cap="none" spc="10" baseline="0" noProof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600" b="1" kern="1200" spc="4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en-US" sz="1600" b="1" kern="1200" cap="none" spc="40" baseline="0" noProof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2743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600" b="1" i="0" kern="1200" cap="all" spc="100" baseline="0" noProof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200" b="0" i="0" u="none" strike="noStrike" kern="1200" cap="all" spc="10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etail</a:t>
            </a:r>
          </a:p>
        </p:txBody>
      </p:sp>
      <p:sp>
        <p:nvSpPr>
          <p:cNvPr id="15" name="Bildplatzhalter 21">
            <a:extLst>
              <a:ext uri="{FF2B5EF4-FFF2-40B4-BE49-F238E27FC236}">
                <a16:creationId xmlns:a16="http://schemas.microsoft.com/office/drawing/2014/main" id="{624EF893-78BA-AE7C-71CF-E6CAD27B6A7B}"/>
              </a:ext>
            </a:extLst>
          </p:cNvPr>
          <p:cNvSpPr txBox="1">
            <a:spLocks/>
          </p:cNvSpPr>
          <p:nvPr/>
        </p:nvSpPr>
        <p:spPr>
          <a:xfrm>
            <a:off x="701637" y="594336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4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4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400" b="0" kern="1200" cap="none" spc="10" baseline="0" noProof="0" dirty="0" smtClean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400" b="0" kern="1200" cap="none" spc="40" baseline="0" noProof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nl-NL" sz="14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nl-NL" sz="1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400" i="0" kern="1200" cap="all" spc="100" baseline="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2CB3EB4F-65A7-B741-5A92-8143DC017D15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3E62347-4F7E-F9CA-7315-71AE48F00D4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pic>
        <p:nvPicPr>
          <p:cNvPr id="12" name="Picture Placeholder 21">
            <a:extLst>
              <a:ext uri="{FF2B5EF4-FFF2-40B4-BE49-F238E27FC236}">
                <a16:creationId xmlns:a16="http://schemas.microsoft.com/office/drawing/2014/main" id="{8DC43E06-417D-AB59-0FA4-8E649DA41187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100000"/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25" name="Foliennummernplatzhalter 1">
            <a:extLst>
              <a:ext uri="{FF2B5EF4-FFF2-40B4-BE49-F238E27FC236}">
                <a16:creationId xmlns:a16="http://schemas.microsoft.com/office/drawing/2014/main" id="{0CF0E764-A2DA-3EBA-6C84-FB2DB4DCAC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596017"/>
            <a:ext cx="288000" cy="180000"/>
          </a:xfr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573BCF-C0F1-4720-B5E7-944FE630E67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C6FDE11-6A18-8B20-75C6-0936B514F1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81650FF9-F94C-F243-F8D1-C1E94545BC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724" r="54400"/>
          <a:stretch/>
        </p:blipFill>
        <p:spPr bwMode="auto">
          <a:xfrm>
            <a:off x="1325" y="0"/>
            <a:ext cx="3960000" cy="689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hape">
            <a:extLst>
              <a:ext uri="{FF2B5EF4-FFF2-40B4-BE49-F238E27FC236}">
                <a16:creationId xmlns:a16="http://schemas.microsoft.com/office/drawing/2014/main" id="{68C19E39-6E95-DB59-A56B-7EC565561B91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7" name="Picture Placeholder 21">
            <a:extLst>
              <a:ext uri="{FF2B5EF4-FFF2-40B4-BE49-F238E27FC236}">
                <a16:creationId xmlns:a16="http://schemas.microsoft.com/office/drawing/2014/main" id="{239A7311-A75B-9ED9-65CD-FFEC8AB89E5B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100000"/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56" r="56"/>
          <a:stretch/>
        </p:blipFill>
        <p:spPr>
          <a:xfrm>
            <a:off x="385004" y="6477149"/>
            <a:ext cx="1400055" cy="539634"/>
          </a:xfrm>
          <a:prstGeom prst="rect">
            <a:avLst/>
          </a:prstGeom>
        </p:spPr>
      </p:pic>
      <p:sp>
        <p:nvSpPr>
          <p:cNvPr id="8" name="Titel 18">
            <a:extLst>
              <a:ext uri="{FF2B5EF4-FFF2-40B4-BE49-F238E27FC236}">
                <a16:creationId xmlns:a16="http://schemas.microsoft.com/office/drawing/2014/main" id="{C19231CB-ED64-E12C-4FE3-C5F89E298A26}"/>
              </a:ext>
            </a:extLst>
          </p:cNvPr>
          <p:cNvSpPr txBox="1">
            <a:spLocks/>
          </p:cNvSpPr>
          <p:nvPr/>
        </p:nvSpPr>
        <p:spPr>
          <a:xfrm>
            <a:off x="2551659" y="6525891"/>
            <a:ext cx="1805216" cy="4399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tabLst>
                <a:tab pos="10760075" algn="r"/>
              </a:tabLst>
              <a:defRPr sz="2400" b="0" kern="1200" spc="0" baseline="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de-DE" sz="800">
                <a:solidFill>
                  <a:schemeClr val="bg1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nsor-Technik Wiedemann</a:t>
            </a:r>
            <a:endParaRPr lang="de-DE" sz="800">
              <a:solidFill>
                <a:schemeClr val="bg1"/>
              </a:solidFill>
            </a:endParaRPr>
          </a:p>
        </p:txBody>
      </p:sp>
      <p:sp>
        <p:nvSpPr>
          <p:cNvPr id="17" name="Bildplatzhalter 21">
            <a:extLst>
              <a:ext uri="{FF2B5EF4-FFF2-40B4-BE49-F238E27FC236}">
                <a16:creationId xmlns:a16="http://schemas.microsoft.com/office/drawing/2014/main" id="{C67F75EF-3DA3-E387-9285-FE6E8E9C0B9F}"/>
              </a:ext>
            </a:extLst>
          </p:cNvPr>
          <p:cNvSpPr txBox="1">
            <a:spLocks/>
          </p:cNvSpPr>
          <p:nvPr/>
        </p:nvSpPr>
        <p:spPr>
          <a:xfrm>
            <a:off x="702000" y="594000"/>
            <a:ext cx="2160000" cy="900000"/>
          </a:xfrm>
          <a:prstGeom prst="roundRect">
            <a:avLst>
              <a:gd name="adj" fmla="val 12587"/>
            </a:avLst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400" b="0" kern="120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4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400" b="0" kern="1200" cap="none" spc="10" baseline="0" noProof="0" dirty="0" smtClean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400" b="0" kern="1200" spc="40" baseline="0" noProof="0" dirty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400" b="0" kern="1200" cap="none" spc="40" baseline="0" noProof="0" dirty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nl-NL" sz="14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nl-NL" sz="1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400" i="0" kern="1200" cap="all" spc="100" baseline="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4F469D7B-6183-D070-71A8-958F7D269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75" y="765745"/>
            <a:ext cx="2028066" cy="589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platzhalter 20">
            <a:extLst>
              <a:ext uri="{FF2B5EF4-FFF2-40B4-BE49-F238E27FC236}">
                <a16:creationId xmlns:a16="http://schemas.microsoft.com/office/drawing/2014/main" id="{9811FBC7-2EAF-2B16-674F-B66E02E6870F}"/>
              </a:ext>
            </a:extLst>
          </p:cNvPr>
          <p:cNvSpPr txBox="1">
            <a:spLocks/>
          </p:cNvSpPr>
          <p:nvPr/>
        </p:nvSpPr>
        <p:spPr>
          <a:xfrm>
            <a:off x="702000" y="1659600"/>
            <a:ext cx="2880000" cy="3600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200" b="0" kern="1200" cap="all" spc="100" baseline="0" noProof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800" b="1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None/>
              <a:tabLst>
                <a:tab pos="182563" algn="l"/>
              </a:tabLst>
              <a:defRPr lang="en-US" sz="1600" b="1" kern="1200" cap="none" spc="10" baseline="0" noProof="0">
                <a:solidFill>
                  <a:schemeClr val="tx1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nl-NL" sz="1600" b="1" kern="1200" spc="40" baseline="0" noProof="0">
                <a:gradFill>
                  <a:gsLst>
                    <a:gs pos="0">
                      <a:srgbClr val="FF4B4B"/>
                    </a:gs>
                    <a:gs pos="100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en-US" sz="1600" b="1" kern="1200" cap="none" spc="40" baseline="0" noProof="0">
                <a:solidFill>
                  <a:schemeClr val="tx1"/>
                </a:solidFill>
                <a:latin typeface="+mn-lt"/>
                <a:ea typeface="Segoe UI Black" panose="020B0A02040204020203" pitchFamily="34" charset="0"/>
                <a:cs typeface="Segoe UI Light" panose="020B0502040204020203" pitchFamily="34" charset="0"/>
              </a:defRPr>
            </a:lvl6pPr>
            <a:lvl7pPr marL="27432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None/>
              <a:tabLst>
                <a:tab pos="182563" algn="l"/>
              </a:tabLst>
              <a:defRPr lang="nl-NL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nl-NL" sz="1600" b="1" i="0" kern="1200" cap="all" spc="100" baseline="0" noProof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/>
            </a:pPr>
            <a:r>
              <a:rPr kumimoji="0" lang="de-DE" sz="1200" b="0" i="0" u="none" strike="noStrike" kern="1200" cap="all" spc="10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Industrie</a:t>
            </a:r>
          </a:p>
        </p:txBody>
      </p:sp>
    </p:spTree>
    <p:extLst>
      <p:ext uri="{BB962C8B-B14F-4D97-AF65-F5344CB8AC3E}">
        <p14:creationId xmlns:p14="http://schemas.microsoft.com/office/powerpoint/2010/main" val="2602953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E225A7-0DFD-EE9B-1A6C-0BE50F5FAD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90CED119-22C3-3271-3A16-5B6F97BDBC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E9CB3267-2C6A-C4A3-6080-FFE2913A2D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E9CB3267-2C6A-C4A3-6080-FFE2913A2D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C77F18A-53D3-F815-41DF-C0D6563BF1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B5DC5B-6873-43DB-ADC7-B15ACCE0DFDB}" type="slidenum">
              <a:rPr kumimoji="0" lang="de-DE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itle 35">
            <a:extLst>
              <a:ext uri="{FF2B5EF4-FFF2-40B4-BE49-F238E27FC236}">
                <a16:creationId xmlns:a16="http://schemas.microsoft.com/office/drawing/2014/main" id="{8666C262-A001-CE36-84F9-9AA1A0E548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Twin Transformation erfordert strategische Verankerung, gezielte </a:t>
            </a:r>
            <a:br>
              <a:rPr lang="de-DE"/>
            </a:br>
            <a:r>
              <a:rPr lang="de-DE"/>
              <a:t>Investitionen und datenbasierte Systeme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63BB08-01D0-1804-EEF1-9B7C216699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as bedeutet das für Sie?</a:t>
            </a:r>
          </a:p>
          <a:p>
            <a:endParaRPr lang="de-DE"/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FD160926-349F-F41B-845E-F9783F6B6829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12" name="Picture Placeholder 21">
            <a:extLst>
              <a:ext uri="{FF2B5EF4-FFF2-40B4-BE49-F238E27FC236}">
                <a16:creationId xmlns:a16="http://schemas.microsoft.com/office/drawing/2014/main" id="{E0C5D101-1C48-568F-B8AA-4A90473B0E7A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7BBA7EAB-6006-00BD-DF08-D1393024A665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0BEC525-8E0F-1C3E-E35E-1F860EFCAE2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B50D73CE-E12D-E406-CA91-F0D60CB9D99E}"/>
              </a:ext>
            </a:extLst>
          </p:cNvPr>
          <p:cNvSpPr txBox="1"/>
          <p:nvPr/>
        </p:nvSpPr>
        <p:spPr>
          <a:xfrm>
            <a:off x="1020616" y="3859891"/>
            <a:ext cx="4800000" cy="924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>
              <a:lnSpc>
                <a:spcPct val="116000"/>
              </a:lnSpc>
              <a:spcAft>
                <a:spcPts val="1067"/>
              </a:spcAft>
            </a:pPr>
            <a:r>
              <a:rPr lang="de-DE" sz="1600">
                <a:solidFill>
                  <a:srgbClr val="303030"/>
                </a:solidFill>
                <a:ea typeface="MS Gothic" panose="020B0609070205080204" pitchFamily="49" charset="-128"/>
                <a:cs typeface="Times New Roman" panose="02020603050405020304" pitchFamily="18" charset="0"/>
              </a:rPr>
              <a:t>Die Twin Transformation bietet die Chance, </a:t>
            </a:r>
            <a:r>
              <a:rPr lang="de-DE" sz="1600" b="1">
                <a:solidFill>
                  <a:srgbClr val="303030"/>
                </a:solidFill>
                <a:ea typeface="MS Gothic" panose="020B0609070205080204" pitchFamily="49" charset="-128"/>
                <a:cs typeface="Times New Roman" panose="02020603050405020304" pitchFamily="18" charset="0"/>
              </a:rPr>
              <a:t>ökologische Nachhaltigkeit und wirtschaftlichen Erfolg </a:t>
            </a:r>
            <a:r>
              <a:rPr lang="de-DE" sz="1600">
                <a:solidFill>
                  <a:srgbClr val="303030"/>
                </a:solidFill>
                <a:ea typeface="MS Gothic" panose="020B0609070205080204" pitchFamily="49" charset="-128"/>
                <a:cs typeface="Times New Roman" panose="02020603050405020304" pitchFamily="18" charset="0"/>
              </a:rPr>
              <a:t>zu vereinen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9B848FF-835F-D0F6-D937-34BCA836DB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327386" y="2843462"/>
            <a:ext cx="960000" cy="960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AD13B2F6-0DAC-C4C4-91CD-379A5D29CC2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2918849" y="2843462"/>
            <a:ext cx="960000" cy="960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5E626B9-259D-B245-0067-FCAA9204F6BC}"/>
              </a:ext>
            </a:extLst>
          </p:cNvPr>
          <p:cNvSpPr txBox="1"/>
          <p:nvPr/>
        </p:nvSpPr>
        <p:spPr>
          <a:xfrm>
            <a:off x="6371386" y="3859891"/>
            <a:ext cx="4800000" cy="1209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>
              <a:lnSpc>
                <a:spcPct val="116000"/>
              </a:lnSpc>
              <a:spcAft>
                <a:spcPts val="1067"/>
              </a:spcAft>
            </a:pPr>
            <a:r>
              <a:rPr lang="de-DE" sz="1600">
                <a:solidFill>
                  <a:srgbClr val="303030"/>
                </a:solidFill>
                <a:ea typeface="MS Gothic" panose="020B0609070205080204" pitchFamily="49" charset="-128"/>
                <a:cs typeface="Times New Roman" panose="02020603050405020304" pitchFamily="18" charset="0"/>
              </a:rPr>
              <a:t>Die Twin Transformation sollte als</a:t>
            </a:r>
            <a:r>
              <a:rPr lang="de-DE" sz="1600" b="1">
                <a:solidFill>
                  <a:srgbClr val="303030"/>
                </a:solidFill>
                <a:ea typeface="MS Gothic" panose="020B0609070205080204" pitchFamily="49" charset="-128"/>
                <a:cs typeface="Times New Roman" panose="02020603050405020304" pitchFamily="18" charset="0"/>
              </a:rPr>
              <a:t> integrierte Strategie </a:t>
            </a:r>
            <a:r>
              <a:rPr lang="de-DE" sz="1600">
                <a:solidFill>
                  <a:srgbClr val="303030"/>
                </a:solidFill>
                <a:ea typeface="MS Gothic" panose="020B0609070205080204" pitchFamily="49" charset="-128"/>
                <a:cs typeface="Times New Roman" panose="02020603050405020304" pitchFamily="18" charset="0"/>
              </a:rPr>
              <a:t>betrachtet werden, um dezentrales Management und umfassende Transformation zu ermöglichen. </a:t>
            </a:r>
          </a:p>
        </p:txBody>
      </p:sp>
    </p:spTree>
    <p:extLst>
      <p:ext uri="{BB962C8B-B14F-4D97-AF65-F5344CB8AC3E}">
        <p14:creationId xmlns:p14="http://schemas.microsoft.com/office/powerpoint/2010/main" val="13423732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27543-FE0D-D97F-FED5-6F9CEB52A2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E8785B4-2BCB-0E7E-CED5-24D5318826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3BCF-C0F1-4720-B5E7-944FE630E67D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D807D1-BF80-5A64-9EED-EBD311B4E3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7A6045BB-42BC-3926-2B5F-5CE6B85E82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769"/>
            <a:ext cx="4852844" cy="688876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AF812C8-F889-5AA4-B9A3-1D9D36984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27" name="Ellipse 26">
            <a:extLst>
              <a:ext uri="{FF2B5EF4-FFF2-40B4-BE49-F238E27FC236}">
                <a16:creationId xmlns:a16="http://schemas.microsoft.com/office/drawing/2014/main" id="{592C13ED-E837-F0AC-6E2B-F9B17AB283C3}"/>
              </a:ext>
            </a:extLst>
          </p:cNvPr>
          <p:cNvSpPr/>
          <p:nvPr/>
        </p:nvSpPr>
        <p:spPr>
          <a:xfrm>
            <a:off x="8981817" y="-6285264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6A91EA0E-ABDA-50DC-21F0-6ADE73345F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1516" y="43149"/>
            <a:ext cx="1613009" cy="635715"/>
          </a:xfrm>
          <a:prstGeom prst="rect">
            <a:avLst/>
          </a:prstGeom>
        </p:spPr>
      </p:pic>
      <p:sp>
        <p:nvSpPr>
          <p:cNvPr id="29" name="shape">
            <a:extLst>
              <a:ext uri="{FF2B5EF4-FFF2-40B4-BE49-F238E27FC236}">
                <a16:creationId xmlns:a16="http://schemas.microsoft.com/office/drawing/2014/main" id="{57B87E08-FBA9-9D77-7DE5-EDF4EB635B7E}"/>
              </a:ext>
            </a:extLst>
          </p:cNvPr>
          <p:cNvSpPr/>
          <p:nvPr/>
        </p:nvSpPr>
        <p:spPr>
          <a:xfrm rot="10800000">
            <a:off x="-1664273" y="5242230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30" name="Picture Placeholder 21">
            <a:extLst>
              <a:ext uri="{FF2B5EF4-FFF2-40B4-BE49-F238E27FC236}">
                <a16:creationId xmlns:a16="http://schemas.microsoft.com/office/drawing/2014/main" id="{E9F160D8-D386-EB81-7E7A-F66709CD5D96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10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" r="56"/>
          <a:stretch/>
        </p:blipFill>
        <p:spPr>
          <a:xfrm>
            <a:off x="232606" y="6324749"/>
            <a:ext cx="1400055" cy="539635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6586D528-9FE8-D9AE-6AA5-08B1FF478941}"/>
              </a:ext>
            </a:extLst>
          </p:cNvPr>
          <p:cNvSpPr txBox="1"/>
          <p:nvPr/>
        </p:nvSpPr>
        <p:spPr>
          <a:xfrm>
            <a:off x="5509495" y="4600821"/>
            <a:ext cx="5695122" cy="12828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None/>
            </a:pPr>
            <a:r>
              <a:rPr lang="de-DE" sz="2800" b="0" i="0">
                <a:solidFill>
                  <a:srgbClr val="100C2A"/>
                </a:solidFill>
                <a:effectLst/>
                <a:latin typeface="+mj-lt"/>
              </a:rPr>
              <a:t>Hier geht‘s zur Studi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C5D41A3-9827-0F2A-D5E6-4A0980D995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8207" y="1859789"/>
            <a:ext cx="2417698" cy="2417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6211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47A2872-0141-9532-11BD-FC8D93B612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47A2872-0141-9532-11BD-FC8D93B61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0F11A469-CBBC-922F-57BD-8BF053A7BE1D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6"/>
          <a:srcRect t="7813" b="7813"/>
          <a:stretch/>
        </p:blipFill>
        <p:spPr/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1AB5E9-EEF3-8DCD-33CB-EBF9B601D7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3BCF-C0F1-4720-B5E7-944FE630E67D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D76FB0-CB87-A73E-E151-FA7F162F24F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 26, 2024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654AE2A1-2196-723A-6E54-55911C04E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41324"/>
            <a:ext cx="8447246" cy="5724525"/>
          </a:xfrm>
        </p:spPr>
        <p:txBody>
          <a:bodyPr vert="horz"/>
          <a:lstStyle/>
          <a:p>
            <a:r>
              <a:rPr lang="de-DE"/>
              <a:t>Wir freuen uns </a:t>
            </a:r>
            <a:br>
              <a:rPr lang="de-DE"/>
            </a:br>
            <a:r>
              <a:rPr lang="de-DE"/>
              <a:t>auf die Diskussion </a:t>
            </a:r>
            <a:br>
              <a:rPr lang="de-DE"/>
            </a:br>
            <a:r>
              <a:rPr lang="de-DE"/>
              <a:t>mit Ihnen!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0D0B3A9-D264-CB53-9998-D9E1F5C65758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258701-29F2-BAFC-6CBE-349683F11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8" name="shape">
            <a:extLst>
              <a:ext uri="{FF2B5EF4-FFF2-40B4-BE49-F238E27FC236}">
                <a16:creationId xmlns:a16="http://schemas.microsoft.com/office/drawing/2014/main" id="{5EED705B-6394-07E9-48F8-C24845F420EA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10" name="Picture Placeholder 21">
            <a:extLst>
              <a:ext uri="{FF2B5EF4-FFF2-40B4-BE49-F238E27FC236}">
                <a16:creationId xmlns:a16="http://schemas.microsoft.com/office/drawing/2014/main" id="{87CC5BC8-0641-8460-8A6B-AB22DA81301B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100000"/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3591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9EEB648-550B-A164-6550-FED0336E490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B6D40F-83EC-3FF8-93E4-C824D57CA0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40DA38-4FCE-7148-A83C-D7BBB7580802}" type="slidenum">
              <a:rPr kumimoji="0" lang="de-DE" altLang="x-none" sz="800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x-none" sz="800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594200-E897-7E90-8A72-AB833CB05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0976810" cy="648000"/>
          </a:xfrm>
        </p:spPr>
        <p:txBody>
          <a:bodyPr>
            <a:noAutofit/>
          </a:bodyPr>
          <a:lstStyle/>
          <a:p>
            <a:r>
              <a:rPr lang="de-DE"/>
              <a:t>Twin Transformation: </a:t>
            </a:r>
            <a:br>
              <a:rPr lang="de-DE"/>
            </a:br>
            <a:r>
              <a:rPr lang="de-DE"/>
              <a:t>„Das wertschöpfende Zusammenspiel zwischen digitaler und nachhaltiger Transformation in Unternehmen und deren Ökosystemen“.</a:t>
            </a:r>
            <a:endParaRPr lang="de-DE" sz="240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F0F3C76F-0404-5639-EE14-D457A08C19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arum haben wir diese Studie durchgeführt?</a:t>
            </a:r>
          </a:p>
          <a:p>
            <a:endParaRPr lang="de-DE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8BA9CEA3-E6D6-28DF-5F7A-FC133FA9BE72}"/>
              </a:ext>
            </a:extLst>
          </p:cNvPr>
          <p:cNvSpPr txBox="1">
            <a:spLocks/>
          </p:cNvSpPr>
          <p:nvPr/>
        </p:nvSpPr>
        <p:spPr>
          <a:xfrm>
            <a:off x="5145423" y="6733087"/>
            <a:ext cx="6207714" cy="270358"/>
          </a:xfrm>
          <a:prstGeom prst="rect">
            <a:avLst/>
          </a:prstGeom>
          <a:ln>
            <a:noFill/>
          </a:ln>
        </p:spPr>
        <p:txBody>
          <a:bodyPr lIns="0" tIns="0" rIns="0" bIns="0" numCol="1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x-non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Arial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CD139BF-5637-8F64-A2A4-3A95295735BB}"/>
              </a:ext>
            </a:extLst>
          </p:cNvPr>
          <p:cNvGrpSpPr/>
          <p:nvPr/>
        </p:nvGrpSpPr>
        <p:grpSpPr>
          <a:xfrm>
            <a:off x="3121605" y="2422115"/>
            <a:ext cx="5924765" cy="4090982"/>
            <a:chOff x="3131570" y="2027494"/>
            <a:chExt cx="5924765" cy="4090982"/>
          </a:xfrm>
        </p:grpSpPr>
        <p:sp>
          <p:nvSpPr>
            <p:cNvPr id="4" name="Rechteck: abgerundete Ecken 3">
              <a:extLst>
                <a:ext uri="{FF2B5EF4-FFF2-40B4-BE49-F238E27FC236}">
                  <a16:creationId xmlns:a16="http://schemas.microsoft.com/office/drawing/2014/main" id="{686A4A00-2F7B-94B8-DD38-5620717FC0CF}"/>
                </a:ext>
              </a:extLst>
            </p:cNvPr>
            <p:cNvSpPr/>
            <p:nvPr/>
          </p:nvSpPr>
          <p:spPr>
            <a:xfrm rot="2700000">
              <a:off x="3459046" y="2027493"/>
              <a:ext cx="2843299" cy="2881263"/>
            </a:xfrm>
            <a:prstGeom prst="roundRect">
              <a:avLst>
                <a:gd name="adj" fmla="val 5556"/>
              </a:avLst>
            </a:prstGeom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2700000" scaled="0"/>
            </a:gradFill>
            <a:ln w="9525" cap="flat">
              <a:noFill/>
              <a:prstDash val="solid"/>
              <a:miter/>
            </a:ln>
          </p:spPr>
          <p:txBody>
            <a:bodyPr lIns="0" tIns="0" rIns="0" bIns="0" rtlCol="0" anchor="ctr" anchorCtr="0"/>
            <a:lstStyle/>
            <a:p>
              <a:pPr algn="ctr"/>
              <a:endParaRPr lang="de-DE" sz="1100">
                <a:solidFill>
                  <a:schemeClr val="bg1"/>
                </a:solidFill>
              </a:endParaRPr>
            </a:p>
          </p:txBody>
        </p:sp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42406598-9D91-D5C9-E563-E9601A6496BE}"/>
                </a:ext>
              </a:extLst>
            </p:cNvPr>
            <p:cNvSpPr/>
            <p:nvPr/>
          </p:nvSpPr>
          <p:spPr>
            <a:xfrm rot="18900000" flipH="1">
              <a:off x="5840705" y="2027494"/>
              <a:ext cx="2843299" cy="2881263"/>
            </a:xfrm>
            <a:prstGeom prst="roundRect">
              <a:avLst>
                <a:gd name="adj" fmla="val 5556"/>
              </a:avLst>
            </a:prstGeom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0" tIns="0" rIns="0" bIns="0" rtlCol="0" anchor="ctr" anchorCtr="0"/>
            <a:lstStyle/>
            <a:p>
              <a:pPr algn="ctr"/>
              <a:endParaRPr lang="de-DE" sz="1100">
                <a:solidFill>
                  <a:schemeClr val="bg1"/>
                </a:solidFill>
              </a:endParaRPr>
            </a:p>
          </p:txBody>
        </p:sp>
        <p:sp>
          <p:nvSpPr>
            <p:cNvPr id="22" name="Flussdiagramm: Manuelle Verarbeitung 21">
              <a:extLst>
                <a:ext uri="{FF2B5EF4-FFF2-40B4-BE49-F238E27FC236}">
                  <a16:creationId xmlns:a16="http://schemas.microsoft.com/office/drawing/2014/main" id="{00C71A64-87B8-9898-031D-1289359E2A7F}"/>
                </a:ext>
              </a:extLst>
            </p:cNvPr>
            <p:cNvSpPr/>
            <p:nvPr/>
          </p:nvSpPr>
          <p:spPr>
            <a:xfrm rot="10800000">
              <a:off x="4707861" y="3463949"/>
              <a:ext cx="2725001" cy="2401897"/>
            </a:xfrm>
            <a:prstGeom prst="flowChartManualOperation">
              <a:avLst/>
            </a:prstGeom>
            <a:solidFill>
              <a:schemeClr val="bg1">
                <a:lumMod val="95000"/>
                <a:alpha val="2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83E1B4D5-9D6F-9AEE-9874-38A65BBA0E95}"/>
                </a:ext>
              </a:extLst>
            </p:cNvPr>
            <p:cNvSpPr/>
            <p:nvPr/>
          </p:nvSpPr>
          <p:spPr>
            <a:xfrm rot="2700000">
              <a:off x="5467249" y="2880062"/>
              <a:ext cx="1207356" cy="1205516"/>
            </a:xfrm>
            <a:prstGeom prst="roundRect">
              <a:avLst>
                <a:gd name="adj" fmla="val 6657"/>
              </a:avLst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BC31167D-7E2D-2C6C-2F5F-8EF6717B0633}"/>
                </a:ext>
              </a:extLst>
            </p:cNvPr>
            <p:cNvSpPr/>
            <p:nvPr/>
          </p:nvSpPr>
          <p:spPr>
            <a:xfrm rot="2700000">
              <a:off x="5532177" y="2840904"/>
              <a:ext cx="1046003" cy="108107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8BB744CA-ABC1-A6C6-1350-24285FEAF936}"/>
                </a:ext>
              </a:extLst>
            </p:cNvPr>
            <p:cNvSpPr/>
            <p:nvPr/>
          </p:nvSpPr>
          <p:spPr>
            <a:xfrm rot="2700000">
              <a:off x="5561265" y="2872297"/>
              <a:ext cx="1046003" cy="108595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C42107A8-ADFB-D78F-E715-5F67ABF91562}"/>
                </a:ext>
              </a:extLst>
            </p:cNvPr>
            <p:cNvSpPr/>
            <p:nvPr/>
          </p:nvSpPr>
          <p:spPr>
            <a:xfrm>
              <a:off x="3475653" y="3140996"/>
              <a:ext cx="1762763" cy="584775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  <a:t>Nachhaltige </a:t>
              </a:r>
              <a:b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</a:b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  <a:t>Transformation </a:t>
              </a: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0FB73D4-47DA-6867-F69D-1551AAEEB93E}"/>
                </a:ext>
              </a:extLst>
            </p:cNvPr>
            <p:cNvSpPr/>
            <p:nvPr/>
          </p:nvSpPr>
          <p:spPr>
            <a:xfrm>
              <a:off x="6913076" y="3140996"/>
              <a:ext cx="1762763" cy="584775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  <a:t>Digitale </a:t>
              </a:r>
              <a:b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</a:b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  <a:t>Transformation 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Arial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916C5F38-1443-16EC-75F2-691BCB63E782}"/>
                </a:ext>
              </a:extLst>
            </p:cNvPr>
            <p:cNvSpPr/>
            <p:nvPr/>
          </p:nvSpPr>
          <p:spPr>
            <a:xfrm>
              <a:off x="4388312" y="3014220"/>
              <a:ext cx="3443325" cy="63094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indent="0" algn="ctr" fontAlgn="base"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buFontTx/>
                <a:buNone/>
                <a:tabLst>
                  <a:tab pos="182563" algn="l"/>
                </a:tabLst>
                <a:defRPr/>
              </a:pPr>
              <a:r>
                <a:rPr lang="de-DE" sz="1600">
                  <a:latin typeface="Segoe UI Semibold" panose="020B0502040204020203" pitchFamily="34" charset="0"/>
                  <a:cs typeface="Segoe UI Semibold" panose="020B0502040204020203" pitchFamily="34" charset="0"/>
                </a:rPr>
                <a:t>Twin</a:t>
              </a:r>
            </a:p>
            <a:p>
              <a:pPr indent="0" algn="ctr" fontAlgn="base"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buFontTx/>
                <a:buNone/>
                <a:tabLst>
                  <a:tab pos="182563" algn="l"/>
                </a:tabLst>
                <a:defRPr/>
              </a:pPr>
              <a:r>
                <a:rPr lang="de-DE" sz="1600">
                  <a:latin typeface="Segoe UI Semibold" panose="020B0502040204020203" pitchFamily="34" charset="0"/>
                  <a:cs typeface="Segoe UI Semibold" panose="020B0502040204020203" pitchFamily="34" charset="0"/>
                </a:rPr>
                <a:t>Transformation</a:t>
              </a: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483E426D-F09E-EA13-2BF9-FB279EA1A2FB}"/>
                </a:ext>
              </a:extLst>
            </p:cNvPr>
            <p:cNvSpPr/>
            <p:nvPr/>
          </p:nvSpPr>
          <p:spPr>
            <a:xfrm>
              <a:off x="4354084" y="5333646"/>
              <a:ext cx="3443325" cy="7848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 fontAlgn="base"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3C4BC8"/>
                </a:buClr>
                <a:buSzPct val="100000"/>
                <a:tabLst>
                  <a:tab pos="182558" algn="l"/>
                </a:tabLst>
                <a:defRPr/>
              </a:pPr>
              <a:r>
                <a:rPr lang="de-DE" sz="1600">
                  <a:solidFill>
                    <a:srgbClr val="100C2A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Verbesserung der Nachhaltigkeitsperformance durch Digitalisierung</a:t>
              </a:r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5EC9261E-6CFA-8FFF-5EEB-56D0EF4E6EFD}"/>
                </a:ext>
              </a:extLst>
            </p:cNvPr>
            <p:cNvGrpSpPr/>
            <p:nvPr/>
          </p:nvGrpSpPr>
          <p:grpSpPr>
            <a:xfrm>
              <a:off x="8607596" y="3268361"/>
              <a:ext cx="448739" cy="399543"/>
              <a:chOff x="3610708" y="3475398"/>
              <a:chExt cx="376761" cy="339933"/>
            </a:xfrm>
            <a:solidFill>
              <a:schemeClr val="bg1"/>
            </a:solidFill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0FF8BB4D-1C9C-06D0-E502-C8ED4FFF21D0}"/>
                  </a:ext>
                </a:extLst>
              </p:cNvPr>
              <p:cNvSpPr/>
              <p:nvPr/>
            </p:nvSpPr>
            <p:spPr>
              <a:xfrm>
                <a:off x="3643440" y="3524562"/>
                <a:ext cx="81928" cy="90648"/>
              </a:xfrm>
              <a:custGeom>
                <a:avLst/>
                <a:gdLst>
                  <a:gd name="connsiteX0" fmla="*/ 24413 w 97538"/>
                  <a:gd name="connsiteY0" fmla="*/ 48756 h 107919"/>
                  <a:gd name="connsiteX1" fmla="*/ 46721 w 97538"/>
                  <a:gd name="connsiteY1" fmla="*/ 34131 h 107919"/>
                  <a:gd name="connsiteX2" fmla="*/ 68288 w 97538"/>
                  <a:gd name="connsiteY2" fmla="*/ 34131 h 107919"/>
                  <a:gd name="connsiteX3" fmla="*/ 78038 w 97538"/>
                  <a:gd name="connsiteY3" fmla="*/ 43881 h 107919"/>
                  <a:gd name="connsiteX4" fmla="*/ 78038 w 97538"/>
                  <a:gd name="connsiteY4" fmla="*/ 107919 h 107919"/>
                  <a:gd name="connsiteX5" fmla="*/ 93472 w 97538"/>
                  <a:gd name="connsiteY5" fmla="*/ 104385 h 107919"/>
                  <a:gd name="connsiteX6" fmla="*/ 97538 w 97538"/>
                  <a:gd name="connsiteY6" fmla="*/ 91710 h 107919"/>
                  <a:gd name="connsiteX7" fmla="*/ 97538 w 97538"/>
                  <a:gd name="connsiteY7" fmla="*/ 43881 h 107919"/>
                  <a:gd name="connsiteX8" fmla="*/ 68288 w 97538"/>
                  <a:gd name="connsiteY8" fmla="*/ 14631 h 107919"/>
                  <a:gd name="connsiteX9" fmla="*/ 46721 w 97538"/>
                  <a:gd name="connsiteY9" fmla="*/ 14631 h 107919"/>
                  <a:gd name="connsiteX10" fmla="*/ 14631 w 97538"/>
                  <a:gd name="connsiteY10" fmla="*/ 2041 h 107919"/>
                  <a:gd name="connsiteX11" fmla="*/ 2041 w 97538"/>
                  <a:gd name="connsiteY11" fmla="*/ 34131 h 107919"/>
                  <a:gd name="connsiteX12" fmla="*/ 24413 w 97538"/>
                  <a:gd name="connsiteY12" fmla="*/ 48756 h 107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7538" h="107919">
                    <a:moveTo>
                      <a:pt x="24413" y="48756"/>
                    </a:moveTo>
                    <a:cubicBezTo>
                      <a:pt x="34093" y="48743"/>
                      <a:pt x="42849" y="43003"/>
                      <a:pt x="46721" y="34131"/>
                    </a:cubicBezTo>
                    <a:lnTo>
                      <a:pt x="68288" y="34131"/>
                    </a:lnTo>
                    <a:cubicBezTo>
                      <a:pt x="73673" y="34131"/>
                      <a:pt x="78038" y="38496"/>
                      <a:pt x="78038" y="43881"/>
                    </a:cubicBezTo>
                    <a:lnTo>
                      <a:pt x="78038" y="107919"/>
                    </a:lnTo>
                    <a:cubicBezTo>
                      <a:pt x="83011" y="106087"/>
                      <a:pt x="88198" y="104899"/>
                      <a:pt x="93472" y="104385"/>
                    </a:cubicBezTo>
                    <a:cubicBezTo>
                      <a:pt x="94420" y="100040"/>
                      <a:pt x="95781" y="95795"/>
                      <a:pt x="97538" y="91710"/>
                    </a:cubicBezTo>
                    <a:lnTo>
                      <a:pt x="97538" y="43881"/>
                    </a:lnTo>
                    <a:cubicBezTo>
                      <a:pt x="97519" y="27735"/>
                      <a:pt x="84435" y="14650"/>
                      <a:pt x="68288" y="14631"/>
                    </a:cubicBezTo>
                    <a:lnTo>
                      <a:pt x="46721" y="14631"/>
                    </a:lnTo>
                    <a:cubicBezTo>
                      <a:pt x="41336" y="2293"/>
                      <a:pt x="26969" y="-3343"/>
                      <a:pt x="14631" y="2041"/>
                    </a:cubicBezTo>
                    <a:cubicBezTo>
                      <a:pt x="2293" y="7426"/>
                      <a:pt x="-3344" y="21793"/>
                      <a:pt x="2041" y="34131"/>
                    </a:cubicBezTo>
                    <a:cubicBezTo>
                      <a:pt x="5923" y="43025"/>
                      <a:pt x="14709" y="48769"/>
                      <a:pt x="24413" y="48756"/>
                    </a:cubicBez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D4C46617-51AB-517F-F352-499CB5BEA073}"/>
                  </a:ext>
                </a:extLst>
              </p:cNvPr>
              <p:cNvSpPr/>
              <p:nvPr/>
            </p:nvSpPr>
            <p:spPr>
              <a:xfrm>
                <a:off x="3610708" y="3614621"/>
                <a:ext cx="80369" cy="86023"/>
              </a:xfrm>
              <a:custGeom>
                <a:avLst/>
                <a:gdLst>
                  <a:gd name="connsiteX0" fmla="*/ 82345 w 95682"/>
                  <a:gd name="connsiteY0" fmla="*/ 84273 h 102413"/>
                  <a:gd name="connsiteX1" fmla="*/ 81745 w 95682"/>
                  <a:gd name="connsiteY1" fmla="*/ 82913 h 102413"/>
                  <a:gd name="connsiteX2" fmla="*/ 43881 w 95682"/>
                  <a:gd name="connsiteY2" fmla="*/ 82913 h 102413"/>
                  <a:gd name="connsiteX3" fmla="*/ 34131 w 95682"/>
                  <a:gd name="connsiteY3" fmla="*/ 73163 h 102413"/>
                  <a:gd name="connsiteX4" fmla="*/ 34131 w 95682"/>
                  <a:gd name="connsiteY4" fmla="*/ 46721 h 102413"/>
                  <a:gd name="connsiteX5" fmla="*/ 46721 w 95682"/>
                  <a:gd name="connsiteY5" fmla="*/ 14631 h 102413"/>
                  <a:gd name="connsiteX6" fmla="*/ 14631 w 95682"/>
                  <a:gd name="connsiteY6" fmla="*/ 2041 h 102413"/>
                  <a:gd name="connsiteX7" fmla="*/ 2041 w 95682"/>
                  <a:gd name="connsiteY7" fmla="*/ 34131 h 102413"/>
                  <a:gd name="connsiteX8" fmla="*/ 14631 w 95682"/>
                  <a:gd name="connsiteY8" fmla="*/ 46721 h 102413"/>
                  <a:gd name="connsiteX9" fmla="*/ 14631 w 95682"/>
                  <a:gd name="connsiteY9" fmla="*/ 73163 h 102413"/>
                  <a:gd name="connsiteX10" fmla="*/ 43881 w 95682"/>
                  <a:gd name="connsiteY10" fmla="*/ 102413 h 102413"/>
                  <a:gd name="connsiteX11" fmla="*/ 95683 w 95682"/>
                  <a:gd name="connsiteY11" fmla="*/ 102413 h 102413"/>
                  <a:gd name="connsiteX12" fmla="*/ 82345 w 95682"/>
                  <a:gd name="connsiteY12" fmla="*/ 84273 h 102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682" h="102413">
                    <a:moveTo>
                      <a:pt x="82345" y="84273"/>
                    </a:moveTo>
                    <a:cubicBezTo>
                      <a:pt x="82126" y="83820"/>
                      <a:pt x="81950" y="83362"/>
                      <a:pt x="81745" y="82913"/>
                    </a:cubicBezTo>
                    <a:lnTo>
                      <a:pt x="43881" y="82913"/>
                    </a:lnTo>
                    <a:cubicBezTo>
                      <a:pt x="38496" y="82913"/>
                      <a:pt x="34131" y="78548"/>
                      <a:pt x="34131" y="73163"/>
                    </a:cubicBezTo>
                    <a:lnTo>
                      <a:pt x="34131" y="46721"/>
                    </a:lnTo>
                    <a:cubicBezTo>
                      <a:pt x="46469" y="41336"/>
                      <a:pt x="52106" y="26969"/>
                      <a:pt x="46721" y="14631"/>
                    </a:cubicBezTo>
                    <a:cubicBezTo>
                      <a:pt x="41336" y="2293"/>
                      <a:pt x="26969" y="-3343"/>
                      <a:pt x="14631" y="2041"/>
                    </a:cubicBezTo>
                    <a:cubicBezTo>
                      <a:pt x="2293" y="7426"/>
                      <a:pt x="-3344" y="21793"/>
                      <a:pt x="2041" y="34131"/>
                    </a:cubicBezTo>
                    <a:cubicBezTo>
                      <a:pt x="4500" y="39765"/>
                      <a:pt x="8997" y="44262"/>
                      <a:pt x="14631" y="46721"/>
                    </a:cubicBezTo>
                    <a:lnTo>
                      <a:pt x="14631" y="73163"/>
                    </a:lnTo>
                    <a:cubicBezTo>
                      <a:pt x="14650" y="89310"/>
                      <a:pt x="27735" y="102394"/>
                      <a:pt x="43881" y="102413"/>
                    </a:cubicBezTo>
                    <a:lnTo>
                      <a:pt x="95683" y="102413"/>
                    </a:lnTo>
                    <a:cubicBezTo>
                      <a:pt x="90147" y="97249"/>
                      <a:pt x="85624" y="91097"/>
                      <a:pt x="82345" y="84273"/>
                    </a:cubicBez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B9D55EA9-65BC-E6A6-3FEA-B1E536F15C72}"/>
                  </a:ext>
                </a:extLst>
              </p:cNvPr>
              <p:cNvSpPr/>
              <p:nvPr/>
            </p:nvSpPr>
            <p:spPr>
              <a:xfrm>
                <a:off x="3770406" y="3475398"/>
                <a:ext cx="40958" cy="93139"/>
              </a:xfrm>
              <a:custGeom>
                <a:avLst/>
                <a:gdLst>
                  <a:gd name="connsiteX0" fmla="*/ 14631 w 48762"/>
                  <a:gd name="connsiteY0" fmla="*/ 46721 h 110885"/>
                  <a:gd name="connsiteX1" fmla="*/ 14631 w 48762"/>
                  <a:gd name="connsiteY1" fmla="*/ 107444 h 110885"/>
                  <a:gd name="connsiteX2" fmla="*/ 34131 w 48762"/>
                  <a:gd name="connsiteY2" fmla="*/ 110886 h 110885"/>
                  <a:gd name="connsiteX3" fmla="*/ 34131 w 48762"/>
                  <a:gd name="connsiteY3" fmla="*/ 46721 h 110885"/>
                  <a:gd name="connsiteX4" fmla="*/ 46721 w 48762"/>
                  <a:gd name="connsiteY4" fmla="*/ 14631 h 110885"/>
                  <a:gd name="connsiteX5" fmla="*/ 14631 w 48762"/>
                  <a:gd name="connsiteY5" fmla="*/ 2041 h 110885"/>
                  <a:gd name="connsiteX6" fmla="*/ 2041 w 48762"/>
                  <a:gd name="connsiteY6" fmla="*/ 34131 h 110885"/>
                  <a:gd name="connsiteX7" fmla="*/ 14631 w 48762"/>
                  <a:gd name="connsiteY7" fmla="*/ 46721 h 11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62" h="110885">
                    <a:moveTo>
                      <a:pt x="14631" y="46721"/>
                    </a:moveTo>
                    <a:lnTo>
                      <a:pt x="14631" y="107444"/>
                    </a:lnTo>
                    <a:cubicBezTo>
                      <a:pt x="21259" y="107686"/>
                      <a:pt x="27821" y="108844"/>
                      <a:pt x="34131" y="110886"/>
                    </a:cubicBezTo>
                    <a:lnTo>
                      <a:pt x="34131" y="46721"/>
                    </a:lnTo>
                    <a:cubicBezTo>
                      <a:pt x="46469" y="41336"/>
                      <a:pt x="52106" y="26969"/>
                      <a:pt x="46721" y="14631"/>
                    </a:cubicBezTo>
                    <a:cubicBezTo>
                      <a:pt x="41336" y="2293"/>
                      <a:pt x="26969" y="-3344"/>
                      <a:pt x="14631" y="2041"/>
                    </a:cubicBezTo>
                    <a:cubicBezTo>
                      <a:pt x="2293" y="7426"/>
                      <a:pt x="-3343" y="21793"/>
                      <a:pt x="2041" y="34131"/>
                    </a:cubicBezTo>
                    <a:cubicBezTo>
                      <a:pt x="4500" y="39765"/>
                      <a:pt x="8997" y="44262"/>
                      <a:pt x="14631" y="46721"/>
                    </a:cubicBez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F33FDBAF-B7C3-ECCF-2D81-9F5CD75211AF}"/>
                  </a:ext>
                </a:extLst>
              </p:cNvPr>
              <p:cNvSpPr/>
              <p:nvPr/>
            </p:nvSpPr>
            <p:spPr>
              <a:xfrm>
                <a:off x="3852308" y="3508155"/>
                <a:ext cx="85996" cy="92247"/>
              </a:xfrm>
              <a:custGeom>
                <a:avLst/>
                <a:gdLst>
                  <a:gd name="connsiteX0" fmla="*/ 15893 w 102381"/>
                  <a:gd name="connsiteY0" fmla="*/ 107045 h 109823"/>
                  <a:gd name="connsiteX1" fmla="*/ 19500 w 102381"/>
                  <a:gd name="connsiteY1" fmla="*/ 109823 h 109823"/>
                  <a:gd name="connsiteX2" fmla="*/ 19500 w 102381"/>
                  <a:gd name="connsiteY2" fmla="*/ 92663 h 109823"/>
                  <a:gd name="connsiteX3" fmla="*/ 29250 w 102381"/>
                  <a:gd name="connsiteY3" fmla="*/ 82913 h 109823"/>
                  <a:gd name="connsiteX4" fmla="*/ 58500 w 102381"/>
                  <a:gd name="connsiteY4" fmla="*/ 82913 h 109823"/>
                  <a:gd name="connsiteX5" fmla="*/ 87750 w 102381"/>
                  <a:gd name="connsiteY5" fmla="*/ 53663 h 109823"/>
                  <a:gd name="connsiteX6" fmla="*/ 87750 w 102381"/>
                  <a:gd name="connsiteY6" fmla="*/ 46721 h 109823"/>
                  <a:gd name="connsiteX7" fmla="*/ 100340 w 102381"/>
                  <a:gd name="connsiteY7" fmla="*/ 14631 h 109823"/>
                  <a:gd name="connsiteX8" fmla="*/ 68250 w 102381"/>
                  <a:gd name="connsiteY8" fmla="*/ 2041 h 109823"/>
                  <a:gd name="connsiteX9" fmla="*/ 55660 w 102381"/>
                  <a:gd name="connsiteY9" fmla="*/ 34131 h 109823"/>
                  <a:gd name="connsiteX10" fmla="*/ 68250 w 102381"/>
                  <a:gd name="connsiteY10" fmla="*/ 46721 h 109823"/>
                  <a:gd name="connsiteX11" fmla="*/ 68250 w 102381"/>
                  <a:gd name="connsiteY11" fmla="*/ 53663 h 109823"/>
                  <a:gd name="connsiteX12" fmla="*/ 58500 w 102381"/>
                  <a:gd name="connsiteY12" fmla="*/ 63413 h 109823"/>
                  <a:gd name="connsiteX13" fmla="*/ 29250 w 102381"/>
                  <a:gd name="connsiteY13" fmla="*/ 63413 h 109823"/>
                  <a:gd name="connsiteX14" fmla="*/ 0 w 102381"/>
                  <a:gd name="connsiteY14" fmla="*/ 92663 h 109823"/>
                  <a:gd name="connsiteX15" fmla="*/ 0 w 102381"/>
                  <a:gd name="connsiteY15" fmla="*/ 99079 h 109823"/>
                  <a:gd name="connsiteX16" fmla="*/ 15893 w 102381"/>
                  <a:gd name="connsiteY16" fmla="*/ 107045 h 10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2381" h="109823">
                    <a:moveTo>
                      <a:pt x="15893" y="107045"/>
                    </a:moveTo>
                    <a:cubicBezTo>
                      <a:pt x="17140" y="107922"/>
                      <a:pt x="18330" y="108868"/>
                      <a:pt x="19500" y="109823"/>
                    </a:cubicBezTo>
                    <a:lnTo>
                      <a:pt x="19500" y="92663"/>
                    </a:lnTo>
                    <a:cubicBezTo>
                      <a:pt x="19500" y="87278"/>
                      <a:pt x="23865" y="82913"/>
                      <a:pt x="29250" y="82913"/>
                    </a:cubicBezTo>
                    <a:lnTo>
                      <a:pt x="58500" y="82913"/>
                    </a:lnTo>
                    <a:cubicBezTo>
                      <a:pt x="74647" y="82894"/>
                      <a:pt x="87731" y="69810"/>
                      <a:pt x="87750" y="53663"/>
                    </a:cubicBezTo>
                    <a:lnTo>
                      <a:pt x="87750" y="46721"/>
                    </a:lnTo>
                    <a:cubicBezTo>
                      <a:pt x="100088" y="41336"/>
                      <a:pt x="105725" y="26969"/>
                      <a:pt x="100340" y="14631"/>
                    </a:cubicBezTo>
                    <a:cubicBezTo>
                      <a:pt x="94955" y="2293"/>
                      <a:pt x="80588" y="-3343"/>
                      <a:pt x="68250" y="2041"/>
                    </a:cubicBezTo>
                    <a:cubicBezTo>
                      <a:pt x="55912" y="7426"/>
                      <a:pt x="50275" y="21793"/>
                      <a:pt x="55660" y="34131"/>
                    </a:cubicBezTo>
                    <a:cubicBezTo>
                      <a:pt x="58119" y="39765"/>
                      <a:pt x="62616" y="44262"/>
                      <a:pt x="68250" y="46721"/>
                    </a:cubicBezTo>
                    <a:lnTo>
                      <a:pt x="68250" y="53663"/>
                    </a:lnTo>
                    <a:cubicBezTo>
                      <a:pt x="68250" y="59048"/>
                      <a:pt x="63885" y="63413"/>
                      <a:pt x="58500" y="63413"/>
                    </a:cubicBezTo>
                    <a:lnTo>
                      <a:pt x="29250" y="63413"/>
                    </a:lnTo>
                    <a:cubicBezTo>
                      <a:pt x="13103" y="63429"/>
                      <a:pt x="16" y="76516"/>
                      <a:pt x="0" y="92663"/>
                    </a:cubicBezTo>
                    <a:lnTo>
                      <a:pt x="0" y="99079"/>
                    </a:lnTo>
                    <a:cubicBezTo>
                      <a:pt x="5654" y="100955"/>
                      <a:pt x="11006" y="103638"/>
                      <a:pt x="15893" y="107045"/>
                    </a:cubicBez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2D71E41B-6CD8-3906-459D-DED467DFC2B0}"/>
                  </a:ext>
                </a:extLst>
              </p:cNvPr>
              <p:cNvSpPr/>
              <p:nvPr/>
            </p:nvSpPr>
            <p:spPr>
              <a:xfrm>
                <a:off x="3672130" y="3714804"/>
                <a:ext cx="85996" cy="88242"/>
              </a:xfrm>
              <a:custGeom>
                <a:avLst/>
                <a:gdLst>
                  <a:gd name="connsiteX0" fmla="*/ 82881 w 102381"/>
                  <a:gd name="connsiteY0" fmla="*/ 0 h 105055"/>
                  <a:gd name="connsiteX1" fmla="*/ 82881 w 102381"/>
                  <a:gd name="connsiteY1" fmla="*/ 12392 h 105055"/>
                  <a:gd name="connsiteX2" fmla="*/ 73131 w 102381"/>
                  <a:gd name="connsiteY2" fmla="*/ 22142 h 105055"/>
                  <a:gd name="connsiteX3" fmla="*/ 43881 w 102381"/>
                  <a:gd name="connsiteY3" fmla="*/ 22142 h 105055"/>
                  <a:gd name="connsiteX4" fmla="*/ 14631 w 102381"/>
                  <a:gd name="connsiteY4" fmla="*/ 51392 h 105055"/>
                  <a:gd name="connsiteX5" fmla="*/ 14631 w 102381"/>
                  <a:gd name="connsiteY5" fmla="*/ 58334 h 105055"/>
                  <a:gd name="connsiteX6" fmla="*/ 2041 w 102381"/>
                  <a:gd name="connsiteY6" fmla="*/ 90424 h 105055"/>
                  <a:gd name="connsiteX7" fmla="*/ 34131 w 102381"/>
                  <a:gd name="connsiteY7" fmla="*/ 103014 h 105055"/>
                  <a:gd name="connsiteX8" fmla="*/ 46721 w 102381"/>
                  <a:gd name="connsiteY8" fmla="*/ 70924 h 105055"/>
                  <a:gd name="connsiteX9" fmla="*/ 34131 w 102381"/>
                  <a:gd name="connsiteY9" fmla="*/ 58334 h 105055"/>
                  <a:gd name="connsiteX10" fmla="*/ 34131 w 102381"/>
                  <a:gd name="connsiteY10" fmla="*/ 51392 h 105055"/>
                  <a:gd name="connsiteX11" fmla="*/ 43881 w 102381"/>
                  <a:gd name="connsiteY11" fmla="*/ 41642 h 105055"/>
                  <a:gd name="connsiteX12" fmla="*/ 73131 w 102381"/>
                  <a:gd name="connsiteY12" fmla="*/ 41642 h 105055"/>
                  <a:gd name="connsiteX13" fmla="*/ 102381 w 102381"/>
                  <a:gd name="connsiteY13" fmla="*/ 12392 h 105055"/>
                  <a:gd name="connsiteX14" fmla="*/ 102381 w 102381"/>
                  <a:gd name="connsiteY14" fmla="*/ 0 h 105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381" h="105055">
                    <a:moveTo>
                      <a:pt x="82881" y="0"/>
                    </a:moveTo>
                    <a:lnTo>
                      <a:pt x="82881" y="12392"/>
                    </a:lnTo>
                    <a:cubicBezTo>
                      <a:pt x="82881" y="17777"/>
                      <a:pt x="78516" y="22142"/>
                      <a:pt x="73131" y="22142"/>
                    </a:cubicBezTo>
                    <a:lnTo>
                      <a:pt x="43881" y="22142"/>
                    </a:lnTo>
                    <a:cubicBezTo>
                      <a:pt x="27734" y="22158"/>
                      <a:pt x="14647" y="35245"/>
                      <a:pt x="14631" y="51392"/>
                    </a:cubicBezTo>
                    <a:lnTo>
                      <a:pt x="14631" y="58334"/>
                    </a:lnTo>
                    <a:cubicBezTo>
                      <a:pt x="2293" y="63719"/>
                      <a:pt x="-3343" y="78086"/>
                      <a:pt x="2041" y="90424"/>
                    </a:cubicBezTo>
                    <a:cubicBezTo>
                      <a:pt x="7426" y="102763"/>
                      <a:pt x="21793" y="108399"/>
                      <a:pt x="34131" y="103014"/>
                    </a:cubicBezTo>
                    <a:cubicBezTo>
                      <a:pt x="46469" y="97630"/>
                      <a:pt x="52106" y="83263"/>
                      <a:pt x="46721" y="70924"/>
                    </a:cubicBezTo>
                    <a:cubicBezTo>
                      <a:pt x="44262" y="65290"/>
                      <a:pt x="39765" y="60793"/>
                      <a:pt x="34131" y="58334"/>
                    </a:cubicBezTo>
                    <a:lnTo>
                      <a:pt x="34131" y="51392"/>
                    </a:lnTo>
                    <a:cubicBezTo>
                      <a:pt x="34131" y="46007"/>
                      <a:pt x="38496" y="41642"/>
                      <a:pt x="43881" y="41642"/>
                    </a:cubicBezTo>
                    <a:lnTo>
                      <a:pt x="73131" y="41642"/>
                    </a:lnTo>
                    <a:cubicBezTo>
                      <a:pt x="89278" y="41623"/>
                      <a:pt x="102362" y="28539"/>
                      <a:pt x="102381" y="12392"/>
                    </a:cubicBezTo>
                    <a:lnTo>
                      <a:pt x="102381" y="0"/>
                    </a:ln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BC5A4A0-75AE-0BD7-DA4F-581EF4FB4EF0}"/>
                  </a:ext>
                </a:extLst>
              </p:cNvPr>
              <p:cNvSpPr/>
              <p:nvPr/>
            </p:nvSpPr>
            <p:spPr>
              <a:xfrm>
                <a:off x="3907633" y="3626938"/>
                <a:ext cx="79836" cy="40953"/>
              </a:xfrm>
              <a:custGeom>
                <a:avLst/>
                <a:gdLst>
                  <a:gd name="connsiteX0" fmla="*/ 70634 w 95047"/>
                  <a:gd name="connsiteY0" fmla="*/ 0 h 48756"/>
                  <a:gd name="connsiteX1" fmla="*/ 48326 w 95047"/>
                  <a:gd name="connsiteY1" fmla="*/ 14625 h 48756"/>
                  <a:gd name="connsiteX2" fmla="*/ 0 w 95047"/>
                  <a:gd name="connsiteY2" fmla="*/ 14625 h 48756"/>
                  <a:gd name="connsiteX3" fmla="*/ 13479 w 95047"/>
                  <a:gd name="connsiteY3" fmla="*/ 34125 h 48756"/>
                  <a:gd name="connsiteX4" fmla="*/ 48326 w 95047"/>
                  <a:gd name="connsiteY4" fmla="*/ 34125 h 48756"/>
                  <a:gd name="connsiteX5" fmla="*/ 80416 w 95047"/>
                  <a:gd name="connsiteY5" fmla="*/ 46715 h 48756"/>
                  <a:gd name="connsiteX6" fmla="*/ 93006 w 95047"/>
                  <a:gd name="connsiteY6" fmla="*/ 14625 h 48756"/>
                  <a:gd name="connsiteX7" fmla="*/ 70634 w 95047"/>
                  <a:gd name="connsiteY7" fmla="*/ 0 h 48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47" h="48756">
                    <a:moveTo>
                      <a:pt x="70634" y="0"/>
                    </a:moveTo>
                    <a:cubicBezTo>
                      <a:pt x="60954" y="13"/>
                      <a:pt x="52198" y="5753"/>
                      <a:pt x="48326" y="14625"/>
                    </a:cubicBezTo>
                    <a:lnTo>
                      <a:pt x="0" y="14625"/>
                    </a:lnTo>
                    <a:cubicBezTo>
                      <a:pt x="5934" y="20001"/>
                      <a:pt x="10548" y="26674"/>
                      <a:pt x="13479" y="34125"/>
                    </a:cubicBezTo>
                    <a:lnTo>
                      <a:pt x="48326" y="34125"/>
                    </a:lnTo>
                    <a:cubicBezTo>
                      <a:pt x="53711" y="46463"/>
                      <a:pt x="68078" y="52100"/>
                      <a:pt x="80416" y="46715"/>
                    </a:cubicBezTo>
                    <a:cubicBezTo>
                      <a:pt x="92754" y="41330"/>
                      <a:pt x="98391" y="26963"/>
                      <a:pt x="93006" y="14625"/>
                    </a:cubicBezTo>
                    <a:cubicBezTo>
                      <a:pt x="89125" y="5732"/>
                      <a:pt x="80338" y="-13"/>
                      <a:pt x="70634" y="0"/>
                    </a:cubicBez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5F3AA731-280B-9C84-F20A-C92514F7097D}"/>
                  </a:ext>
                </a:extLst>
              </p:cNvPr>
              <p:cNvSpPr/>
              <p:nvPr/>
            </p:nvSpPr>
            <p:spPr>
              <a:xfrm>
                <a:off x="3868688" y="3714186"/>
                <a:ext cx="81928" cy="64265"/>
              </a:xfrm>
              <a:custGeom>
                <a:avLst/>
                <a:gdLst>
                  <a:gd name="connsiteX0" fmla="*/ 73125 w 97538"/>
                  <a:gd name="connsiteY0" fmla="*/ 27753 h 76509"/>
                  <a:gd name="connsiteX1" fmla="*/ 50817 w 97538"/>
                  <a:gd name="connsiteY1" fmla="*/ 42378 h 76509"/>
                  <a:gd name="connsiteX2" fmla="*/ 29250 w 97538"/>
                  <a:gd name="connsiteY2" fmla="*/ 42378 h 76509"/>
                  <a:gd name="connsiteX3" fmla="*/ 19500 w 97538"/>
                  <a:gd name="connsiteY3" fmla="*/ 32628 h 76509"/>
                  <a:gd name="connsiteX4" fmla="*/ 19500 w 97538"/>
                  <a:gd name="connsiteY4" fmla="*/ 0 h 76509"/>
                  <a:gd name="connsiteX5" fmla="*/ 11071 w 97538"/>
                  <a:gd name="connsiteY5" fmla="*/ 736 h 76509"/>
                  <a:gd name="connsiteX6" fmla="*/ 0 w 97538"/>
                  <a:gd name="connsiteY6" fmla="*/ 736 h 76509"/>
                  <a:gd name="connsiteX7" fmla="*/ 0 w 97538"/>
                  <a:gd name="connsiteY7" fmla="*/ 32628 h 76509"/>
                  <a:gd name="connsiteX8" fmla="*/ 29250 w 97538"/>
                  <a:gd name="connsiteY8" fmla="*/ 61878 h 76509"/>
                  <a:gd name="connsiteX9" fmla="*/ 50817 w 97538"/>
                  <a:gd name="connsiteY9" fmla="*/ 61878 h 76509"/>
                  <a:gd name="connsiteX10" fmla="*/ 82907 w 97538"/>
                  <a:gd name="connsiteY10" fmla="*/ 74469 h 76509"/>
                  <a:gd name="connsiteX11" fmla="*/ 95497 w 97538"/>
                  <a:gd name="connsiteY11" fmla="*/ 42378 h 76509"/>
                  <a:gd name="connsiteX12" fmla="*/ 73125 w 97538"/>
                  <a:gd name="connsiteY12" fmla="*/ 27753 h 7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7538" h="76509">
                    <a:moveTo>
                      <a:pt x="73125" y="27753"/>
                    </a:moveTo>
                    <a:cubicBezTo>
                      <a:pt x="63445" y="27766"/>
                      <a:pt x="54689" y="33506"/>
                      <a:pt x="50817" y="42378"/>
                    </a:cubicBezTo>
                    <a:lnTo>
                      <a:pt x="29250" y="42378"/>
                    </a:lnTo>
                    <a:cubicBezTo>
                      <a:pt x="23865" y="42378"/>
                      <a:pt x="19500" y="38013"/>
                      <a:pt x="19500" y="32628"/>
                    </a:cubicBezTo>
                    <a:lnTo>
                      <a:pt x="19500" y="0"/>
                    </a:lnTo>
                    <a:cubicBezTo>
                      <a:pt x="16715" y="473"/>
                      <a:pt x="13896" y="719"/>
                      <a:pt x="11071" y="736"/>
                    </a:cubicBezTo>
                    <a:lnTo>
                      <a:pt x="0" y="736"/>
                    </a:lnTo>
                    <a:lnTo>
                      <a:pt x="0" y="32628"/>
                    </a:lnTo>
                    <a:cubicBezTo>
                      <a:pt x="19" y="48775"/>
                      <a:pt x="13103" y="61859"/>
                      <a:pt x="29250" y="61878"/>
                    </a:cubicBezTo>
                    <a:lnTo>
                      <a:pt x="50817" y="61878"/>
                    </a:lnTo>
                    <a:cubicBezTo>
                      <a:pt x="56202" y="74217"/>
                      <a:pt x="70569" y="79853"/>
                      <a:pt x="82907" y="74469"/>
                    </a:cubicBezTo>
                    <a:cubicBezTo>
                      <a:pt x="95245" y="69084"/>
                      <a:pt x="100882" y="54717"/>
                      <a:pt x="95497" y="42378"/>
                    </a:cubicBezTo>
                    <a:cubicBezTo>
                      <a:pt x="91616" y="33485"/>
                      <a:pt x="82829" y="27741"/>
                      <a:pt x="73125" y="27753"/>
                    </a:cubicBez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1968506D-9972-3BD7-386B-372CE0320FE5}"/>
                  </a:ext>
                </a:extLst>
              </p:cNvPr>
              <p:cNvSpPr/>
              <p:nvPr/>
            </p:nvSpPr>
            <p:spPr>
              <a:xfrm>
                <a:off x="3790880" y="3714804"/>
                <a:ext cx="40958" cy="100527"/>
              </a:xfrm>
              <a:custGeom>
                <a:avLst/>
                <a:gdLst>
                  <a:gd name="connsiteX0" fmla="*/ 34131 w 48762"/>
                  <a:gd name="connsiteY0" fmla="*/ 72959 h 119680"/>
                  <a:gd name="connsiteX1" fmla="*/ 34131 w 48762"/>
                  <a:gd name="connsiteY1" fmla="*/ 0 h 119680"/>
                  <a:gd name="connsiteX2" fmla="*/ 14631 w 48762"/>
                  <a:gd name="connsiteY2" fmla="*/ 0 h 119680"/>
                  <a:gd name="connsiteX3" fmla="*/ 14631 w 48762"/>
                  <a:gd name="connsiteY3" fmla="*/ 72959 h 119680"/>
                  <a:gd name="connsiteX4" fmla="*/ 2041 w 48762"/>
                  <a:gd name="connsiteY4" fmla="*/ 105049 h 119680"/>
                  <a:gd name="connsiteX5" fmla="*/ 34131 w 48762"/>
                  <a:gd name="connsiteY5" fmla="*/ 117639 h 119680"/>
                  <a:gd name="connsiteX6" fmla="*/ 46721 w 48762"/>
                  <a:gd name="connsiteY6" fmla="*/ 85549 h 119680"/>
                  <a:gd name="connsiteX7" fmla="*/ 34131 w 48762"/>
                  <a:gd name="connsiteY7" fmla="*/ 72959 h 11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62" h="119680">
                    <a:moveTo>
                      <a:pt x="34131" y="72959"/>
                    </a:moveTo>
                    <a:lnTo>
                      <a:pt x="34131" y="0"/>
                    </a:lnTo>
                    <a:lnTo>
                      <a:pt x="14631" y="0"/>
                    </a:lnTo>
                    <a:lnTo>
                      <a:pt x="14631" y="72959"/>
                    </a:lnTo>
                    <a:cubicBezTo>
                      <a:pt x="2293" y="78344"/>
                      <a:pt x="-3343" y="92711"/>
                      <a:pt x="2041" y="105049"/>
                    </a:cubicBezTo>
                    <a:cubicBezTo>
                      <a:pt x="7426" y="117388"/>
                      <a:pt x="21793" y="123024"/>
                      <a:pt x="34131" y="117639"/>
                    </a:cubicBezTo>
                    <a:cubicBezTo>
                      <a:pt x="46469" y="112255"/>
                      <a:pt x="52106" y="97888"/>
                      <a:pt x="46721" y="85549"/>
                    </a:cubicBezTo>
                    <a:cubicBezTo>
                      <a:pt x="44262" y="79915"/>
                      <a:pt x="39765" y="75418"/>
                      <a:pt x="34131" y="72959"/>
                    </a:cubicBez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EC42141F-3398-9BD8-F8B4-A3493EB02575}"/>
                  </a:ext>
                </a:extLst>
              </p:cNvPr>
              <p:cNvSpPr/>
              <p:nvPr/>
            </p:nvSpPr>
            <p:spPr>
              <a:xfrm>
                <a:off x="3687145" y="3577794"/>
                <a:ext cx="222451" cy="124731"/>
              </a:xfrm>
              <a:custGeom>
                <a:avLst/>
                <a:gdLst>
                  <a:gd name="connsiteX0" fmla="*/ 227203 w 264834"/>
                  <a:gd name="connsiteY0" fmla="*/ 74087 h 148496"/>
                  <a:gd name="connsiteX1" fmla="*/ 224063 w 264834"/>
                  <a:gd name="connsiteY1" fmla="*/ 74243 h 148496"/>
                  <a:gd name="connsiteX2" fmla="*/ 224063 w 264834"/>
                  <a:gd name="connsiteY2" fmla="*/ 74087 h 148496"/>
                  <a:gd name="connsiteX3" fmla="*/ 204154 w 264834"/>
                  <a:gd name="connsiteY3" fmla="*/ 36120 h 148496"/>
                  <a:gd name="connsiteX4" fmla="*/ 161254 w 264834"/>
                  <a:gd name="connsiteY4" fmla="*/ 30270 h 148496"/>
                  <a:gd name="connsiteX5" fmla="*/ 97849 w 264834"/>
                  <a:gd name="connsiteY5" fmla="*/ 1562 h 148496"/>
                  <a:gd name="connsiteX6" fmla="*/ 54496 w 264834"/>
                  <a:gd name="connsiteY6" fmla="*/ 55484 h 148496"/>
                  <a:gd name="connsiteX7" fmla="*/ 54496 w 264834"/>
                  <a:gd name="connsiteY7" fmla="*/ 55971 h 148496"/>
                  <a:gd name="connsiteX8" fmla="*/ 9402 w 264834"/>
                  <a:gd name="connsiteY8" fmla="*/ 74009 h 148496"/>
                  <a:gd name="connsiteX9" fmla="*/ 4527 w 264834"/>
                  <a:gd name="connsiteY9" fmla="*/ 121784 h 148496"/>
                  <a:gd name="connsiteX10" fmla="*/ 45073 w 264834"/>
                  <a:gd name="connsiteY10" fmla="*/ 148338 h 148496"/>
                  <a:gd name="connsiteX11" fmla="*/ 60132 w 264834"/>
                  <a:gd name="connsiteY11" fmla="*/ 148494 h 148496"/>
                  <a:gd name="connsiteX12" fmla="*/ 227203 w 264834"/>
                  <a:gd name="connsiteY12" fmla="*/ 148494 h 148496"/>
                  <a:gd name="connsiteX13" fmla="*/ 264832 w 264834"/>
                  <a:gd name="connsiteY13" fmla="*/ 111717 h 148496"/>
                  <a:gd name="connsiteX14" fmla="*/ 228054 w 264834"/>
                  <a:gd name="connsiteY14" fmla="*/ 74087 h 148496"/>
                  <a:gd name="connsiteX15" fmla="*/ 227203 w 264834"/>
                  <a:gd name="connsiteY15" fmla="*/ 74087 h 14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64834" h="148496">
                    <a:moveTo>
                      <a:pt x="227203" y="74087"/>
                    </a:moveTo>
                    <a:cubicBezTo>
                      <a:pt x="226154" y="74060"/>
                      <a:pt x="225104" y="74112"/>
                      <a:pt x="224063" y="74243"/>
                    </a:cubicBezTo>
                    <a:lnTo>
                      <a:pt x="224063" y="74087"/>
                    </a:lnTo>
                    <a:cubicBezTo>
                      <a:pt x="224036" y="58937"/>
                      <a:pt x="216601" y="44757"/>
                      <a:pt x="204154" y="36120"/>
                    </a:cubicBezTo>
                    <a:cubicBezTo>
                      <a:pt x="191618" y="27407"/>
                      <a:pt x="175665" y="25232"/>
                      <a:pt x="161254" y="30270"/>
                    </a:cubicBezTo>
                    <a:cubicBezTo>
                      <a:pt x="149152" y="7348"/>
                      <a:pt x="123060" y="-4466"/>
                      <a:pt x="97849" y="1562"/>
                    </a:cubicBezTo>
                    <a:cubicBezTo>
                      <a:pt x="72686" y="7376"/>
                      <a:pt x="54771" y="29659"/>
                      <a:pt x="54496" y="55484"/>
                    </a:cubicBezTo>
                    <a:lnTo>
                      <a:pt x="54496" y="55971"/>
                    </a:lnTo>
                    <a:cubicBezTo>
                      <a:pt x="37292" y="53240"/>
                      <a:pt x="19977" y="60166"/>
                      <a:pt x="9402" y="74009"/>
                    </a:cubicBezTo>
                    <a:cubicBezTo>
                      <a:pt x="-1063" y="87756"/>
                      <a:pt x="-2946" y="106206"/>
                      <a:pt x="4527" y="121784"/>
                    </a:cubicBezTo>
                    <a:cubicBezTo>
                      <a:pt x="12107" y="137439"/>
                      <a:pt x="27693" y="147646"/>
                      <a:pt x="45073" y="148338"/>
                    </a:cubicBezTo>
                    <a:lnTo>
                      <a:pt x="60132" y="148494"/>
                    </a:lnTo>
                    <a:lnTo>
                      <a:pt x="227203" y="148494"/>
                    </a:lnTo>
                    <a:cubicBezTo>
                      <a:pt x="247750" y="148729"/>
                      <a:pt x="264597" y="132263"/>
                      <a:pt x="264832" y="111717"/>
                    </a:cubicBezTo>
                    <a:cubicBezTo>
                      <a:pt x="265067" y="91169"/>
                      <a:pt x="248601" y="74322"/>
                      <a:pt x="228054" y="74087"/>
                    </a:cubicBezTo>
                    <a:cubicBezTo>
                      <a:pt x="227771" y="74084"/>
                      <a:pt x="227486" y="74084"/>
                      <a:pt x="227203" y="74087"/>
                    </a:cubicBezTo>
                    <a:close/>
                  </a:path>
                </a:pathLst>
              </a:custGeom>
              <a:grpFill/>
              <a:ln w="4862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1" name="Inhaltsplatzhalter 14" descr="Nachhaltigkeit Silhouette">
              <a:extLst>
                <a:ext uri="{FF2B5EF4-FFF2-40B4-BE49-F238E27FC236}">
                  <a16:creationId xmlns:a16="http://schemas.microsoft.com/office/drawing/2014/main" id="{CC24DA7D-8C7A-A867-EC63-2CB4615B1AD4}"/>
                </a:ext>
              </a:extLst>
            </p:cNvPr>
            <p:cNvGrpSpPr/>
            <p:nvPr/>
          </p:nvGrpSpPr>
          <p:grpSpPr>
            <a:xfrm>
              <a:off x="3131570" y="3265354"/>
              <a:ext cx="384537" cy="388110"/>
              <a:chOff x="6409984" y="3329362"/>
              <a:chExt cx="384368" cy="393120"/>
            </a:xfrm>
            <a:solidFill>
              <a:schemeClr val="bg1"/>
            </a:solidFill>
          </p:grpSpPr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4BB31A69-E4A6-2A5C-AFD6-3BC1676A1D14}"/>
                  </a:ext>
                </a:extLst>
              </p:cNvPr>
              <p:cNvSpPr/>
              <p:nvPr/>
            </p:nvSpPr>
            <p:spPr>
              <a:xfrm>
                <a:off x="6532424" y="3329362"/>
                <a:ext cx="220228" cy="174827"/>
              </a:xfrm>
              <a:custGeom>
                <a:avLst/>
                <a:gdLst>
                  <a:gd name="connsiteX0" fmla="*/ 83226 w 220228"/>
                  <a:gd name="connsiteY0" fmla="*/ 9750 h 174827"/>
                  <a:gd name="connsiteX1" fmla="*/ 104042 w 220228"/>
                  <a:gd name="connsiteY1" fmla="*/ 21450 h 174827"/>
                  <a:gd name="connsiteX2" fmla="*/ 188979 w 220228"/>
                  <a:gd name="connsiteY2" fmla="*/ 160987 h 174827"/>
                  <a:gd name="connsiteX3" fmla="*/ 188926 w 220228"/>
                  <a:gd name="connsiteY3" fmla="*/ 161061 h 174827"/>
                  <a:gd name="connsiteX4" fmla="*/ 139971 w 220228"/>
                  <a:gd name="connsiteY4" fmla="*/ 148503 h 174827"/>
                  <a:gd name="connsiteX5" fmla="*/ 137534 w 220228"/>
                  <a:gd name="connsiteY5" fmla="*/ 157950 h 174827"/>
                  <a:gd name="connsiteX6" fmla="*/ 203346 w 220228"/>
                  <a:gd name="connsiteY6" fmla="*/ 174828 h 174827"/>
                  <a:gd name="connsiteX7" fmla="*/ 220228 w 220228"/>
                  <a:gd name="connsiteY7" fmla="*/ 109015 h 174827"/>
                  <a:gd name="connsiteX8" fmla="*/ 210780 w 220228"/>
                  <a:gd name="connsiteY8" fmla="*/ 106578 h 174827"/>
                  <a:gd name="connsiteX9" fmla="*/ 197925 w 220228"/>
                  <a:gd name="connsiteY9" fmla="*/ 156761 h 174827"/>
                  <a:gd name="connsiteX10" fmla="*/ 197832 w 220228"/>
                  <a:gd name="connsiteY10" fmla="*/ 156761 h 174827"/>
                  <a:gd name="connsiteX11" fmla="*/ 112374 w 220228"/>
                  <a:gd name="connsiteY11" fmla="*/ 16361 h 174827"/>
                  <a:gd name="connsiteX12" fmla="*/ 83226 w 220228"/>
                  <a:gd name="connsiteY12" fmla="*/ 0 h 174827"/>
                  <a:gd name="connsiteX13" fmla="*/ 83226 w 220228"/>
                  <a:gd name="connsiteY13" fmla="*/ 0 h 174827"/>
                  <a:gd name="connsiteX14" fmla="*/ 54078 w 220228"/>
                  <a:gd name="connsiteY14" fmla="*/ 16380 h 174827"/>
                  <a:gd name="connsiteX15" fmla="*/ 0 w 220228"/>
                  <a:gd name="connsiteY15" fmla="*/ 105217 h 174827"/>
                  <a:gd name="connsiteX16" fmla="*/ 8331 w 220228"/>
                  <a:gd name="connsiteY16" fmla="*/ 110287 h 174827"/>
                  <a:gd name="connsiteX17" fmla="*/ 62405 w 220228"/>
                  <a:gd name="connsiteY17" fmla="*/ 21450 h 174827"/>
                  <a:gd name="connsiteX18" fmla="*/ 83221 w 220228"/>
                  <a:gd name="connsiteY18" fmla="*/ 9750 h 174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0228" h="174827">
                    <a:moveTo>
                      <a:pt x="83226" y="9750"/>
                    </a:moveTo>
                    <a:cubicBezTo>
                      <a:pt x="91740" y="9715"/>
                      <a:pt x="99646" y="14159"/>
                      <a:pt x="104042" y="21450"/>
                    </a:cubicBezTo>
                    <a:lnTo>
                      <a:pt x="188979" y="160987"/>
                    </a:lnTo>
                    <a:cubicBezTo>
                      <a:pt x="189014" y="161046"/>
                      <a:pt x="188979" y="161075"/>
                      <a:pt x="188926" y="161061"/>
                    </a:cubicBezTo>
                    <a:lnTo>
                      <a:pt x="139971" y="148503"/>
                    </a:lnTo>
                    <a:lnTo>
                      <a:pt x="137534" y="157950"/>
                    </a:lnTo>
                    <a:lnTo>
                      <a:pt x="203346" y="174828"/>
                    </a:lnTo>
                    <a:lnTo>
                      <a:pt x="220228" y="109015"/>
                    </a:lnTo>
                    <a:lnTo>
                      <a:pt x="210780" y="106578"/>
                    </a:lnTo>
                    <a:lnTo>
                      <a:pt x="197925" y="156761"/>
                    </a:lnTo>
                    <a:cubicBezTo>
                      <a:pt x="197925" y="156824"/>
                      <a:pt x="197867" y="156829"/>
                      <a:pt x="197832" y="156761"/>
                    </a:cubicBezTo>
                    <a:lnTo>
                      <a:pt x="112374" y="16361"/>
                    </a:lnTo>
                    <a:cubicBezTo>
                      <a:pt x="106213" y="6159"/>
                      <a:pt x="95143" y="-54"/>
                      <a:pt x="83226" y="0"/>
                    </a:cubicBezTo>
                    <a:lnTo>
                      <a:pt x="83226" y="0"/>
                    </a:lnTo>
                    <a:cubicBezTo>
                      <a:pt x="71305" y="-47"/>
                      <a:pt x="60237" y="6174"/>
                      <a:pt x="54078" y="16380"/>
                    </a:cubicBezTo>
                    <a:lnTo>
                      <a:pt x="0" y="105217"/>
                    </a:lnTo>
                    <a:lnTo>
                      <a:pt x="8331" y="110287"/>
                    </a:lnTo>
                    <a:lnTo>
                      <a:pt x="62405" y="21450"/>
                    </a:lnTo>
                    <a:cubicBezTo>
                      <a:pt x="66827" y="14186"/>
                      <a:pt x="74716" y="9752"/>
                      <a:pt x="83221" y="9750"/>
                    </a:cubicBezTo>
                    <a:close/>
                  </a:path>
                </a:pathLst>
              </a:custGeom>
              <a:grpFill/>
              <a:ln w="2121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C8F38EBD-F16E-5EF5-D572-BBE8C5602230}"/>
                  </a:ext>
                </a:extLst>
              </p:cNvPr>
              <p:cNvSpPr/>
              <p:nvPr/>
            </p:nvSpPr>
            <p:spPr>
              <a:xfrm>
                <a:off x="6409984" y="3462786"/>
                <a:ext cx="148778" cy="216527"/>
              </a:xfrm>
              <a:custGeom>
                <a:avLst/>
                <a:gdLst>
                  <a:gd name="connsiteX0" fmla="*/ 13424 w 148778"/>
                  <a:gd name="connsiteY0" fmla="*/ 195205 h 216527"/>
                  <a:gd name="connsiteX1" fmla="*/ 13361 w 148778"/>
                  <a:gd name="connsiteY1" fmla="*/ 169748 h 216527"/>
                  <a:gd name="connsiteX2" fmla="*/ 104738 w 148778"/>
                  <a:gd name="connsiteY2" fmla="*/ 19651 h 216527"/>
                  <a:gd name="connsiteX3" fmla="*/ 104826 w 148778"/>
                  <a:gd name="connsiteY3" fmla="*/ 19651 h 216527"/>
                  <a:gd name="connsiteX4" fmla="*/ 117355 w 148778"/>
                  <a:gd name="connsiteY4" fmla="*/ 67314 h 216527"/>
                  <a:gd name="connsiteX5" fmla="*/ 126783 w 148778"/>
                  <a:gd name="connsiteY5" fmla="*/ 64837 h 216527"/>
                  <a:gd name="connsiteX6" fmla="*/ 109720 w 148778"/>
                  <a:gd name="connsiteY6" fmla="*/ 0 h 216527"/>
                  <a:gd name="connsiteX7" fmla="*/ 44883 w 148778"/>
                  <a:gd name="connsiteY7" fmla="*/ 17063 h 216527"/>
                  <a:gd name="connsiteX8" fmla="*/ 47359 w 148778"/>
                  <a:gd name="connsiteY8" fmla="*/ 26491 h 216527"/>
                  <a:gd name="connsiteX9" fmla="*/ 97031 w 148778"/>
                  <a:gd name="connsiteY9" fmla="*/ 13436 h 216527"/>
                  <a:gd name="connsiteX10" fmla="*/ 97084 w 148778"/>
                  <a:gd name="connsiteY10" fmla="*/ 13509 h 216527"/>
                  <a:gd name="connsiteX11" fmla="*/ 5030 w 148778"/>
                  <a:gd name="connsiteY11" fmla="*/ 164678 h 216527"/>
                  <a:gd name="connsiteX12" fmla="*/ 4259 w 148778"/>
                  <a:gd name="connsiteY12" fmla="*/ 198803 h 216527"/>
                  <a:gd name="connsiteX13" fmla="*/ 35508 w 148778"/>
                  <a:gd name="connsiteY13" fmla="*/ 216523 h 216527"/>
                  <a:gd name="connsiteX14" fmla="*/ 148779 w 148778"/>
                  <a:gd name="connsiteY14" fmla="*/ 216523 h 216527"/>
                  <a:gd name="connsiteX15" fmla="*/ 148779 w 148778"/>
                  <a:gd name="connsiteY15" fmla="*/ 206773 h 216527"/>
                  <a:gd name="connsiteX16" fmla="*/ 35191 w 148778"/>
                  <a:gd name="connsiteY16" fmla="*/ 206773 h 216527"/>
                  <a:gd name="connsiteX17" fmla="*/ 13424 w 148778"/>
                  <a:gd name="connsiteY17" fmla="*/ 195205 h 21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778" h="216527">
                    <a:moveTo>
                      <a:pt x="13424" y="195205"/>
                    </a:moveTo>
                    <a:cubicBezTo>
                      <a:pt x="8564" y="187421"/>
                      <a:pt x="8539" y="177555"/>
                      <a:pt x="13361" y="169748"/>
                    </a:cubicBezTo>
                    <a:lnTo>
                      <a:pt x="104738" y="19651"/>
                    </a:lnTo>
                    <a:cubicBezTo>
                      <a:pt x="104772" y="19598"/>
                      <a:pt x="104811" y="19602"/>
                      <a:pt x="104826" y="19651"/>
                    </a:cubicBezTo>
                    <a:lnTo>
                      <a:pt x="117355" y="67314"/>
                    </a:lnTo>
                    <a:lnTo>
                      <a:pt x="126783" y="64837"/>
                    </a:lnTo>
                    <a:lnTo>
                      <a:pt x="109720" y="0"/>
                    </a:lnTo>
                    <a:lnTo>
                      <a:pt x="44883" y="17063"/>
                    </a:lnTo>
                    <a:lnTo>
                      <a:pt x="47359" y="26491"/>
                    </a:lnTo>
                    <a:lnTo>
                      <a:pt x="97031" y="13436"/>
                    </a:lnTo>
                    <a:cubicBezTo>
                      <a:pt x="97099" y="13436"/>
                      <a:pt x="97123" y="13436"/>
                      <a:pt x="97084" y="13509"/>
                    </a:cubicBezTo>
                    <a:lnTo>
                      <a:pt x="5030" y="164678"/>
                    </a:lnTo>
                    <a:cubicBezTo>
                      <a:pt x="-1389" y="175073"/>
                      <a:pt x="-1684" y="188128"/>
                      <a:pt x="4259" y="198803"/>
                    </a:cubicBezTo>
                    <a:cubicBezTo>
                      <a:pt x="10686" y="209945"/>
                      <a:pt x="22647" y="216728"/>
                      <a:pt x="35508" y="216523"/>
                    </a:cubicBezTo>
                    <a:lnTo>
                      <a:pt x="148779" y="216523"/>
                    </a:lnTo>
                    <a:lnTo>
                      <a:pt x="148779" y="206773"/>
                    </a:lnTo>
                    <a:lnTo>
                      <a:pt x="35191" y="206773"/>
                    </a:lnTo>
                    <a:cubicBezTo>
                      <a:pt x="26423" y="206942"/>
                      <a:pt x="18191" y="202566"/>
                      <a:pt x="13424" y="195205"/>
                    </a:cubicBezTo>
                    <a:close/>
                  </a:path>
                </a:pathLst>
              </a:custGeom>
              <a:grpFill/>
              <a:ln w="2121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911CCE9-5A87-098A-B21D-25919FB6CBE3}"/>
                  </a:ext>
                </a:extLst>
              </p:cNvPr>
              <p:cNvSpPr/>
              <p:nvPr/>
            </p:nvSpPr>
            <p:spPr>
              <a:xfrm>
                <a:off x="6604330" y="3527580"/>
                <a:ext cx="190022" cy="194902"/>
              </a:xfrm>
              <a:custGeom>
                <a:avLst/>
                <a:gdLst>
                  <a:gd name="connsiteX0" fmla="*/ 91621 w 190022"/>
                  <a:gd name="connsiteY0" fmla="*/ 16882 h 194902"/>
                  <a:gd name="connsiteX1" fmla="*/ 88286 w 190022"/>
                  <a:gd name="connsiteY1" fmla="*/ 16843 h 194902"/>
                  <a:gd name="connsiteX2" fmla="*/ 13358 w 190022"/>
                  <a:gd name="connsiteY2" fmla="*/ 94843 h 194902"/>
                  <a:gd name="connsiteX3" fmla="*/ 17150 w 190022"/>
                  <a:gd name="connsiteY3" fmla="*/ 119174 h 194902"/>
                  <a:gd name="connsiteX4" fmla="*/ 27997 w 190022"/>
                  <a:gd name="connsiteY4" fmla="*/ 139376 h 194902"/>
                  <a:gd name="connsiteX5" fmla="*/ 29791 w 190022"/>
                  <a:gd name="connsiteY5" fmla="*/ 141741 h 194902"/>
                  <a:gd name="connsiteX6" fmla="*/ 25794 w 190022"/>
                  <a:gd name="connsiteY6" fmla="*/ 145641 h 194902"/>
                  <a:gd name="connsiteX7" fmla="*/ 0 w 190022"/>
                  <a:gd name="connsiteY7" fmla="*/ 190028 h 194902"/>
                  <a:gd name="connsiteX8" fmla="*/ 4875 w 190022"/>
                  <a:gd name="connsiteY8" fmla="*/ 194903 h 194902"/>
                  <a:gd name="connsiteX9" fmla="*/ 9750 w 190022"/>
                  <a:gd name="connsiteY9" fmla="*/ 190028 h 194902"/>
                  <a:gd name="connsiteX10" fmla="*/ 32663 w 190022"/>
                  <a:gd name="connsiteY10" fmla="*/ 152549 h 194902"/>
                  <a:gd name="connsiteX11" fmla="*/ 35909 w 190022"/>
                  <a:gd name="connsiteY11" fmla="*/ 149404 h 194902"/>
                  <a:gd name="connsiteX12" fmla="*/ 74865 w 190022"/>
                  <a:gd name="connsiteY12" fmla="*/ 172039 h 194902"/>
                  <a:gd name="connsiteX13" fmla="*/ 88091 w 190022"/>
                  <a:gd name="connsiteY13" fmla="*/ 173258 h 194902"/>
                  <a:gd name="connsiteX14" fmla="*/ 88549 w 190022"/>
                  <a:gd name="connsiteY14" fmla="*/ 173258 h 194902"/>
                  <a:gd name="connsiteX15" fmla="*/ 125478 w 190022"/>
                  <a:gd name="connsiteY15" fmla="*/ 162971 h 194902"/>
                  <a:gd name="connsiteX16" fmla="*/ 190023 w 190022"/>
                  <a:gd name="connsiteY16" fmla="*/ 0 h 194902"/>
                  <a:gd name="connsiteX17" fmla="*/ 91621 w 190022"/>
                  <a:gd name="connsiteY17" fmla="*/ 16882 h 194902"/>
                  <a:gd name="connsiteX18" fmla="*/ 120447 w 190022"/>
                  <a:gd name="connsiteY18" fmla="*/ 154601 h 194902"/>
                  <a:gd name="connsiteX19" fmla="*/ 88554 w 190022"/>
                  <a:gd name="connsiteY19" fmla="*/ 163508 h 194902"/>
                  <a:gd name="connsiteX20" fmla="*/ 88096 w 190022"/>
                  <a:gd name="connsiteY20" fmla="*/ 163508 h 194902"/>
                  <a:gd name="connsiteX21" fmla="*/ 76650 w 190022"/>
                  <a:gd name="connsiteY21" fmla="*/ 162455 h 194902"/>
                  <a:gd name="connsiteX22" fmla="*/ 42934 w 190022"/>
                  <a:gd name="connsiteY22" fmla="*/ 142579 h 194902"/>
                  <a:gd name="connsiteX23" fmla="*/ 111808 w 190022"/>
                  <a:gd name="connsiteY23" fmla="*/ 75870 h 194902"/>
                  <a:gd name="connsiteX24" fmla="*/ 112183 w 190022"/>
                  <a:gd name="connsiteY24" fmla="*/ 68986 h 194902"/>
                  <a:gd name="connsiteX25" fmla="*/ 105299 w 190022"/>
                  <a:gd name="connsiteY25" fmla="*/ 68611 h 194902"/>
                  <a:gd name="connsiteX26" fmla="*/ 105032 w 190022"/>
                  <a:gd name="connsiteY26" fmla="*/ 68869 h 194902"/>
                  <a:gd name="connsiteX27" fmla="*/ 36845 w 190022"/>
                  <a:gd name="connsiteY27" fmla="*/ 134911 h 194902"/>
                  <a:gd name="connsiteX28" fmla="*/ 35758 w 190022"/>
                  <a:gd name="connsiteY28" fmla="*/ 133478 h 194902"/>
                  <a:gd name="connsiteX29" fmla="*/ 26442 w 190022"/>
                  <a:gd name="connsiteY29" fmla="*/ 116220 h 194902"/>
                  <a:gd name="connsiteX30" fmla="*/ 23103 w 190022"/>
                  <a:gd name="connsiteY30" fmla="*/ 94648 h 194902"/>
                  <a:gd name="connsiteX31" fmla="*/ 88272 w 190022"/>
                  <a:gd name="connsiteY31" fmla="*/ 26593 h 194902"/>
                  <a:gd name="connsiteX32" fmla="*/ 91626 w 190022"/>
                  <a:gd name="connsiteY32" fmla="*/ 26632 h 194902"/>
                  <a:gd name="connsiteX33" fmla="*/ 180170 w 190022"/>
                  <a:gd name="connsiteY33" fmla="*/ 12699 h 194902"/>
                  <a:gd name="connsiteX34" fmla="*/ 120447 w 190022"/>
                  <a:gd name="connsiteY34" fmla="*/ 154601 h 19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90022" h="194902">
                    <a:moveTo>
                      <a:pt x="91621" y="16882"/>
                    </a:moveTo>
                    <a:cubicBezTo>
                      <a:pt x="90490" y="16882"/>
                      <a:pt x="89378" y="16869"/>
                      <a:pt x="88286" y="16843"/>
                    </a:cubicBezTo>
                    <a:cubicBezTo>
                      <a:pt x="46058" y="17696"/>
                      <a:pt x="12515" y="52615"/>
                      <a:pt x="13358" y="94843"/>
                    </a:cubicBezTo>
                    <a:cubicBezTo>
                      <a:pt x="13364" y="103100"/>
                      <a:pt x="14644" y="111307"/>
                      <a:pt x="17150" y="119174"/>
                    </a:cubicBezTo>
                    <a:cubicBezTo>
                      <a:pt x="19586" y="126478"/>
                      <a:pt x="23255" y="133311"/>
                      <a:pt x="27997" y="139376"/>
                    </a:cubicBezTo>
                    <a:lnTo>
                      <a:pt x="29791" y="141741"/>
                    </a:lnTo>
                    <a:lnTo>
                      <a:pt x="25794" y="145641"/>
                    </a:lnTo>
                    <a:cubicBezTo>
                      <a:pt x="7956" y="163868"/>
                      <a:pt x="0" y="177562"/>
                      <a:pt x="0" y="190028"/>
                    </a:cubicBezTo>
                    <a:cubicBezTo>
                      <a:pt x="0" y="192720"/>
                      <a:pt x="2183" y="194903"/>
                      <a:pt x="4875" y="194903"/>
                    </a:cubicBezTo>
                    <a:cubicBezTo>
                      <a:pt x="7567" y="194903"/>
                      <a:pt x="9750" y="192720"/>
                      <a:pt x="9750" y="190028"/>
                    </a:cubicBezTo>
                    <a:cubicBezTo>
                      <a:pt x="9750" y="183992"/>
                      <a:pt x="12134" y="173540"/>
                      <a:pt x="32663" y="152549"/>
                    </a:cubicBezTo>
                    <a:lnTo>
                      <a:pt x="35909" y="149404"/>
                    </a:lnTo>
                    <a:cubicBezTo>
                      <a:pt x="46022" y="161064"/>
                      <a:pt x="59728" y="169027"/>
                      <a:pt x="74865" y="172039"/>
                    </a:cubicBezTo>
                    <a:cubicBezTo>
                      <a:pt x="79228" y="172849"/>
                      <a:pt x="83655" y="173257"/>
                      <a:pt x="88091" y="173258"/>
                    </a:cubicBezTo>
                    <a:lnTo>
                      <a:pt x="88549" y="173258"/>
                    </a:lnTo>
                    <a:cubicBezTo>
                      <a:pt x="101566" y="173257"/>
                      <a:pt x="114335" y="169700"/>
                      <a:pt x="125478" y="162971"/>
                    </a:cubicBezTo>
                    <a:cubicBezTo>
                      <a:pt x="182808" y="129773"/>
                      <a:pt x="190023" y="68640"/>
                      <a:pt x="190023" y="0"/>
                    </a:cubicBezTo>
                    <a:cubicBezTo>
                      <a:pt x="190028" y="-24"/>
                      <a:pt x="131050" y="16882"/>
                      <a:pt x="91621" y="16882"/>
                    </a:cubicBezTo>
                    <a:close/>
                    <a:moveTo>
                      <a:pt x="120447" y="154601"/>
                    </a:moveTo>
                    <a:cubicBezTo>
                      <a:pt x="110826" y="160421"/>
                      <a:pt x="99798" y="163501"/>
                      <a:pt x="88554" y="163508"/>
                    </a:cubicBezTo>
                    <a:lnTo>
                      <a:pt x="88096" y="163508"/>
                    </a:lnTo>
                    <a:cubicBezTo>
                      <a:pt x="84257" y="163506"/>
                      <a:pt x="80425" y="163154"/>
                      <a:pt x="76650" y="162455"/>
                    </a:cubicBezTo>
                    <a:cubicBezTo>
                      <a:pt x="63496" y="159809"/>
                      <a:pt x="51618" y="152807"/>
                      <a:pt x="42934" y="142579"/>
                    </a:cubicBezTo>
                    <a:lnTo>
                      <a:pt x="111808" y="75870"/>
                    </a:lnTo>
                    <a:cubicBezTo>
                      <a:pt x="113813" y="74072"/>
                      <a:pt x="113980" y="70990"/>
                      <a:pt x="112183" y="68986"/>
                    </a:cubicBezTo>
                    <a:cubicBezTo>
                      <a:pt x="110385" y="66981"/>
                      <a:pt x="107303" y="66813"/>
                      <a:pt x="105299" y="68611"/>
                    </a:cubicBezTo>
                    <a:cubicBezTo>
                      <a:pt x="105206" y="68694"/>
                      <a:pt x="105118" y="68779"/>
                      <a:pt x="105032" y="68869"/>
                    </a:cubicBezTo>
                    <a:lnTo>
                      <a:pt x="36845" y="134911"/>
                    </a:lnTo>
                    <a:lnTo>
                      <a:pt x="35758" y="133478"/>
                    </a:lnTo>
                    <a:cubicBezTo>
                      <a:pt x="31693" y="128297"/>
                      <a:pt x="28543" y="122461"/>
                      <a:pt x="26442" y="116220"/>
                    </a:cubicBezTo>
                    <a:cubicBezTo>
                      <a:pt x="24222" y="109245"/>
                      <a:pt x="23096" y="101968"/>
                      <a:pt x="23103" y="94648"/>
                    </a:cubicBezTo>
                    <a:cubicBezTo>
                      <a:pt x="22416" y="57902"/>
                      <a:pt x="51531" y="27498"/>
                      <a:pt x="88272" y="26593"/>
                    </a:cubicBezTo>
                    <a:cubicBezTo>
                      <a:pt x="89373" y="26622"/>
                      <a:pt x="90495" y="26632"/>
                      <a:pt x="91626" y="26632"/>
                    </a:cubicBezTo>
                    <a:cubicBezTo>
                      <a:pt x="121173" y="26632"/>
                      <a:pt x="160363" y="17735"/>
                      <a:pt x="180170" y="12699"/>
                    </a:cubicBezTo>
                    <a:cubicBezTo>
                      <a:pt x="178976" y="79989"/>
                      <a:pt x="167388" y="127433"/>
                      <a:pt x="120447" y="154601"/>
                    </a:cubicBezTo>
                    <a:close/>
                  </a:path>
                </a:pathLst>
              </a:custGeom>
              <a:grpFill/>
              <a:ln w="2121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" name="Ellipse 2">
            <a:extLst>
              <a:ext uri="{FF2B5EF4-FFF2-40B4-BE49-F238E27FC236}">
                <a16:creationId xmlns:a16="http://schemas.microsoft.com/office/drawing/2014/main" id="{56C5BB88-4319-34D2-50C7-69C8E5540B4A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AEDCFA-AD08-8BA8-1B2C-263404CBE1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7" name="shape">
            <a:extLst>
              <a:ext uri="{FF2B5EF4-FFF2-40B4-BE49-F238E27FC236}">
                <a16:creationId xmlns:a16="http://schemas.microsoft.com/office/drawing/2014/main" id="{46674FB7-E657-F8AF-F119-35EE84A99626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13">
              <a:solidFill>
                <a:srgbClr val="FF634D"/>
              </a:solidFill>
            </a:endParaRPr>
          </a:p>
        </p:txBody>
      </p:sp>
      <p:pic>
        <p:nvPicPr>
          <p:cNvPr id="8" name="Picture Placeholder 21">
            <a:extLst>
              <a:ext uri="{FF2B5EF4-FFF2-40B4-BE49-F238E27FC236}">
                <a16:creationId xmlns:a16="http://schemas.microsoft.com/office/drawing/2014/main" id="{EDEC504E-A4F8-57CE-4D83-5769D34B2F76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10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D033150-6CEA-0BF7-C751-261C5E69CDB7}"/>
              </a:ext>
            </a:extLst>
          </p:cNvPr>
          <p:cNvSpPr txBox="1"/>
          <p:nvPr/>
        </p:nvSpPr>
        <p:spPr>
          <a:xfrm>
            <a:off x="550862" y="162252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ts val="1800"/>
              </a:lnSpc>
            </a:pPr>
            <a:r>
              <a:rPr lang="de-DE" sz="700">
                <a:solidFill>
                  <a:schemeClr val="bg1">
                    <a:lumMod val="75000"/>
                  </a:schemeClr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Quelle: Hofmann et al., 2023, Christmann et al., 2024</a:t>
            </a:r>
            <a:endParaRPr lang="de-DE" sz="50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12339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9E53E1-8B38-5E99-AF49-F64711C50F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F7E0D00F-893B-F6FF-6626-F31FB863CC4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999DD2B-E3AB-5FD4-5B9F-9E2D528498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3BCF-C0F1-4720-B5E7-944FE630E67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E1FC5D3-98D8-83C0-15B3-AA4688A6E87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476000"/>
            <a:ext cx="7037149" cy="468000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sz="1600"/>
              <a:t>Warum haben wir diese Studie durchgeführt?</a:t>
            </a:r>
          </a:p>
          <a:p>
            <a:pPr marL="558900" lvl="1" indent="-342900"/>
            <a:r>
              <a:rPr lang="de-DE"/>
              <a:t>Wahrnehmungen hinsichtlich Twin Transformation</a:t>
            </a:r>
          </a:p>
          <a:p>
            <a:pPr marL="558900" lvl="1" indent="-342900"/>
            <a:r>
              <a:rPr lang="de-DE"/>
              <a:t>Hypothesen und Zielsetzung der Umfrage</a:t>
            </a:r>
          </a:p>
          <a:p>
            <a:pPr lvl="1" indent="0">
              <a:buNone/>
            </a:pPr>
            <a:endParaRPr lang="de-DE"/>
          </a:p>
          <a:p>
            <a:pPr marL="342900" indent="-342900">
              <a:buFont typeface="+mj-lt"/>
              <a:buAutoNum type="arabicPeriod"/>
            </a:pPr>
            <a:r>
              <a:rPr lang="de-DE" sz="1600"/>
              <a:t>Was haben wir herausgefunden?</a:t>
            </a:r>
          </a:p>
          <a:p>
            <a:pPr marL="558900" lvl="1" indent="-342900"/>
            <a:r>
              <a:rPr lang="de-DE"/>
              <a:t>Vorgehen: Umfrage und Interviews</a:t>
            </a:r>
          </a:p>
          <a:p>
            <a:pPr marL="558900" lvl="1" indent="-342900"/>
            <a:r>
              <a:rPr lang="de-DE"/>
              <a:t>Zentrale Ergebnisse auf einen Blick</a:t>
            </a:r>
          </a:p>
          <a:p>
            <a:pPr lvl="1" indent="0">
              <a:buNone/>
            </a:pPr>
            <a:endParaRPr lang="de-DE"/>
          </a:p>
          <a:p>
            <a:pPr marL="342900" indent="-342900">
              <a:buFont typeface="+mj-lt"/>
              <a:buAutoNum type="arabicPeriod"/>
            </a:pPr>
            <a:r>
              <a:rPr lang="de-DE" sz="1600"/>
              <a:t>Wie geht es weiter? </a:t>
            </a:r>
          </a:p>
          <a:p>
            <a:pPr marL="558900" lvl="1" indent="-342900"/>
            <a:r>
              <a:rPr lang="de-DE"/>
              <a:t>Erfolgsfaktoren der Twin Transformation</a:t>
            </a:r>
          </a:p>
          <a:p>
            <a:pPr marL="558900" lvl="1" indent="-342900"/>
            <a:r>
              <a:rPr lang="de-DE" err="1"/>
              <a:t>Lessons</a:t>
            </a:r>
            <a:r>
              <a:rPr lang="de-DE"/>
              <a:t> </a:t>
            </a:r>
            <a:r>
              <a:rPr lang="de-DE" err="1"/>
              <a:t>Learned</a:t>
            </a:r>
            <a:r>
              <a:rPr lang="de-DE"/>
              <a:t> aus der Praxis</a:t>
            </a:r>
          </a:p>
          <a:p>
            <a:pPr marL="558900" lvl="1" indent="-342900"/>
            <a:r>
              <a:rPr lang="de-DE"/>
              <a:t>Ausblick und Handlungsempfehlungen für Sie</a:t>
            </a:r>
          </a:p>
          <a:p>
            <a:pPr marL="558900" lvl="1" indent="-342900"/>
            <a:endParaRPr lang="de-DE"/>
          </a:p>
          <a:p>
            <a:pPr marL="342900" marR="0" lvl="0" indent="-342900" algn="l" defTabSz="914400" rtl="0" eaLnBrk="1" fontAlgn="auto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3C4BC8"/>
              </a:buClr>
              <a:buSzPct val="100000"/>
              <a:buFont typeface="+mj-lt"/>
              <a:buAutoNum type="arabicPeriod"/>
              <a:tabLst>
                <a:tab pos="182563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100C2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skussion: Was bedeutet das für Sie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2C9BDE4-B3D2-DA50-E16D-51224262B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EC2F999-1AF4-4A23-5268-6FD7A093A6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E3459AE-AD1C-AF57-03CA-EA9E62655773}"/>
              </a:ext>
            </a:extLst>
          </p:cNvPr>
          <p:cNvGrpSpPr>
            <a:grpSpLocks/>
          </p:cNvGrpSpPr>
          <p:nvPr/>
        </p:nvGrpSpPr>
        <p:grpSpPr>
          <a:xfrm>
            <a:off x="6667853" y="2785683"/>
            <a:ext cx="3791856" cy="2456546"/>
            <a:chOff x="5813322" y="2242049"/>
            <a:chExt cx="5924767" cy="3838352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F7486C73-8D85-AF2F-0E67-48500E9CE857}"/>
                </a:ext>
              </a:extLst>
            </p:cNvPr>
            <p:cNvSpPr/>
            <p:nvPr/>
          </p:nvSpPr>
          <p:spPr>
            <a:xfrm rot="2700000">
              <a:off x="6140798" y="2242048"/>
              <a:ext cx="2843299" cy="2881263"/>
            </a:xfrm>
            <a:prstGeom prst="roundRect">
              <a:avLst>
                <a:gd name="adj" fmla="val 5556"/>
              </a:avLst>
            </a:prstGeom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2700000" scaled="0"/>
            </a:gradFill>
            <a:ln w="9525" cap="flat">
              <a:noFill/>
              <a:prstDash val="solid"/>
              <a:miter/>
            </a:ln>
          </p:spPr>
          <p:txBody>
            <a:bodyPr lIns="0" tIns="0" rIns="0" bIns="0" rtlCol="0" anchor="ctr" anchorCtr="0"/>
            <a:lstStyle/>
            <a:p>
              <a:pPr algn="ctr"/>
              <a:endParaRPr lang="en-US" sz="1100">
                <a:solidFill>
                  <a:schemeClr val="bg1"/>
                </a:solidFill>
              </a:endParaRP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C8E61032-18D8-1AF2-486E-A7FD60DFFF8F}"/>
                </a:ext>
              </a:extLst>
            </p:cNvPr>
            <p:cNvSpPr/>
            <p:nvPr/>
          </p:nvSpPr>
          <p:spPr>
            <a:xfrm rot="18900000" flipH="1">
              <a:off x="8522457" y="2242049"/>
              <a:ext cx="2843299" cy="2881263"/>
            </a:xfrm>
            <a:prstGeom prst="roundRect">
              <a:avLst>
                <a:gd name="adj" fmla="val 5556"/>
              </a:avLst>
            </a:prstGeom>
            <a:gradFill>
              <a:gsLst>
                <a:gs pos="0">
                  <a:srgbClr val="FF4B4B"/>
                </a:gs>
                <a:gs pos="100000">
                  <a:srgbClr val="FF744F"/>
                </a:gs>
              </a:gsLst>
              <a:lin ang="18900000" scaled="0"/>
            </a:gradFill>
            <a:ln w="9525" cap="flat">
              <a:noFill/>
              <a:prstDash val="solid"/>
              <a:miter/>
            </a:ln>
          </p:spPr>
          <p:txBody>
            <a:bodyPr lIns="0" tIns="0" rIns="0" bIns="0" rtlCol="0" anchor="ctr" anchorCtr="0"/>
            <a:lstStyle/>
            <a:p>
              <a:pPr algn="ctr"/>
              <a:endParaRPr lang="en-US" sz="1100">
                <a:solidFill>
                  <a:schemeClr val="bg1"/>
                </a:solidFill>
              </a:endParaRPr>
            </a:p>
          </p:txBody>
        </p:sp>
        <p:sp>
          <p:nvSpPr>
            <p:cNvPr id="11" name="Flussdiagramm: Manuelle Verarbeitung 10">
              <a:extLst>
                <a:ext uri="{FF2B5EF4-FFF2-40B4-BE49-F238E27FC236}">
                  <a16:creationId xmlns:a16="http://schemas.microsoft.com/office/drawing/2014/main" id="{78612172-1686-1D7F-F10E-A4AAB0136531}"/>
                </a:ext>
              </a:extLst>
            </p:cNvPr>
            <p:cNvSpPr/>
            <p:nvPr/>
          </p:nvSpPr>
          <p:spPr>
            <a:xfrm rot="10800000">
              <a:off x="7389613" y="3678504"/>
              <a:ext cx="2725001" cy="2401897"/>
            </a:xfrm>
            <a:prstGeom prst="flowChartManualOperation">
              <a:avLst/>
            </a:prstGeom>
            <a:solidFill>
              <a:schemeClr val="bg1">
                <a:lumMod val="95000"/>
                <a:alpha val="2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58522" tIns="29261" rIns="58522" bIns="29261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6B348D0-009D-0B7B-B0B4-DABAF0E289F9}"/>
                </a:ext>
              </a:extLst>
            </p:cNvPr>
            <p:cNvSpPr/>
            <p:nvPr/>
          </p:nvSpPr>
          <p:spPr>
            <a:xfrm rot="2700000">
              <a:off x="8149001" y="3094617"/>
              <a:ext cx="1207356" cy="1205516"/>
            </a:xfrm>
            <a:prstGeom prst="roundRect">
              <a:avLst>
                <a:gd name="adj" fmla="val 6657"/>
              </a:avLst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30EF8141-78BD-5F78-38A4-2A7E5A7FAE1A}"/>
                </a:ext>
              </a:extLst>
            </p:cNvPr>
            <p:cNvSpPr/>
            <p:nvPr/>
          </p:nvSpPr>
          <p:spPr>
            <a:xfrm rot="2700000">
              <a:off x="8213929" y="3055459"/>
              <a:ext cx="1046003" cy="108107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5242E3AE-6677-CB18-803A-34D48D814AF2}"/>
                </a:ext>
              </a:extLst>
            </p:cNvPr>
            <p:cNvSpPr/>
            <p:nvPr/>
          </p:nvSpPr>
          <p:spPr>
            <a:xfrm rot="2700000">
              <a:off x="8243017" y="3086852"/>
              <a:ext cx="1046003" cy="108595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B6DB28A2-FA77-56EE-E124-0FDB30CD2E63}"/>
                </a:ext>
              </a:extLst>
            </p:cNvPr>
            <p:cNvSpPr/>
            <p:nvPr/>
          </p:nvSpPr>
          <p:spPr>
            <a:xfrm>
              <a:off x="6157405" y="3355551"/>
              <a:ext cx="1762763" cy="486287"/>
            </a:xfrm>
            <a:prstGeom prst="rect">
              <a:avLst/>
            </a:prstGeom>
          </p:spPr>
          <p:txBody>
            <a:bodyPr wrap="square" lIns="58522" tIns="29261" rIns="58522" bIns="29261" anchor="t">
              <a:spAutoFit/>
            </a:bodyPr>
            <a:lstStyle/>
            <a:p>
              <a:pPr marR="0" lvl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24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  <a:t>Nachhaltige </a:t>
              </a:r>
              <a:br>
                <a:rPr kumimoji="0" lang="de-DE" sz="1024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</a:br>
              <a:r>
                <a:rPr kumimoji="0" lang="de-DE" sz="1024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  <a:t>Transformation 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38CDA870-0F6F-A8B1-4799-86AEC9847C84}"/>
                </a:ext>
              </a:extLst>
            </p:cNvPr>
            <p:cNvSpPr/>
            <p:nvPr/>
          </p:nvSpPr>
          <p:spPr>
            <a:xfrm>
              <a:off x="9594828" y="3355551"/>
              <a:ext cx="1762763" cy="486287"/>
            </a:xfrm>
            <a:prstGeom prst="rect">
              <a:avLst/>
            </a:prstGeom>
          </p:spPr>
          <p:txBody>
            <a:bodyPr wrap="square" lIns="58522" tIns="29261" rIns="58522" bIns="29261" anchor="t">
              <a:spAutoFit/>
            </a:bodyPr>
            <a:lstStyle/>
            <a:p>
              <a:pPr marR="0" lvl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24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  <a:t>Digitale </a:t>
              </a:r>
              <a:br>
                <a:rPr kumimoji="0" lang="de-DE" sz="1024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</a:br>
              <a:r>
                <a:rPr kumimoji="0" lang="de-DE" sz="1024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Arial" charset="0"/>
                </a:rPr>
                <a:t>Transformation </a:t>
              </a:r>
              <a:endParaRPr kumimoji="0" lang="de-DE" sz="102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Arial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DC03150C-48C9-9AB6-3E76-C41D92CFCCA9}"/>
                </a:ext>
              </a:extLst>
            </p:cNvPr>
            <p:cNvSpPr/>
            <p:nvPr/>
          </p:nvSpPr>
          <p:spPr>
            <a:xfrm>
              <a:off x="7015267" y="3089341"/>
              <a:ext cx="3443325" cy="770003"/>
            </a:xfrm>
            <a:prstGeom prst="rect">
              <a:avLst/>
            </a:prstGeom>
          </p:spPr>
          <p:txBody>
            <a:bodyPr wrap="square" lIns="58522" tIns="29261" rIns="58522" bIns="29261" anchor="t">
              <a:spAutoFit/>
            </a:bodyPr>
            <a:lstStyle/>
            <a:p>
              <a:pPr algn="ctr" fontAlgn="base">
                <a:lnSpc>
                  <a:spcPts val="1800"/>
                </a:lnSpc>
                <a:buClr>
                  <a:schemeClr val="accent2"/>
                </a:buClr>
                <a:buSzPct val="100000"/>
                <a:buFontTx/>
                <a:buNone/>
                <a:tabLst>
                  <a:tab pos="182563" algn="l"/>
                </a:tabLst>
                <a:defRPr/>
              </a:pPr>
              <a:r>
                <a:rPr lang="en-US" sz="1024">
                  <a:latin typeface="Segoe UI Semibold" panose="020B0502040204020203" pitchFamily="34" charset="0"/>
                  <a:cs typeface="Segoe UI Semibold" panose="020B0502040204020203" pitchFamily="34" charset="0"/>
                </a:rPr>
                <a:t>Twin</a:t>
              </a:r>
            </a:p>
            <a:p>
              <a:pPr algn="ctr" fontAlgn="base">
                <a:lnSpc>
                  <a:spcPts val="1800"/>
                </a:lnSpc>
                <a:buClr>
                  <a:schemeClr val="accent2"/>
                </a:buClr>
                <a:buSzPct val="100000"/>
                <a:buFontTx/>
                <a:buNone/>
                <a:tabLst>
                  <a:tab pos="182563" algn="l"/>
                </a:tabLst>
                <a:defRPr/>
              </a:pPr>
              <a:r>
                <a:rPr lang="en-US" sz="1024">
                  <a:latin typeface="Segoe UI Semibold" panose="020B0502040204020203" pitchFamily="34" charset="0"/>
                  <a:cs typeface="Segoe UI Semibold" panose="020B0502040204020203" pitchFamily="34" charset="0"/>
                </a:rPr>
                <a:t>Transformation</a:t>
              </a: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B531BD63-F47B-44AF-F148-E26BB3AA2789}"/>
                </a:ext>
              </a:extLst>
            </p:cNvPr>
            <p:cNvGrpSpPr/>
            <p:nvPr/>
          </p:nvGrpSpPr>
          <p:grpSpPr>
            <a:xfrm>
              <a:off x="11289350" y="3482916"/>
              <a:ext cx="448739" cy="399543"/>
              <a:chOff x="3610708" y="3475398"/>
              <a:chExt cx="376761" cy="339933"/>
            </a:xfrm>
            <a:solidFill>
              <a:schemeClr val="bg1"/>
            </a:solidFill>
          </p:grpSpPr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868DA2F9-1ABA-6BA0-70BF-19BB855141F8}"/>
                  </a:ext>
                </a:extLst>
              </p:cNvPr>
              <p:cNvSpPr/>
              <p:nvPr/>
            </p:nvSpPr>
            <p:spPr>
              <a:xfrm>
                <a:off x="3643440" y="3524562"/>
                <a:ext cx="81928" cy="90648"/>
              </a:xfrm>
              <a:custGeom>
                <a:avLst/>
                <a:gdLst>
                  <a:gd name="connsiteX0" fmla="*/ 24413 w 97538"/>
                  <a:gd name="connsiteY0" fmla="*/ 48756 h 107919"/>
                  <a:gd name="connsiteX1" fmla="*/ 46721 w 97538"/>
                  <a:gd name="connsiteY1" fmla="*/ 34131 h 107919"/>
                  <a:gd name="connsiteX2" fmla="*/ 68288 w 97538"/>
                  <a:gd name="connsiteY2" fmla="*/ 34131 h 107919"/>
                  <a:gd name="connsiteX3" fmla="*/ 78038 w 97538"/>
                  <a:gd name="connsiteY3" fmla="*/ 43881 h 107919"/>
                  <a:gd name="connsiteX4" fmla="*/ 78038 w 97538"/>
                  <a:gd name="connsiteY4" fmla="*/ 107919 h 107919"/>
                  <a:gd name="connsiteX5" fmla="*/ 93472 w 97538"/>
                  <a:gd name="connsiteY5" fmla="*/ 104385 h 107919"/>
                  <a:gd name="connsiteX6" fmla="*/ 97538 w 97538"/>
                  <a:gd name="connsiteY6" fmla="*/ 91710 h 107919"/>
                  <a:gd name="connsiteX7" fmla="*/ 97538 w 97538"/>
                  <a:gd name="connsiteY7" fmla="*/ 43881 h 107919"/>
                  <a:gd name="connsiteX8" fmla="*/ 68288 w 97538"/>
                  <a:gd name="connsiteY8" fmla="*/ 14631 h 107919"/>
                  <a:gd name="connsiteX9" fmla="*/ 46721 w 97538"/>
                  <a:gd name="connsiteY9" fmla="*/ 14631 h 107919"/>
                  <a:gd name="connsiteX10" fmla="*/ 14631 w 97538"/>
                  <a:gd name="connsiteY10" fmla="*/ 2041 h 107919"/>
                  <a:gd name="connsiteX11" fmla="*/ 2041 w 97538"/>
                  <a:gd name="connsiteY11" fmla="*/ 34131 h 107919"/>
                  <a:gd name="connsiteX12" fmla="*/ 24413 w 97538"/>
                  <a:gd name="connsiteY12" fmla="*/ 48756 h 107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7538" h="107919">
                    <a:moveTo>
                      <a:pt x="24413" y="48756"/>
                    </a:moveTo>
                    <a:cubicBezTo>
                      <a:pt x="34093" y="48743"/>
                      <a:pt x="42849" y="43003"/>
                      <a:pt x="46721" y="34131"/>
                    </a:cubicBezTo>
                    <a:lnTo>
                      <a:pt x="68288" y="34131"/>
                    </a:lnTo>
                    <a:cubicBezTo>
                      <a:pt x="73673" y="34131"/>
                      <a:pt x="78038" y="38496"/>
                      <a:pt x="78038" y="43881"/>
                    </a:cubicBezTo>
                    <a:lnTo>
                      <a:pt x="78038" y="107919"/>
                    </a:lnTo>
                    <a:cubicBezTo>
                      <a:pt x="83011" y="106087"/>
                      <a:pt x="88198" y="104899"/>
                      <a:pt x="93472" y="104385"/>
                    </a:cubicBezTo>
                    <a:cubicBezTo>
                      <a:pt x="94420" y="100040"/>
                      <a:pt x="95781" y="95795"/>
                      <a:pt x="97538" y="91710"/>
                    </a:cubicBezTo>
                    <a:lnTo>
                      <a:pt x="97538" y="43881"/>
                    </a:lnTo>
                    <a:cubicBezTo>
                      <a:pt x="97519" y="27735"/>
                      <a:pt x="84435" y="14650"/>
                      <a:pt x="68288" y="14631"/>
                    </a:cubicBezTo>
                    <a:lnTo>
                      <a:pt x="46721" y="14631"/>
                    </a:lnTo>
                    <a:cubicBezTo>
                      <a:pt x="41336" y="2293"/>
                      <a:pt x="26969" y="-3343"/>
                      <a:pt x="14631" y="2041"/>
                    </a:cubicBezTo>
                    <a:cubicBezTo>
                      <a:pt x="2293" y="7426"/>
                      <a:pt x="-3344" y="21793"/>
                      <a:pt x="2041" y="34131"/>
                    </a:cubicBezTo>
                    <a:cubicBezTo>
                      <a:pt x="5923" y="43025"/>
                      <a:pt x="14709" y="48769"/>
                      <a:pt x="24413" y="48756"/>
                    </a:cubicBez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7D816E77-29C6-9F74-0FFC-F082BB9069C7}"/>
                  </a:ext>
                </a:extLst>
              </p:cNvPr>
              <p:cNvSpPr/>
              <p:nvPr/>
            </p:nvSpPr>
            <p:spPr>
              <a:xfrm>
                <a:off x="3610708" y="3614621"/>
                <a:ext cx="80369" cy="86023"/>
              </a:xfrm>
              <a:custGeom>
                <a:avLst/>
                <a:gdLst>
                  <a:gd name="connsiteX0" fmla="*/ 82345 w 95682"/>
                  <a:gd name="connsiteY0" fmla="*/ 84273 h 102413"/>
                  <a:gd name="connsiteX1" fmla="*/ 81745 w 95682"/>
                  <a:gd name="connsiteY1" fmla="*/ 82913 h 102413"/>
                  <a:gd name="connsiteX2" fmla="*/ 43881 w 95682"/>
                  <a:gd name="connsiteY2" fmla="*/ 82913 h 102413"/>
                  <a:gd name="connsiteX3" fmla="*/ 34131 w 95682"/>
                  <a:gd name="connsiteY3" fmla="*/ 73163 h 102413"/>
                  <a:gd name="connsiteX4" fmla="*/ 34131 w 95682"/>
                  <a:gd name="connsiteY4" fmla="*/ 46721 h 102413"/>
                  <a:gd name="connsiteX5" fmla="*/ 46721 w 95682"/>
                  <a:gd name="connsiteY5" fmla="*/ 14631 h 102413"/>
                  <a:gd name="connsiteX6" fmla="*/ 14631 w 95682"/>
                  <a:gd name="connsiteY6" fmla="*/ 2041 h 102413"/>
                  <a:gd name="connsiteX7" fmla="*/ 2041 w 95682"/>
                  <a:gd name="connsiteY7" fmla="*/ 34131 h 102413"/>
                  <a:gd name="connsiteX8" fmla="*/ 14631 w 95682"/>
                  <a:gd name="connsiteY8" fmla="*/ 46721 h 102413"/>
                  <a:gd name="connsiteX9" fmla="*/ 14631 w 95682"/>
                  <a:gd name="connsiteY9" fmla="*/ 73163 h 102413"/>
                  <a:gd name="connsiteX10" fmla="*/ 43881 w 95682"/>
                  <a:gd name="connsiteY10" fmla="*/ 102413 h 102413"/>
                  <a:gd name="connsiteX11" fmla="*/ 95683 w 95682"/>
                  <a:gd name="connsiteY11" fmla="*/ 102413 h 102413"/>
                  <a:gd name="connsiteX12" fmla="*/ 82345 w 95682"/>
                  <a:gd name="connsiteY12" fmla="*/ 84273 h 102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682" h="102413">
                    <a:moveTo>
                      <a:pt x="82345" y="84273"/>
                    </a:moveTo>
                    <a:cubicBezTo>
                      <a:pt x="82126" y="83820"/>
                      <a:pt x="81950" y="83362"/>
                      <a:pt x="81745" y="82913"/>
                    </a:cubicBezTo>
                    <a:lnTo>
                      <a:pt x="43881" y="82913"/>
                    </a:lnTo>
                    <a:cubicBezTo>
                      <a:pt x="38496" y="82913"/>
                      <a:pt x="34131" y="78548"/>
                      <a:pt x="34131" y="73163"/>
                    </a:cubicBezTo>
                    <a:lnTo>
                      <a:pt x="34131" y="46721"/>
                    </a:lnTo>
                    <a:cubicBezTo>
                      <a:pt x="46469" y="41336"/>
                      <a:pt x="52106" y="26969"/>
                      <a:pt x="46721" y="14631"/>
                    </a:cubicBezTo>
                    <a:cubicBezTo>
                      <a:pt x="41336" y="2293"/>
                      <a:pt x="26969" y="-3343"/>
                      <a:pt x="14631" y="2041"/>
                    </a:cubicBezTo>
                    <a:cubicBezTo>
                      <a:pt x="2293" y="7426"/>
                      <a:pt x="-3344" y="21793"/>
                      <a:pt x="2041" y="34131"/>
                    </a:cubicBezTo>
                    <a:cubicBezTo>
                      <a:pt x="4500" y="39765"/>
                      <a:pt x="8997" y="44262"/>
                      <a:pt x="14631" y="46721"/>
                    </a:cubicBezTo>
                    <a:lnTo>
                      <a:pt x="14631" y="73163"/>
                    </a:lnTo>
                    <a:cubicBezTo>
                      <a:pt x="14650" y="89310"/>
                      <a:pt x="27735" y="102394"/>
                      <a:pt x="43881" y="102413"/>
                    </a:cubicBezTo>
                    <a:lnTo>
                      <a:pt x="95683" y="102413"/>
                    </a:lnTo>
                    <a:cubicBezTo>
                      <a:pt x="90147" y="97249"/>
                      <a:pt x="85624" y="91097"/>
                      <a:pt x="82345" y="84273"/>
                    </a:cubicBez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4421785C-04CD-4254-E45E-5936EDCD2C6E}"/>
                  </a:ext>
                </a:extLst>
              </p:cNvPr>
              <p:cNvSpPr/>
              <p:nvPr/>
            </p:nvSpPr>
            <p:spPr>
              <a:xfrm>
                <a:off x="3770406" y="3475398"/>
                <a:ext cx="40958" cy="93139"/>
              </a:xfrm>
              <a:custGeom>
                <a:avLst/>
                <a:gdLst>
                  <a:gd name="connsiteX0" fmla="*/ 14631 w 48762"/>
                  <a:gd name="connsiteY0" fmla="*/ 46721 h 110885"/>
                  <a:gd name="connsiteX1" fmla="*/ 14631 w 48762"/>
                  <a:gd name="connsiteY1" fmla="*/ 107444 h 110885"/>
                  <a:gd name="connsiteX2" fmla="*/ 34131 w 48762"/>
                  <a:gd name="connsiteY2" fmla="*/ 110886 h 110885"/>
                  <a:gd name="connsiteX3" fmla="*/ 34131 w 48762"/>
                  <a:gd name="connsiteY3" fmla="*/ 46721 h 110885"/>
                  <a:gd name="connsiteX4" fmla="*/ 46721 w 48762"/>
                  <a:gd name="connsiteY4" fmla="*/ 14631 h 110885"/>
                  <a:gd name="connsiteX5" fmla="*/ 14631 w 48762"/>
                  <a:gd name="connsiteY5" fmla="*/ 2041 h 110885"/>
                  <a:gd name="connsiteX6" fmla="*/ 2041 w 48762"/>
                  <a:gd name="connsiteY6" fmla="*/ 34131 h 110885"/>
                  <a:gd name="connsiteX7" fmla="*/ 14631 w 48762"/>
                  <a:gd name="connsiteY7" fmla="*/ 46721 h 11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62" h="110885">
                    <a:moveTo>
                      <a:pt x="14631" y="46721"/>
                    </a:moveTo>
                    <a:lnTo>
                      <a:pt x="14631" y="107444"/>
                    </a:lnTo>
                    <a:cubicBezTo>
                      <a:pt x="21259" y="107686"/>
                      <a:pt x="27821" y="108844"/>
                      <a:pt x="34131" y="110886"/>
                    </a:cubicBezTo>
                    <a:lnTo>
                      <a:pt x="34131" y="46721"/>
                    </a:lnTo>
                    <a:cubicBezTo>
                      <a:pt x="46469" y="41336"/>
                      <a:pt x="52106" y="26969"/>
                      <a:pt x="46721" y="14631"/>
                    </a:cubicBezTo>
                    <a:cubicBezTo>
                      <a:pt x="41336" y="2293"/>
                      <a:pt x="26969" y="-3344"/>
                      <a:pt x="14631" y="2041"/>
                    </a:cubicBezTo>
                    <a:cubicBezTo>
                      <a:pt x="2293" y="7426"/>
                      <a:pt x="-3343" y="21793"/>
                      <a:pt x="2041" y="34131"/>
                    </a:cubicBezTo>
                    <a:cubicBezTo>
                      <a:pt x="4500" y="39765"/>
                      <a:pt x="8997" y="44262"/>
                      <a:pt x="14631" y="46721"/>
                    </a:cubicBez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4F775C59-5356-2CEC-54E2-9E14CA5F0064}"/>
                  </a:ext>
                </a:extLst>
              </p:cNvPr>
              <p:cNvSpPr/>
              <p:nvPr/>
            </p:nvSpPr>
            <p:spPr>
              <a:xfrm>
                <a:off x="3852308" y="3508155"/>
                <a:ext cx="85996" cy="92247"/>
              </a:xfrm>
              <a:custGeom>
                <a:avLst/>
                <a:gdLst>
                  <a:gd name="connsiteX0" fmla="*/ 15893 w 102381"/>
                  <a:gd name="connsiteY0" fmla="*/ 107045 h 109823"/>
                  <a:gd name="connsiteX1" fmla="*/ 19500 w 102381"/>
                  <a:gd name="connsiteY1" fmla="*/ 109823 h 109823"/>
                  <a:gd name="connsiteX2" fmla="*/ 19500 w 102381"/>
                  <a:gd name="connsiteY2" fmla="*/ 92663 h 109823"/>
                  <a:gd name="connsiteX3" fmla="*/ 29250 w 102381"/>
                  <a:gd name="connsiteY3" fmla="*/ 82913 h 109823"/>
                  <a:gd name="connsiteX4" fmla="*/ 58500 w 102381"/>
                  <a:gd name="connsiteY4" fmla="*/ 82913 h 109823"/>
                  <a:gd name="connsiteX5" fmla="*/ 87750 w 102381"/>
                  <a:gd name="connsiteY5" fmla="*/ 53663 h 109823"/>
                  <a:gd name="connsiteX6" fmla="*/ 87750 w 102381"/>
                  <a:gd name="connsiteY6" fmla="*/ 46721 h 109823"/>
                  <a:gd name="connsiteX7" fmla="*/ 100340 w 102381"/>
                  <a:gd name="connsiteY7" fmla="*/ 14631 h 109823"/>
                  <a:gd name="connsiteX8" fmla="*/ 68250 w 102381"/>
                  <a:gd name="connsiteY8" fmla="*/ 2041 h 109823"/>
                  <a:gd name="connsiteX9" fmla="*/ 55660 w 102381"/>
                  <a:gd name="connsiteY9" fmla="*/ 34131 h 109823"/>
                  <a:gd name="connsiteX10" fmla="*/ 68250 w 102381"/>
                  <a:gd name="connsiteY10" fmla="*/ 46721 h 109823"/>
                  <a:gd name="connsiteX11" fmla="*/ 68250 w 102381"/>
                  <a:gd name="connsiteY11" fmla="*/ 53663 h 109823"/>
                  <a:gd name="connsiteX12" fmla="*/ 58500 w 102381"/>
                  <a:gd name="connsiteY12" fmla="*/ 63413 h 109823"/>
                  <a:gd name="connsiteX13" fmla="*/ 29250 w 102381"/>
                  <a:gd name="connsiteY13" fmla="*/ 63413 h 109823"/>
                  <a:gd name="connsiteX14" fmla="*/ 0 w 102381"/>
                  <a:gd name="connsiteY14" fmla="*/ 92663 h 109823"/>
                  <a:gd name="connsiteX15" fmla="*/ 0 w 102381"/>
                  <a:gd name="connsiteY15" fmla="*/ 99079 h 109823"/>
                  <a:gd name="connsiteX16" fmla="*/ 15893 w 102381"/>
                  <a:gd name="connsiteY16" fmla="*/ 107045 h 10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2381" h="109823">
                    <a:moveTo>
                      <a:pt x="15893" y="107045"/>
                    </a:moveTo>
                    <a:cubicBezTo>
                      <a:pt x="17140" y="107922"/>
                      <a:pt x="18330" y="108868"/>
                      <a:pt x="19500" y="109823"/>
                    </a:cubicBezTo>
                    <a:lnTo>
                      <a:pt x="19500" y="92663"/>
                    </a:lnTo>
                    <a:cubicBezTo>
                      <a:pt x="19500" y="87278"/>
                      <a:pt x="23865" y="82913"/>
                      <a:pt x="29250" y="82913"/>
                    </a:cubicBezTo>
                    <a:lnTo>
                      <a:pt x="58500" y="82913"/>
                    </a:lnTo>
                    <a:cubicBezTo>
                      <a:pt x="74647" y="82894"/>
                      <a:pt x="87731" y="69810"/>
                      <a:pt x="87750" y="53663"/>
                    </a:cubicBezTo>
                    <a:lnTo>
                      <a:pt x="87750" y="46721"/>
                    </a:lnTo>
                    <a:cubicBezTo>
                      <a:pt x="100088" y="41336"/>
                      <a:pt x="105725" y="26969"/>
                      <a:pt x="100340" y="14631"/>
                    </a:cubicBezTo>
                    <a:cubicBezTo>
                      <a:pt x="94955" y="2293"/>
                      <a:pt x="80588" y="-3343"/>
                      <a:pt x="68250" y="2041"/>
                    </a:cubicBezTo>
                    <a:cubicBezTo>
                      <a:pt x="55912" y="7426"/>
                      <a:pt x="50275" y="21793"/>
                      <a:pt x="55660" y="34131"/>
                    </a:cubicBezTo>
                    <a:cubicBezTo>
                      <a:pt x="58119" y="39765"/>
                      <a:pt x="62616" y="44262"/>
                      <a:pt x="68250" y="46721"/>
                    </a:cubicBezTo>
                    <a:lnTo>
                      <a:pt x="68250" y="53663"/>
                    </a:lnTo>
                    <a:cubicBezTo>
                      <a:pt x="68250" y="59048"/>
                      <a:pt x="63885" y="63413"/>
                      <a:pt x="58500" y="63413"/>
                    </a:cubicBezTo>
                    <a:lnTo>
                      <a:pt x="29250" y="63413"/>
                    </a:lnTo>
                    <a:cubicBezTo>
                      <a:pt x="13103" y="63429"/>
                      <a:pt x="16" y="76516"/>
                      <a:pt x="0" y="92663"/>
                    </a:cubicBezTo>
                    <a:lnTo>
                      <a:pt x="0" y="99079"/>
                    </a:lnTo>
                    <a:cubicBezTo>
                      <a:pt x="5654" y="100955"/>
                      <a:pt x="11006" y="103638"/>
                      <a:pt x="15893" y="107045"/>
                    </a:cubicBez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74B95A36-4B61-4871-C825-799C00F6EF27}"/>
                  </a:ext>
                </a:extLst>
              </p:cNvPr>
              <p:cNvSpPr/>
              <p:nvPr/>
            </p:nvSpPr>
            <p:spPr>
              <a:xfrm>
                <a:off x="3672130" y="3714804"/>
                <a:ext cx="85996" cy="88242"/>
              </a:xfrm>
              <a:custGeom>
                <a:avLst/>
                <a:gdLst>
                  <a:gd name="connsiteX0" fmla="*/ 82881 w 102381"/>
                  <a:gd name="connsiteY0" fmla="*/ 0 h 105055"/>
                  <a:gd name="connsiteX1" fmla="*/ 82881 w 102381"/>
                  <a:gd name="connsiteY1" fmla="*/ 12392 h 105055"/>
                  <a:gd name="connsiteX2" fmla="*/ 73131 w 102381"/>
                  <a:gd name="connsiteY2" fmla="*/ 22142 h 105055"/>
                  <a:gd name="connsiteX3" fmla="*/ 43881 w 102381"/>
                  <a:gd name="connsiteY3" fmla="*/ 22142 h 105055"/>
                  <a:gd name="connsiteX4" fmla="*/ 14631 w 102381"/>
                  <a:gd name="connsiteY4" fmla="*/ 51392 h 105055"/>
                  <a:gd name="connsiteX5" fmla="*/ 14631 w 102381"/>
                  <a:gd name="connsiteY5" fmla="*/ 58334 h 105055"/>
                  <a:gd name="connsiteX6" fmla="*/ 2041 w 102381"/>
                  <a:gd name="connsiteY6" fmla="*/ 90424 h 105055"/>
                  <a:gd name="connsiteX7" fmla="*/ 34131 w 102381"/>
                  <a:gd name="connsiteY7" fmla="*/ 103014 h 105055"/>
                  <a:gd name="connsiteX8" fmla="*/ 46721 w 102381"/>
                  <a:gd name="connsiteY8" fmla="*/ 70924 h 105055"/>
                  <a:gd name="connsiteX9" fmla="*/ 34131 w 102381"/>
                  <a:gd name="connsiteY9" fmla="*/ 58334 h 105055"/>
                  <a:gd name="connsiteX10" fmla="*/ 34131 w 102381"/>
                  <a:gd name="connsiteY10" fmla="*/ 51392 h 105055"/>
                  <a:gd name="connsiteX11" fmla="*/ 43881 w 102381"/>
                  <a:gd name="connsiteY11" fmla="*/ 41642 h 105055"/>
                  <a:gd name="connsiteX12" fmla="*/ 73131 w 102381"/>
                  <a:gd name="connsiteY12" fmla="*/ 41642 h 105055"/>
                  <a:gd name="connsiteX13" fmla="*/ 102381 w 102381"/>
                  <a:gd name="connsiteY13" fmla="*/ 12392 h 105055"/>
                  <a:gd name="connsiteX14" fmla="*/ 102381 w 102381"/>
                  <a:gd name="connsiteY14" fmla="*/ 0 h 105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381" h="105055">
                    <a:moveTo>
                      <a:pt x="82881" y="0"/>
                    </a:moveTo>
                    <a:lnTo>
                      <a:pt x="82881" y="12392"/>
                    </a:lnTo>
                    <a:cubicBezTo>
                      <a:pt x="82881" y="17777"/>
                      <a:pt x="78516" y="22142"/>
                      <a:pt x="73131" y="22142"/>
                    </a:cubicBezTo>
                    <a:lnTo>
                      <a:pt x="43881" y="22142"/>
                    </a:lnTo>
                    <a:cubicBezTo>
                      <a:pt x="27734" y="22158"/>
                      <a:pt x="14647" y="35245"/>
                      <a:pt x="14631" y="51392"/>
                    </a:cubicBezTo>
                    <a:lnTo>
                      <a:pt x="14631" y="58334"/>
                    </a:lnTo>
                    <a:cubicBezTo>
                      <a:pt x="2293" y="63719"/>
                      <a:pt x="-3343" y="78086"/>
                      <a:pt x="2041" y="90424"/>
                    </a:cubicBezTo>
                    <a:cubicBezTo>
                      <a:pt x="7426" y="102763"/>
                      <a:pt x="21793" y="108399"/>
                      <a:pt x="34131" y="103014"/>
                    </a:cubicBezTo>
                    <a:cubicBezTo>
                      <a:pt x="46469" y="97630"/>
                      <a:pt x="52106" y="83263"/>
                      <a:pt x="46721" y="70924"/>
                    </a:cubicBezTo>
                    <a:cubicBezTo>
                      <a:pt x="44262" y="65290"/>
                      <a:pt x="39765" y="60793"/>
                      <a:pt x="34131" y="58334"/>
                    </a:cubicBezTo>
                    <a:lnTo>
                      <a:pt x="34131" y="51392"/>
                    </a:lnTo>
                    <a:cubicBezTo>
                      <a:pt x="34131" y="46007"/>
                      <a:pt x="38496" y="41642"/>
                      <a:pt x="43881" y="41642"/>
                    </a:cubicBezTo>
                    <a:lnTo>
                      <a:pt x="73131" y="41642"/>
                    </a:lnTo>
                    <a:cubicBezTo>
                      <a:pt x="89278" y="41623"/>
                      <a:pt x="102362" y="28539"/>
                      <a:pt x="102381" y="12392"/>
                    </a:cubicBezTo>
                    <a:lnTo>
                      <a:pt x="102381" y="0"/>
                    </a:ln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7F6297BA-DAAB-7264-ADDA-CFF4943F1D14}"/>
                  </a:ext>
                </a:extLst>
              </p:cNvPr>
              <p:cNvSpPr/>
              <p:nvPr/>
            </p:nvSpPr>
            <p:spPr>
              <a:xfrm>
                <a:off x="3907633" y="3626938"/>
                <a:ext cx="79836" cy="40953"/>
              </a:xfrm>
              <a:custGeom>
                <a:avLst/>
                <a:gdLst>
                  <a:gd name="connsiteX0" fmla="*/ 70634 w 95047"/>
                  <a:gd name="connsiteY0" fmla="*/ 0 h 48756"/>
                  <a:gd name="connsiteX1" fmla="*/ 48326 w 95047"/>
                  <a:gd name="connsiteY1" fmla="*/ 14625 h 48756"/>
                  <a:gd name="connsiteX2" fmla="*/ 0 w 95047"/>
                  <a:gd name="connsiteY2" fmla="*/ 14625 h 48756"/>
                  <a:gd name="connsiteX3" fmla="*/ 13479 w 95047"/>
                  <a:gd name="connsiteY3" fmla="*/ 34125 h 48756"/>
                  <a:gd name="connsiteX4" fmla="*/ 48326 w 95047"/>
                  <a:gd name="connsiteY4" fmla="*/ 34125 h 48756"/>
                  <a:gd name="connsiteX5" fmla="*/ 80416 w 95047"/>
                  <a:gd name="connsiteY5" fmla="*/ 46715 h 48756"/>
                  <a:gd name="connsiteX6" fmla="*/ 93006 w 95047"/>
                  <a:gd name="connsiteY6" fmla="*/ 14625 h 48756"/>
                  <a:gd name="connsiteX7" fmla="*/ 70634 w 95047"/>
                  <a:gd name="connsiteY7" fmla="*/ 0 h 48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47" h="48756">
                    <a:moveTo>
                      <a:pt x="70634" y="0"/>
                    </a:moveTo>
                    <a:cubicBezTo>
                      <a:pt x="60954" y="13"/>
                      <a:pt x="52198" y="5753"/>
                      <a:pt x="48326" y="14625"/>
                    </a:cubicBezTo>
                    <a:lnTo>
                      <a:pt x="0" y="14625"/>
                    </a:lnTo>
                    <a:cubicBezTo>
                      <a:pt x="5934" y="20001"/>
                      <a:pt x="10548" y="26674"/>
                      <a:pt x="13479" y="34125"/>
                    </a:cubicBezTo>
                    <a:lnTo>
                      <a:pt x="48326" y="34125"/>
                    </a:lnTo>
                    <a:cubicBezTo>
                      <a:pt x="53711" y="46463"/>
                      <a:pt x="68078" y="52100"/>
                      <a:pt x="80416" y="46715"/>
                    </a:cubicBezTo>
                    <a:cubicBezTo>
                      <a:pt x="92754" y="41330"/>
                      <a:pt x="98391" y="26963"/>
                      <a:pt x="93006" y="14625"/>
                    </a:cubicBezTo>
                    <a:cubicBezTo>
                      <a:pt x="89125" y="5732"/>
                      <a:pt x="80338" y="-13"/>
                      <a:pt x="70634" y="0"/>
                    </a:cubicBez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7197802C-D13F-0CC0-E323-3473E4533D18}"/>
                  </a:ext>
                </a:extLst>
              </p:cNvPr>
              <p:cNvSpPr/>
              <p:nvPr/>
            </p:nvSpPr>
            <p:spPr>
              <a:xfrm>
                <a:off x="3868688" y="3714186"/>
                <a:ext cx="81928" cy="64265"/>
              </a:xfrm>
              <a:custGeom>
                <a:avLst/>
                <a:gdLst>
                  <a:gd name="connsiteX0" fmla="*/ 73125 w 97538"/>
                  <a:gd name="connsiteY0" fmla="*/ 27753 h 76509"/>
                  <a:gd name="connsiteX1" fmla="*/ 50817 w 97538"/>
                  <a:gd name="connsiteY1" fmla="*/ 42378 h 76509"/>
                  <a:gd name="connsiteX2" fmla="*/ 29250 w 97538"/>
                  <a:gd name="connsiteY2" fmla="*/ 42378 h 76509"/>
                  <a:gd name="connsiteX3" fmla="*/ 19500 w 97538"/>
                  <a:gd name="connsiteY3" fmla="*/ 32628 h 76509"/>
                  <a:gd name="connsiteX4" fmla="*/ 19500 w 97538"/>
                  <a:gd name="connsiteY4" fmla="*/ 0 h 76509"/>
                  <a:gd name="connsiteX5" fmla="*/ 11071 w 97538"/>
                  <a:gd name="connsiteY5" fmla="*/ 736 h 76509"/>
                  <a:gd name="connsiteX6" fmla="*/ 0 w 97538"/>
                  <a:gd name="connsiteY6" fmla="*/ 736 h 76509"/>
                  <a:gd name="connsiteX7" fmla="*/ 0 w 97538"/>
                  <a:gd name="connsiteY7" fmla="*/ 32628 h 76509"/>
                  <a:gd name="connsiteX8" fmla="*/ 29250 w 97538"/>
                  <a:gd name="connsiteY8" fmla="*/ 61878 h 76509"/>
                  <a:gd name="connsiteX9" fmla="*/ 50817 w 97538"/>
                  <a:gd name="connsiteY9" fmla="*/ 61878 h 76509"/>
                  <a:gd name="connsiteX10" fmla="*/ 82907 w 97538"/>
                  <a:gd name="connsiteY10" fmla="*/ 74469 h 76509"/>
                  <a:gd name="connsiteX11" fmla="*/ 95497 w 97538"/>
                  <a:gd name="connsiteY11" fmla="*/ 42378 h 76509"/>
                  <a:gd name="connsiteX12" fmla="*/ 73125 w 97538"/>
                  <a:gd name="connsiteY12" fmla="*/ 27753 h 7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7538" h="76509">
                    <a:moveTo>
                      <a:pt x="73125" y="27753"/>
                    </a:moveTo>
                    <a:cubicBezTo>
                      <a:pt x="63445" y="27766"/>
                      <a:pt x="54689" y="33506"/>
                      <a:pt x="50817" y="42378"/>
                    </a:cubicBezTo>
                    <a:lnTo>
                      <a:pt x="29250" y="42378"/>
                    </a:lnTo>
                    <a:cubicBezTo>
                      <a:pt x="23865" y="42378"/>
                      <a:pt x="19500" y="38013"/>
                      <a:pt x="19500" y="32628"/>
                    </a:cubicBezTo>
                    <a:lnTo>
                      <a:pt x="19500" y="0"/>
                    </a:lnTo>
                    <a:cubicBezTo>
                      <a:pt x="16715" y="473"/>
                      <a:pt x="13896" y="719"/>
                      <a:pt x="11071" y="736"/>
                    </a:cubicBezTo>
                    <a:lnTo>
                      <a:pt x="0" y="736"/>
                    </a:lnTo>
                    <a:lnTo>
                      <a:pt x="0" y="32628"/>
                    </a:lnTo>
                    <a:cubicBezTo>
                      <a:pt x="19" y="48775"/>
                      <a:pt x="13103" y="61859"/>
                      <a:pt x="29250" y="61878"/>
                    </a:cubicBezTo>
                    <a:lnTo>
                      <a:pt x="50817" y="61878"/>
                    </a:lnTo>
                    <a:cubicBezTo>
                      <a:pt x="56202" y="74217"/>
                      <a:pt x="70569" y="79853"/>
                      <a:pt x="82907" y="74469"/>
                    </a:cubicBezTo>
                    <a:cubicBezTo>
                      <a:pt x="95245" y="69084"/>
                      <a:pt x="100882" y="54717"/>
                      <a:pt x="95497" y="42378"/>
                    </a:cubicBezTo>
                    <a:cubicBezTo>
                      <a:pt x="91616" y="33485"/>
                      <a:pt x="82829" y="27741"/>
                      <a:pt x="73125" y="27753"/>
                    </a:cubicBez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121DFBC0-27D2-6448-976F-E3A2ED8ADDD6}"/>
                  </a:ext>
                </a:extLst>
              </p:cNvPr>
              <p:cNvSpPr/>
              <p:nvPr/>
            </p:nvSpPr>
            <p:spPr>
              <a:xfrm>
                <a:off x="3790880" y="3714804"/>
                <a:ext cx="40958" cy="100527"/>
              </a:xfrm>
              <a:custGeom>
                <a:avLst/>
                <a:gdLst>
                  <a:gd name="connsiteX0" fmla="*/ 34131 w 48762"/>
                  <a:gd name="connsiteY0" fmla="*/ 72959 h 119680"/>
                  <a:gd name="connsiteX1" fmla="*/ 34131 w 48762"/>
                  <a:gd name="connsiteY1" fmla="*/ 0 h 119680"/>
                  <a:gd name="connsiteX2" fmla="*/ 14631 w 48762"/>
                  <a:gd name="connsiteY2" fmla="*/ 0 h 119680"/>
                  <a:gd name="connsiteX3" fmla="*/ 14631 w 48762"/>
                  <a:gd name="connsiteY3" fmla="*/ 72959 h 119680"/>
                  <a:gd name="connsiteX4" fmla="*/ 2041 w 48762"/>
                  <a:gd name="connsiteY4" fmla="*/ 105049 h 119680"/>
                  <a:gd name="connsiteX5" fmla="*/ 34131 w 48762"/>
                  <a:gd name="connsiteY5" fmla="*/ 117639 h 119680"/>
                  <a:gd name="connsiteX6" fmla="*/ 46721 w 48762"/>
                  <a:gd name="connsiteY6" fmla="*/ 85549 h 119680"/>
                  <a:gd name="connsiteX7" fmla="*/ 34131 w 48762"/>
                  <a:gd name="connsiteY7" fmla="*/ 72959 h 11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62" h="119680">
                    <a:moveTo>
                      <a:pt x="34131" y="72959"/>
                    </a:moveTo>
                    <a:lnTo>
                      <a:pt x="34131" y="0"/>
                    </a:lnTo>
                    <a:lnTo>
                      <a:pt x="14631" y="0"/>
                    </a:lnTo>
                    <a:lnTo>
                      <a:pt x="14631" y="72959"/>
                    </a:lnTo>
                    <a:cubicBezTo>
                      <a:pt x="2293" y="78344"/>
                      <a:pt x="-3343" y="92711"/>
                      <a:pt x="2041" y="105049"/>
                    </a:cubicBezTo>
                    <a:cubicBezTo>
                      <a:pt x="7426" y="117388"/>
                      <a:pt x="21793" y="123024"/>
                      <a:pt x="34131" y="117639"/>
                    </a:cubicBezTo>
                    <a:cubicBezTo>
                      <a:pt x="46469" y="112255"/>
                      <a:pt x="52106" y="97888"/>
                      <a:pt x="46721" y="85549"/>
                    </a:cubicBezTo>
                    <a:cubicBezTo>
                      <a:pt x="44262" y="79915"/>
                      <a:pt x="39765" y="75418"/>
                      <a:pt x="34131" y="72959"/>
                    </a:cubicBez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44A12D5A-C2D4-A91E-09E5-E65598B6E38F}"/>
                  </a:ext>
                </a:extLst>
              </p:cNvPr>
              <p:cNvSpPr/>
              <p:nvPr/>
            </p:nvSpPr>
            <p:spPr>
              <a:xfrm>
                <a:off x="3687145" y="3577794"/>
                <a:ext cx="222451" cy="124731"/>
              </a:xfrm>
              <a:custGeom>
                <a:avLst/>
                <a:gdLst>
                  <a:gd name="connsiteX0" fmla="*/ 227203 w 264834"/>
                  <a:gd name="connsiteY0" fmla="*/ 74087 h 148496"/>
                  <a:gd name="connsiteX1" fmla="*/ 224063 w 264834"/>
                  <a:gd name="connsiteY1" fmla="*/ 74243 h 148496"/>
                  <a:gd name="connsiteX2" fmla="*/ 224063 w 264834"/>
                  <a:gd name="connsiteY2" fmla="*/ 74087 h 148496"/>
                  <a:gd name="connsiteX3" fmla="*/ 204154 w 264834"/>
                  <a:gd name="connsiteY3" fmla="*/ 36120 h 148496"/>
                  <a:gd name="connsiteX4" fmla="*/ 161254 w 264834"/>
                  <a:gd name="connsiteY4" fmla="*/ 30270 h 148496"/>
                  <a:gd name="connsiteX5" fmla="*/ 97849 w 264834"/>
                  <a:gd name="connsiteY5" fmla="*/ 1562 h 148496"/>
                  <a:gd name="connsiteX6" fmla="*/ 54496 w 264834"/>
                  <a:gd name="connsiteY6" fmla="*/ 55484 h 148496"/>
                  <a:gd name="connsiteX7" fmla="*/ 54496 w 264834"/>
                  <a:gd name="connsiteY7" fmla="*/ 55971 h 148496"/>
                  <a:gd name="connsiteX8" fmla="*/ 9402 w 264834"/>
                  <a:gd name="connsiteY8" fmla="*/ 74009 h 148496"/>
                  <a:gd name="connsiteX9" fmla="*/ 4527 w 264834"/>
                  <a:gd name="connsiteY9" fmla="*/ 121784 h 148496"/>
                  <a:gd name="connsiteX10" fmla="*/ 45073 w 264834"/>
                  <a:gd name="connsiteY10" fmla="*/ 148338 h 148496"/>
                  <a:gd name="connsiteX11" fmla="*/ 60132 w 264834"/>
                  <a:gd name="connsiteY11" fmla="*/ 148494 h 148496"/>
                  <a:gd name="connsiteX12" fmla="*/ 227203 w 264834"/>
                  <a:gd name="connsiteY12" fmla="*/ 148494 h 148496"/>
                  <a:gd name="connsiteX13" fmla="*/ 264832 w 264834"/>
                  <a:gd name="connsiteY13" fmla="*/ 111717 h 148496"/>
                  <a:gd name="connsiteX14" fmla="*/ 228054 w 264834"/>
                  <a:gd name="connsiteY14" fmla="*/ 74087 h 148496"/>
                  <a:gd name="connsiteX15" fmla="*/ 227203 w 264834"/>
                  <a:gd name="connsiteY15" fmla="*/ 74087 h 14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64834" h="148496">
                    <a:moveTo>
                      <a:pt x="227203" y="74087"/>
                    </a:moveTo>
                    <a:cubicBezTo>
                      <a:pt x="226154" y="74060"/>
                      <a:pt x="225104" y="74112"/>
                      <a:pt x="224063" y="74243"/>
                    </a:cubicBezTo>
                    <a:lnTo>
                      <a:pt x="224063" y="74087"/>
                    </a:lnTo>
                    <a:cubicBezTo>
                      <a:pt x="224036" y="58937"/>
                      <a:pt x="216601" y="44757"/>
                      <a:pt x="204154" y="36120"/>
                    </a:cubicBezTo>
                    <a:cubicBezTo>
                      <a:pt x="191618" y="27407"/>
                      <a:pt x="175665" y="25232"/>
                      <a:pt x="161254" y="30270"/>
                    </a:cubicBezTo>
                    <a:cubicBezTo>
                      <a:pt x="149152" y="7348"/>
                      <a:pt x="123060" y="-4466"/>
                      <a:pt x="97849" y="1562"/>
                    </a:cubicBezTo>
                    <a:cubicBezTo>
                      <a:pt x="72686" y="7376"/>
                      <a:pt x="54771" y="29659"/>
                      <a:pt x="54496" y="55484"/>
                    </a:cubicBezTo>
                    <a:lnTo>
                      <a:pt x="54496" y="55971"/>
                    </a:lnTo>
                    <a:cubicBezTo>
                      <a:pt x="37292" y="53240"/>
                      <a:pt x="19977" y="60166"/>
                      <a:pt x="9402" y="74009"/>
                    </a:cubicBezTo>
                    <a:cubicBezTo>
                      <a:pt x="-1063" y="87756"/>
                      <a:pt x="-2946" y="106206"/>
                      <a:pt x="4527" y="121784"/>
                    </a:cubicBezTo>
                    <a:cubicBezTo>
                      <a:pt x="12107" y="137439"/>
                      <a:pt x="27693" y="147646"/>
                      <a:pt x="45073" y="148338"/>
                    </a:cubicBezTo>
                    <a:lnTo>
                      <a:pt x="60132" y="148494"/>
                    </a:lnTo>
                    <a:lnTo>
                      <a:pt x="227203" y="148494"/>
                    </a:lnTo>
                    <a:cubicBezTo>
                      <a:pt x="247750" y="148729"/>
                      <a:pt x="264597" y="132263"/>
                      <a:pt x="264832" y="111717"/>
                    </a:cubicBezTo>
                    <a:cubicBezTo>
                      <a:pt x="265067" y="91169"/>
                      <a:pt x="248601" y="74322"/>
                      <a:pt x="228054" y="74087"/>
                    </a:cubicBezTo>
                    <a:cubicBezTo>
                      <a:pt x="227771" y="74084"/>
                      <a:pt x="227486" y="74084"/>
                      <a:pt x="227203" y="74087"/>
                    </a:cubicBezTo>
                    <a:close/>
                  </a:path>
                </a:pathLst>
              </a:custGeom>
              <a:grpFill/>
              <a:ln w="3112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9" name="Inhaltsplatzhalter 14" descr="Nachhaltigkeit Silhouette">
              <a:extLst>
                <a:ext uri="{FF2B5EF4-FFF2-40B4-BE49-F238E27FC236}">
                  <a16:creationId xmlns:a16="http://schemas.microsoft.com/office/drawing/2014/main" id="{69E02161-F817-D33E-1210-634690724A04}"/>
                </a:ext>
              </a:extLst>
            </p:cNvPr>
            <p:cNvGrpSpPr/>
            <p:nvPr/>
          </p:nvGrpSpPr>
          <p:grpSpPr>
            <a:xfrm>
              <a:off x="5813322" y="3479909"/>
              <a:ext cx="384537" cy="388110"/>
              <a:chOff x="6409984" y="3329362"/>
              <a:chExt cx="384368" cy="393120"/>
            </a:xfrm>
            <a:solidFill>
              <a:schemeClr val="bg1"/>
            </a:solidFill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7D9228BC-81CF-3DBC-2652-13CAF61773F0}"/>
                  </a:ext>
                </a:extLst>
              </p:cNvPr>
              <p:cNvSpPr/>
              <p:nvPr/>
            </p:nvSpPr>
            <p:spPr>
              <a:xfrm>
                <a:off x="6532424" y="3329362"/>
                <a:ext cx="220228" cy="174827"/>
              </a:xfrm>
              <a:custGeom>
                <a:avLst/>
                <a:gdLst>
                  <a:gd name="connsiteX0" fmla="*/ 83226 w 220228"/>
                  <a:gd name="connsiteY0" fmla="*/ 9750 h 174827"/>
                  <a:gd name="connsiteX1" fmla="*/ 104042 w 220228"/>
                  <a:gd name="connsiteY1" fmla="*/ 21450 h 174827"/>
                  <a:gd name="connsiteX2" fmla="*/ 188979 w 220228"/>
                  <a:gd name="connsiteY2" fmla="*/ 160987 h 174827"/>
                  <a:gd name="connsiteX3" fmla="*/ 188926 w 220228"/>
                  <a:gd name="connsiteY3" fmla="*/ 161061 h 174827"/>
                  <a:gd name="connsiteX4" fmla="*/ 139971 w 220228"/>
                  <a:gd name="connsiteY4" fmla="*/ 148503 h 174827"/>
                  <a:gd name="connsiteX5" fmla="*/ 137534 w 220228"/>
                  <a:gd name="connsiteY5" fmla="*/ 157950 h 174827"/>
                  <a:gd name="connsiteX6" fmla="*/ 203346 w 220228"/>
                  <a:gd name="connsiteY6" fmla="*/ 174828 h 174827"/>
                  <a:gd name="connsiteX7" fmla="*/ 220228 w 220228"/>
                  <a:gd name="connsiteY7" fmla="*/ 109015 h 174827"/>
                  <a:gd name="connsiteX8" fmla="*/ 210780 w 220228"/>
                  <a:gd name="connsiteY8" fmla="*/ 106578 h 174827"/>
                  <a:gd name="connsiteX9" fmla="*/ 197925 w 220228"/>
                  <a:gd name="connsiteY9" fmla="*/ 156761 h 174827"/>
                  <a:gd name="connsiteX10" fmla="*/ 197832 w 220228"/>
                  <a:gd name="connsiteY10" fmla="*/ 156761 h 174827"/>
                  <a:gd name="connsiteX11" fmla="*/ 112374 w 220228"/>
                  <a:gd name="connsiteY11" fmla="*/ 16361 h 174827"/>
                  <a:gd name="connsiteX12" fmla="*/ 83226 w 220228"/>
                  <a:gd name="connsiteY12" fmla="*/ 0 h 174827"/>
                  <a:gd name="connsiteX13" fmla="*/ 83226 w 220228"/>
                  <a:gd name="connsiteY13" fmla="*/ 0 h 174827"/>
                  <a:gd name="connsiteX14" fmla="*/ 54078 w 220228"/>
                  <a:gd name="connsiteY14" fmla="*/ 16380 h 174827"/>
                  <a:gd name="connsiteX15" fmla="*/ 0 w 220228"/>
                  <a:gd name="connsiteY15" fmla="*/ 105217 h 174827"/>
                  <a:gd name="connsiteX16" fmla="*/ 8331 w 220228"/>
                  <a:gd name="connsiteY16" fmla="*/ 110287 h 174827"/>
                  <a:gd name="connsiteX17" fmla="*/ 62405 w 220228"/>
                  <a:gd name="connsiteY17" fmla="*/ 21450 h 174827"/>
                  <a:gd name="connsiteX18" fmla="*/ 83221 w 220228"/>
                  <a:gd name="connsiteY18" fmla="*/ 9750 h 174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0228" h="174827">
                    <a:moveTo>
                      <a:pt x="83226" y="9750"/>
                    </a:moveTo>
                    <a:cubicBezTo>
                      <a:pt x="91740" y="9715"/>
                      <a:pt x="99646" y="14159"/>
                      <a:pt x="104042" y="21450"/>
                    </a:cubicBezTo>
                    <a:lnTo>
                      <a:pt x="188979" y="160987"/>
                    </a:lnTo>
                    <a:cubicBezTo>
                      <a:pt x="189014" y="161046"/>
                      <a:pt x="188979" y="161075"/>
                      <a:pt x="188926" y="161061"/>
                    </a:cubicBezTo>
                    <a:lnTo>
                      <a:pt x="139971" y="148503"/>
                    </a:lnTo>
                    <a:lnTo>
                      <a:pt x="137534" y="157950"/>
                    </a:lnTo>
                    <a:lnTo>
                      <a:pt x="203346" y="174828"/>
                    </a:lnTo>
                    <a:lnTo>
                      <a:pt x="220228" y="109015"/>
                    </a:lnTo>
                    <a:lnTo>
                      <a:pt x="210780" y="106578"/>
                    </a:lnTo>
                    <a:lnTo>
                      <a:pt x="197925" y="156761"/>
                    </a:lnTo>
                    <a:cubicBezTo>
                      <a:pt x="197925" y="156824"/>
                      <a:pt x="197867" y="156829"/>
                      <a:pt x="197832" y="156761"/>
                    </a:cubicBezTo>
                    <a:lnTo>
                      <a:pt x="112374" y="16361"/>
                    </a:lnTo>
                    <a:cubicBezTo>
                      <a:pt x="106213" y="6159"/>
                      <a:pt x="95143" y="-54"/>
                      <a:pt x="83226" y="0"/>
                    </a:cubicBezTo>
                    <a:lnTo>
                      <a:pt x="83226" y="0"/>
                    </a:lnTo>
                    <a:cubicBezTo>
                      <a:pt x="71305" y="-47"/>
                      <a:pt x="60237" y="6174"/>
                      <a:pt x="54078" y="16380"/>
                    </a:cubicBezTo>
                    <a:lnTo>
                      <a:pt x="0" y="105217"/>
                    </a:lnTo>
                    <a:lnTo>
                      <a:pt x="8331" y="110287"/>
                    </a:lnTo>
                    <a:lnTo>
                      <a:pt x="62405" y="21450"/>
                    </a:lnTo>
                    <a:cubicBezTo>
                      <a:pt x="66827" y="14186"/>
                      <a:pt x="74716" y="9752"/>
                      <a:pt x="83221" y="9750"/>
                    </a:cubicBezTo>
                    <a:close/>
                  </a:path>
                </a:pathLst>
              </a:custGeom>
              <a:grpFill/>
              <a:ln w="13578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F2FFC8B6-F707-9A1F-CF62-E87826A83209}"/>
                  </a:ext>
                </a:extLst>
              </p:cNvPr>
              <p:cNvSpPr/>
              <p:nvPr/>
            </p:nvSpPr>
            <p:spPr>
              <a:xfrm>
                <a:off x="6409984" y="3462786"/>
                <a:ext cx="148778" cy="216527"/>
              </a:xfrm>
              <a:custGeom>
                <a:avLst/>
                <a:gdLst>
                  <a:gd name="connsiteX0" fmla="*/ 13424 w 148778"/>
                  <a:gd name="connsiteY0" fmla="*/ 195205 h 216527"/>
                  <a:gd name="connsiteX1" fmla="*/ 13361 w 148778"/>
                  <a:gd name="connsiteY1" fmla="*/ 169748 h 216527"/>
                  <a:gd name="connsiteX2" fmla="*/ 104738 w 148778"/>
                  <a:gd name="connsiteY2" fmla="*/ 19651 h 216527"/>
                  <a:gd name="connsiteX3" fmla="*/ 104826 w 148778"/>
                  <a:gd name="connsiteY3" fmla="*/ 19651 h 216527"/>
                  <a:gd name="connsiteX4" fmla="*/ 117355 w 148778"/>
                  <a:gd name="connsiteY4" fmla="*/ 67314 h 216527"/>
                  <a:gd name="connsiteX5" fmla="*/ 126783 w 148778"/>
                  <a:gd name="connsiteY5" fmla="*/ 64837 h 216527"/>
                  <a:gd name="connsiteX6" fmla="*/ 109720 w 148778"/>
                  <a:gd name="connsiteY6" fmla="*/ 0 h 216527"/>
                  <a:gd name="connsiteX7" fmla="*/ 44883 w 148778"/>
                  <a:gd name="connsiteY7" fmla="*/ 17063 h 216527"/>
                  <a:gd name="connsiteX8" fmla="*/ 47359 w 148778"/>
                  <a:gd name="connsiteY8" fmla="*/ 26491 h 216527"/>
                  <a:gd name="connsiteX9" fmla="*/ 97031 w 148778"/>
                  <a:gd name="connsiteY9" fmla="*/ 13436 h 216527"/>
                  <a:gd name="connsiteX10" fmla="*/ 97084 w 148778"/>
                  <a:gd name="connsiteY10" fmla="*/ 13509 h 216527"/>
                  <a:gd name="connsiteX11" fmla="*/ 5030 w 148778"/>
                  <a:gd name="connsiteY11" fmla="*/ 164678 h 216527"/>
                  <a:gd name="connsiteX12" fmla="*/ 4259 w 148778"/>
                  <a:gd name="connsiteY12" fmla="*/ 198803 h 216527"/>
                  <a:gd name="connsiteX13" fmla="*/ 35508 w 148778"/>
                  <a:gd name="connsiteY13" fmla="*/ 216523 h 216527"/>
                  <a:gd name="connsiteX14" fmla="*/ 148779 w 148778"/>
                  <a:gd name="connsiteY14" fmla="*/ 216523 h 216527"/>
                  <a:gd name="connsiteX15" fmla="*/ 148779 w 148778"/>
                  <a:gd name="connsiteY15" fmla="*/ 206773 h 216527"/>
                  <a:gd name="connsiteX16" fmla="*/ 35191 w 148778"/>
                  <a:gd name="connsiteY16" fmla="*/ 206773 h 216527"/>
                  <a:gd name="connsiteX17" fmla="*/ 13424 w 148778"/>
                  <a:gd name="connsiteY17" fmla="*/ 195205 h 21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778" h="216527">
                    <a:moveTo>
                      <a:pt x="13424" y="195205"/>
                    </a:moveTo>
                    <a:cubicBezTo>
                      <a:pt x="8564" y="187421"/>
                      <a:pt x="8539" y="177555"/>
                      <a:pt x="13361" y="169748"/>
                    </a:cubicBezTo>
                    <a:lnTo>
                      <a:pt x="104738" y="19651"/>
                    </a:lnTo>
                    <a:cubicBezTo>
                      <a:pt x="104772" y="19598"/>
                      <a:pt x="104811" y="19602"/>
                      <a:pt x="104826" y="19651"/>
                    </a:cubicBezTo>
                    <a:lnTo>
                      <a:pt x="117355" y="67314"/>
                    </a:lnTo>
                    <a:lnTo>
                      <a:pt x="126783" y="64837"/>
                    </a:lnTo>
                    <a:lnTo>
                      <a:pt x="109720" y="0"/>
                    </a:lnTo>
                    <a:lnTo>
                      <a:pt x="44883" y="17063"/>
                    </a:lnTo>
                    <a:lnTo>
                      <a:pt x="47359" y="26491"/>
                    </a:lnTo>
                    <a:lnTo>
                      <a:pt x="97031" y="13436"/>
                    </a:lnTo>
                    <a:cubicBezTo>
                      <a:pt x="97099" y="13436"/>
                      <a:pt x="97123" y="13436"/>
                      <a:pt x="97084" y="13509"/>
                    </a:cubicBezTo>
                    <a:lnTo>
                      <a:pt x="5030" y="164678"/>
                    </a:lnTo>
                    <a:cubicBezTo>
                      <a:pt x="-1389" y="175073"/>
                      <a:pt x="-1684" y="188128"/>
                      <a:pt x="4259" y="198803"/>
                    </a:cubicBezTo>
                    <a:cubicBezTo>
                      <a:pt x="10686" y="209945"/>
                      <a:pt x="22647" y="216728"/>
                      <a:pt x="35508" y="216523"/>
                    </a:cubicBezTo>
                    <a:lnTo>
                      <a:pt x="148779" y="216523"/>
                    </a:lnTo>
                    <a:lnTo>
                      <a:pt x="148779" y="206773"/>
                    </a:lnTo>
                    <a:lnTo>
                      <a:pt x="35191" y="206773"/>
                    </a:lnTo>
                    <a:cubicBezTo>
                      <a:pt x="26423" y="206942"/>
                      <a:pt x="18191" y="202566"/>
                      <a:pt x="13424" y="195205"/>
                    </a:cubicBezTo>
                    <a:close/>
                  </a:path>
                </a:pathLst>
              </a:custGeom>
              <a:grpFill/>
              <a:ln w="13578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B90038CC-BE36-C31F-4940-E21D8ABA6B31}"/>
                  </a:ext>
                </a:extLst>
              </p:cNvPr>
              <p:cNvSpPr/>
              <p:nvPr/>
            </p:nvSpPr>
            <p:spPr>
              <a:xfrm>
                <a:off x="6604330" y="3527580"/>
                <a:ext cx="190022" cy="194902"/>
              </a:xfrm>
              <a:custGeom>
                <a:avLst/>
                <a:gdLst>
                  <a:gd name="connsiteX0" fmla="*/ 91621 w 190022"/>
                  <a:gd name="connsiteY0" fmla="*/ 16882 h 194902"/>
                  <a:gd name="connsiteX1" fmla="*/ 88286 w 190022"/>
                  <a:gd name="connsiteY1" fmla="*/ 16843 h 194902"/>
                  <a:gd name="connsiteX2" fmla="*/ 13358 w 190022"/>
                  <a:gd name="connsiteY2" fmla="*/ 94843 h 194902"/>
                  <a:gd name="connsiteX3" fmla="*/ 17150 w 190022"/>
                  <a:gd name="connsiteY3" fmla="*/ 119174 h 194902"/>
                  <a:gd name="connsiteX4" fmla="*/ 27997 w 190022"/>
                  <a:gd name="connsiteY4" fmla="*/ 139376 h 194902"/>
                  <a:gd name="connsiteX5" fmla="*/ 29791 w 190022"/>
                  <a:gd name="connsiteY5" fmla="*/ 141741 h 194902"/>
                  <a:gd name="connsiteX6" fmla="*/ 25794 w 190022"/>
                  <a:gd name="connsiteY6" fmla="*/ 145641 h 194902"/>
                  <a:gd name="connsiteX7" fmla="*/ 0 w 190022"/>
                  <a:gd name="connsiteY7" fmla="*/ 190028 h 194902"/>
                  <a:gd name="connsiteX8" fmla="*/ 4875 w 190022"/>
                  <a:gd name="connsiteY8" fmla="*/ 194903 h 194902"/>
                  <a:gd name="connsiteX9" fmla="*/ 9750 w 190022"/>
                  <a:gd name="connsiteY9" fmla="*/ 190028 h 194902"/>
                  <a:gd name="connsiteX10" fmla="*/ 32663 w 190022"/>
                  <a:gd name="connsiteY10" fmla="*/ 152549 h 194902"/>
                  <a:gd name="connsiteX11" fmla="*/ 35909 w 190022"/>
                  <a:gd name="connsiteY11" fmla="*/ 149404 h 194902"/>
                  <a:gd name="connsiteX12" fmla="*/ 74865 w 190022"/>
                  <a:gd name="connsiteY12" fmla="*/ 172039 h 194902"/>
                  <a:gd name="connsiteX13" fmla="*/ 88091 w 190022"/>
                  <a:gd name="connsiteY13" fmla="*/ 173258 h 194902"/>
                  <a:gd name="connsiteX14" fmla="*/ 88549 w 190022"/>
                  <a:gd name="connsiteY14" fmla="*/ 173258 h 194902"/>
                  <a:gd name="connsiteX15" fmla="*/ 125478 w 190022"/>
                  <a:gd name="connsiteY15" fmla="*/ 162971 h 194902"/>
                  <a:gd name="connsiteX16" fmla="*/ 190023 w 190022"/>
                  <a:gd name="connsiteY16" fmla="*/ 0 h 194902"/>
                  <a:gd name="connsiteX17" fmla="*/ 91621 w 190022"/>
                  <a:gd name="connsiteY17" fmla="*/ 16882 h 194902"/>
                  <a:gd name="connsiteX18" fmla="*/ 120447 w 190022"/>
                  <a:gd name="connsiteY18" fmla="*/ 154601 h 194902"/>
                  <a:gd name="connsiteX19" fmla="*/ 88554 w 190022"/>
                  <a:gd name="connsiteY19" fmla="*/ 163508 h 194902"/>
                  <a:gd name="connsiteX20" fmla="*/ 88096 w 190022"/>
                  <a:gd name="connsiteY20" fmla="*/ 163508 h 194902"/>
                  <a:gd name="connsiteX21" fmla="*/ 76650 w 190022"/>
                  <a:gd name="connsiteY21" fmla="*/ 162455 h 194902"/>
                  <a:gd name="connsiteX22" fmla="*/ 42934 w 190022"/>
                  <a:gd name="connsiteY22" fmla="*/ 142579 h 194902"/>
                  <a:gd name="connsiteX23" fmla="*/ 111808 w 190022"/>
                  <a:gd name="connsiteY23" fmla="*/ 75870 h 194902"/>
                  <a:gd name="connsiteX24" fmla="*/ 112183 w 190022"/>
                  <a:gd name="connsiteY24" fmla="*/ 68986 h 194902"/>
                  <a:gd name="connsiteX25" fmla="*/ 105299 w 190022"/>
                  <a:gd name="connsiteY25" fmla="*/ 68611 h 194902"/>
                  <a:gd name="connsiteX26" fmla="*/ 105032 w 190022"/>
                  <a:gd name="connsiteY26" fmla="*/ 68869 h 194902"/>
                  <a:gd name="connsiteX27" fmla="*/ 36845 w 190022"/>
                  <a:gd name="connsiteY27" fmla="*/ 134911 h 194902"/>
                  <a:gd name="connsiteX28" fmla="*/ 35758 w 190022"/>
                  <a:gd name="connsiteY28" fmla="*/ 133478 h 194902"/>
                  <a:gd name="connsiteX29" fmla="*/ 26442 w 190022"/>
                  <a:gd name="connsiteY29" fmla="*/ 116220 h 194902"/>
                  <a:gd name="connsiteX30" fmla="*/ 23103 w 190022"/>
                  <a:gd name="connsiteY30" fmla="*/ 94648 h 194902"/>
                  <a:gd name="connsiteX31" fmla="*/ 88272 w 190022"/>
                  <a:gd name="connsiteY31" fmla="*/ 26593 h 194902"/>
                  <a:gd name="connsiteX32" fmla="*/ 91626 w 190022"/>
                  <a:gd name="connsiteY32" fmla="*/ 26632 h 194902"/>
                  <a:gd name="connsiteX33" fmla="*/ 180170 w 190022"/>
                  <a:gd name="connsiteY33" fmla="*/ 12699 h 194902"/>
                  <a:gd name="connsiteX34" fmla="*/ 120447 w 190022"/>
                  <a:gd name="connsiteY34" fmla="*/ 154601 h 19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90022" h="194902">
                    <a:moveTo>
                      <a:pt x="91621" y="16882"/>
                    </a:moveTo>
                    <a:cubicBezTo>
                      <a:pt x="90490" y="16882"/>
                      <a:pt x="89378" y="16869"/>
                      <a:pt x="88286" y="16843"/>
                    </a:cubicBezTo>
                    <a:cubicBezTo>
                      <a:pt x="46058" y="17696"/>
                      <a:pt x="12515" y="52615"/>
                      <a:pt x="13358" y="94843"/>
                    </a:cubicBezTo>
                    <a:cubicBezTo>
                      <a:pt x="13364" y="103100"/>
                      <a:pt x="14644" y="111307"/>
                      <a:pt x="17150" y="119174"/>
                    </a:cubicBezTo>
                    <a:cubicBezTo>
                      <a:pt x="19586" y="126478"/>
                      <a:pt x="23255" y="133311"/>
                      <a:pt x="27997" y="139376"/>
                    </a:cubicBezTo>
                    <a:lnTo>
                      <a:pt x="29791" y="141741"/>
                    </a:lnTo>
                    <a:lnTo>
                      <a:pt x="25794" y="145641"/>
                    </a:lnTo>
                    <a:cubicBezTo>
                      <a:pt x="7956" y="163868"/>
                      <a:pt x="0" y="177562"/>
                      <a:pt x="0" y="190028"/>
                    </a:cubicBezTo>
                    <a:cubicBezTo>
                      <a:pt x="0" y="192720"/>
                      <a:pt x="2183" y="194903"/>
                      <a:pt x="4875" y="194903"/>
                    </a:cubicBezTo>
                    <a:cubicBezTo>
                      <a:pt x="7567" y="194903"/>
                      <a:pt x="9750" y="192720"/>
                      <a:pt x="9750" y="190028"/>
                    </a:cubicBezTo>
                    <a:cubicBezTo>
                      <a:pt x="9750" y="183992"/>
                      <a:pt x="12134" y="173540"/>
                      <a:pt x="32663" y="152549"/>
                    </a:cubicBezTo>
                    <a:lnTo>
                      <a:pt x="35909" y="149404"/>
                    </a:lnTo>
                    <a:cubicBezTo>
                      <a:pt x="46022" y="161064"/>
                      <a:pt x="59728" y="169027"/>
                      <a:pt x="74865" y="172039"/>
                    </a:cubicBezTo>
                    <a:cubicBezTo>
                      <a:pt x="79228" y="172849"/>
                      <a:pt x="83655" y="173257"/>
                      <a:pt x="88091" y="173258"/>
                    </a:cubicBezTo>
                    <a:lnTo>
                      <a:pt x="88549" y="173258"/>
                    </a:lnTo>
                    <a:cubicBezTo>
                      <a:pt x="101566" y="173257"/>
                      <a:pt x="114335" y="169700"/>
                      <a:pt x="125478" y="162971"/>
                    </a:cubicBezTo>
                    <a:cubicBezTo>
                      <a:pt x="182808" y="129773"/>
                      <a:pt x="190023" y="68640"/>
                      <a:pt x="190023" y="0"/>
                    </a:cubicBezTo>
                    <a:cubicBezTo>
                      <a:pt x="190028" y="-24"/>
                      <a:pt x="131050" y="16882"/>
                      <a:pt x="91621" y="16882"/>
                    </a:cubicBezTo>
                    <a:close/>
                    <a:moveTo>
                      <a:pt x="120447" y="154601"/>
                    </a:moveTo>
                    <a:cubicBezTo>
                      <a:pt x="110826" y="160421"/>
                      <a:pt x="99798" y="163501"/>
                      <a:pt x="88554" y="163508"/>
                    </a:cubicBezTo>
                    <a:lnTo>
                      <a:pt x="88096" y="163508"/>
                    </a:lnTo>
                    <a:cubicBezTo>
                      <a:pt x="84257" y="163506"/>
                      <a:pt x="80425" y="163154"/>
                      <a:pt x="76650" y="162455"/>
                    </a:cubicBezTo>
                    <a:cubicBezTo>
                      <a:pt x="63496" y="159809"/>
                      <a:pt x="51618" y="152807"/>
                      <a:pt x="42934" y="142579"/>
                    </a:cubicBezTo>
                    <a:lnTo>
                      <a:pt x="111808" y="75870"/>
                    </a:lnTo>
                    <a:cubicBezTo>
                      <a:pt x="113813" y="74072"/>
                      <a:pt x="113980" y="70990"/>
                      <a:pt x="112183" y="68986"/>
                    </a:cubicBezTo>
                    <a:cubicBezTo>
                      <a:pt x="110385" y="66981"/>
                      <a:pt x="107303" y="66813"/>
                      <a:pt x="105299" y="68611"/>
                    </a:cubicBezTo>
                    <a:cubicBezTo>
                      <a:pt x="105206" y="68694"/>
                      <a:pt x="105118" y="68779"/>
                      <a:pt x="105032" y="68869"/>
                    </a:cubicBezTo>
                    <a:lnTo>
                      <a:pt x="36845" y="134911"/>
                    </a:lnTo>
                    <a:lnTo>
                      <a:pt x="35758" y="133478"/>
                    </a:lnTo>
                    <a:cubicBezTo>
                      <a:pt x="31693" y="128297"/>
                      <a:pt x="28543" y="122461"/>
                      <a:pt x="26442" y="116220"/>
                    </a:cubicBezTo>
                    <a:cubicBezTo>
                      <a:pt x="24222" y="109245"/>
                      <a:pt x="23096" y="101968"/>
                      <a:pt x="23103" y="94648"/>
                    </a:cubicBezTo>
                    <a:cubicBezTo>
                      <a:pt x="22416" y="57902"/>
                      <a:pt x="51531" y="27498"/>
                      <a:pt x="88272" y="26593"/>
                    </a:cubicBezTo>
                    <a:cubicBezTo>
                      <a:pt x="89373" y="26622"/>
                      <a:pt x="90495" y="26632"/>
                      <a:pt x="91626" y="26632"/>
                    </a:cubicBezTo>
                    <a:cubicBezTo>
                      <a:pt x="121173" y="26632"/>
                      <a:pt x="160363" y="17735"/>
                      <a:pt x="180170" y="12699"/>
                    </a:cubicBezTo>
                    <a:cubicBezTo>
                      <a:pt x="178976" y="79989"/>
                      <a:pt x="167388" y="127433"/>
                      <a:pt x="120447" y="154601"/>
                    </a:cubicBezTo>
                    <a:close/>
                  </a:path>
                </a:pathLst>
              </a:custGeom>
              <a:grpFill/>
              <a:ln w="13578" cap="flat">
                <a:solidFill>
                  <a:schemeClr val="bg1"/>
                </a:solidFill>
                <a:prstDash val="solid"/>
                <a:miter/>
              </a:ln>
            </p:spPr>
            <p:txBody>
              <a:bodyPr lIns="58522" tIns="29261" rIns="58522" bIns="29261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" name="Ellipse 2">
            <a:extLst>
              <a:ext uri="{FF2B5EF4-FFF2-40B4-BE49-F238E27FC236}">
                <a16:creationId xmlns:a16="http://schemas.microsoft.com/office/drawing/2014/main" id="{BD51AAF0-134B-5C00-3B00-491474B9AC9D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CBBE80E-1629-D233-6689-358F1C11B8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sp>
        <p:nvSpPr>
          <p:cNvPr id="36" name="shape">
            <a:extLst>
              <a:ext uri="{FF2B5EF4-FFF2-40B4-BE49-F238E27FC236}">
                <a16:creationId xmlns:a16="http://schemas.microsoft.com/office/drawing/2014/main" id="{3D6AD63A-4F38-23A3-55C1-49BE158EA2DC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37" name="Picture Placeholder 21">
            <a:extLst>
              <a:ext uri="{FF2B5EF4-FFF2-40B4-BE49-F238E27FC236}">
                <a16:creationId xmlns:a16="http://schemas.microsoft.com/office/drawing/2014/main" id="{9798A287-557C-FE39-187A-FEE351B1E91F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100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E0C2AC43-7D13-FA08-C002-8A48E93E5B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C2AC43-7D13-FA08-C002-8A48E93E5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8" name="Bildplatzhalter 8">
            <a:extLst>
              <a:ext uri="{FF2B5EF4-FFF2-40B4-BE49-F238E27FC236}">
                <a16:creationId xmlns:a16="http://schemas.microsoft.com/office/drawing/2014/main" id="{890D089A-F21C-0271-1603-8BCBEAC2D4A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/>
          <a:srcRect t="7856" b="7856"/>
          <a:stretch/>
        </p:blipFill>
        <p:spPr>
          <a:xfrm flipH="1">
            <a:off x="-12700" y="-12700"/>
            <a:ext cx="12204700" cy="68707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1FBACB-2F4B-33ED-41AF-BB4D4B9DA7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fld id="{FA573BCF-C0F1-4720-B5E7-944FE630E67D}" type="slidenum">
              <a:rPr lang="en-US" smtClean="0">
                <a:solidFill>
                  <a:schemeClr val="bg1"/>
                </a:solidFill>
              </a:rPr>
              <a:pPr/>
              <a:t>5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307B7D-C49E-1C28-4592-AB919B7ECB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0000" y="6379200"/>
            <a:ext cx="2160000" cy="180000"/>
          </a:xfrm>
        </p:spPr>
        <p:txBody>
          <a:bodyPr/>
          <a:lstStyle/>
          <a:p>
            <a:endParaRPr lang="nl-NL">
              <a:solidFill>
                <a:schemeClr val="bg1"/>
              </a:solidFill>
            </a:endParaRPr>
          </a:p>
        </p:txBody>
      </p:sp>
      <p:sp>
        <p:nvSpPr>
          <p:cNvPr id="64" name="Title 63">
            <a:extLst>
              <a:ext uri="{FF2B5EF4-FFF2-40B4-BE49-F238E27FC236}">
                <a16:creationId xmlns:a16="http://schemas.microsoft.com/office/drawing/2014/main" id="{3106D08E-0755-6962-337B-34A68FFFD1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>
                <a:solidFill>
                  <a:schemeClr val="bg1"/>
                </a:solidFill>
              </a:rPr>
              <a:t>Warum Twin Transformation jetzt zählt: Sie vereint technologische </a:t>
            </a:r>
            <a:br>
              <a:rPr lang="de-DE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Innovation mit Nachhaltigkeit – strategisch, regulatorisch und wirtschaftlich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AF6C659F-5441-25A0-8C88-4D4B5DD1F6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00" y="396000"/>
            <a:ext cx="11088000" cy="144000"/>
          </a:xfrm>
        </p:spPr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Warum haben wir diese Studie durchgeführt?</a:t>
            </a:r>
          </a:p>
          <a:p>
            <a:endParaRPr lang="de-DE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73269B8-2314-801D-5CFB-2B8C89CA48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25137" y="2076218"/>
            <a:ext cx="7128000" cy="900000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pPr marL="432000" lvl="3" indent="0">
              <a:buNone/>
            </a:pPr>
            <a:r>
              <a:rPr lang="de-DE">
                <a:latin typeface="+mj-lt"/>
              </a:rPr>
              <a:t>Digitale Tools</a:t>
            </a:r>
            <a:r>
              <a:rPr lang="de-DE"/>
              <a:t> wie KI, IoT, Blockchain und digitale Zwillinge schaffen die Grundlage für </a:t>
            </a:r>
            <a:r>
              <a:rPr lang="de-DE">
                <a:latin typeface="+mj-lt"/>
              </a:rPr>
              <a:t>datenbasierte Nachhaltigkeit</a:t>
            </a:r>
            <a:endParaRPr lang="en-US">
              <a:latin typeface="+mj-lt"/>
            </a:endParaRP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6131B5F0-E5F8-95E7-863F-5E9B78FDD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628000"/>
            <a:ext cx="2340000" cy="2340000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sz="1800" err="1"/>
              <a:t>Warum</a:t>
            </a:r>
            <a:r>
              <a:rPr lang="en-US" sz="1800"/>
              <a:t> </a:t>
            </a:r>
            <a:r>
              <a:rPr lang="en-US" sz="1800" err="1"/>
              <a:t>ist</a:t>
            </a:r>
            <a:r>
              <a:rPr lang="en-US" sz="1800"/>
              <a:t> Twin Transformation </a:t>
            </a:r>
            <a:r>
              <a:rPr lang="en-US" sz="1800" err="1"/>
              <a:t>aktuell</a:t>
            </a:r>
            <a:r>
              <a:rPr lang="en-US" sz="1800"/>
              <a:t> </a:t>
            </a:r>
            <a:r>
              <a:rPr lang="en-US" sz="1800" err="1"/>
              <a:t>ein</a:t>
            </a:r>
            <a:r>
              <a:rPr lang="en-US" sz="1800"/>
              <a:t> Megatrend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9EEB9B-0E30-50AC-6FA0-06D06501540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5137" y="3351882"/>
            <a:ext cx="7128000" cy="900000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pPr marL="431989" lvl="3" indent="0">
              <a:buNone/>
            </a:pPr>
            <a:r>
              <a:rPr lang="de-DE">
                <a:latin typeface="+mj-lt"/>
              </a:rPr>
              <a:t>Regulatorik</a:t>
            </a:r>
            <a:r>
              <a:rPr lang="de-DE"/>
              <a:t> wie u.a. CSRD und die EU-Taxonomie verpflichten Unternehmen zu mehr Nachhaltigkeit und machen </a:t>
            </a:r>
            <a:r>
              <a:rPr lang="de-DE">
                <a:latin typeface="+mj-lt"/>
              </a:rPr>
              <a:t>digitale Steuerungssysteme </a:t>
            </a:r>
            <a:r>
              <a:rPr lang="de-DE"/>
              <a:t>unverzichtbar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FB7CC4E-1C4F-BDBF-A79F-2AD1F8A3D5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25137" y="4627545"/>
            <a:ext cx="7128000" cy="900000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pPr marL="432000" lvl="3" indent="0">
              <a:buNone/>
            </a:pPr>
            <a:r>
              <a:rPr lang="de-DE">
                <a:latin typeface="+mj-lt"/>
              </a:rPr>
              <a:t>Twin Transformation </a:t>
            </a:r>
            <a:r>
              <a:rPr lang="de-DE"/>
              <a:t>schafft die strukturelle Grundlage, um Nachhaltigkeit als </a:t>
            </a:r>
            <a:r>
              <a:rPr lang="de-DE">
                <a:latin typeface="+mj-lt"/>
              </a:rPr>
              <a:t>strategisches Potenzial</a:t>
            </a:r>
            <a:r>
              <a:rPr lang="de-DE"/>
              <a:t> zu begreifen und dieses durch </a:t>
            </a:r>
            <a:r>
              <a:rPr lang="de-DE">
                <a:latin typeface="+mj-lt"/>
              </a:rPr>
              <a:t>digitale Lösungen </a:t>
            </a:r>
            <a:r>
              <a:rPr lang="de-DE"/>
              <a:t>gezielt zu heben</a:t>
            </a:r>
            <a:endParaRPr lang="en-US"/>
          </a:p>
        </p:txBody>
      </p:sp>
      <p:cxnSp>
        <p:nvCxnSpPr>
          <p:cNvPr id="73" name="connector">
            <a:extLst>
              <a:ext uri="{FF2B5EF4-FFF2-40B4-BE49-F238E27FC236}">
                <a16:creationId xmlns:a16="http://schemas.microsoft.com/office/drawing/2014/main" id="{8560EF03-6B65-6445-F415-98AE52B5D8FF}"/>
              </a:ext>
            </a:extLst>
          </p:cNvPr>
          <p:cNvCxnSpPr>
            <a:cxnSpLocks/>
            <a:stCxn id="10" idx="1"/>
            <a:endCxn id="65" idx="6"/>
          </p:cNvCxnSpPr>
          <p:nvPr/>
        </p:nvCxnSpPr>
        <p:spPr>
          <a:xfrm flipH="1" flipV="1">
            <a:off x="2880000" y="3798000"/>
            <a:ext cx="1345137" cy="3882"/>
          </a:xfrm>
          <a:prstGeom prst="line">
            <a:avLst/>
          </a:prstGeom>
          <a:ln w="190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B74E203B-0807-C762-FCEA-6A2476BA64F6}"/>
              </a:ext>
            </a:extLst>
          </p:cNvPr>
          <p:cNvCxnSpPr>
            <a:stCxn id="8" idx="1"/>
            <a:endCxn id="65" idx="6"/>
          </p:cNvCxnSpPr>
          <p:nvPr/>
        </p:nvCxnSpPr>
        <p:spPr>
          <a:xfrm rot="10800000" flipV="1">
            <a:off x="2880001" y="2526218"/>
            <a:ext cx="1345137" cy="1271782"/>
          </a:xfrm>
          <a:prstGeom prst="bentConnector3">
            <a:avLst/>
          </a:prstGeom>
          <a:ln w="190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C0AAF586-3CDD-0E40-A360-F62D09A22E0C}"/>
              </a:ext>
            </a:extLst>
          </p:cNvPr>
          <p:cNvCxnSpPr>
            <a:cxnSpLocks/>
            <a:stCxn id="11" idx="1"/>
            <a:endCxn id="65" idx="6"/>
          </p:cNvCxnSpPr>
          <p:nvPr/>
        </p:nvCxnSpPr>
        <p:spPr>
          <a:xfrm rot="10800000">
            <a:off x="2880001" y="3798001"/>
            <a:ext cx="1345137" cy="1279545"/>
          </a:xfrm>
          <a:prstGeom prst="bentConnector3">
            <a:avLst/>
          </a:prstGeom>
          <a:ln w="190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valantic logo">
            <a:extLst>
              <a:ext uri="{FF2B5EF4-FFF2-40B4-BE49-F238E27FC236}">
                <a16:creationId xmlns:a16="http://schemas.microsoft.com/office/drawing/2014/main" id="{271F6D76-3152-42D4-738A-D41F9DD5DC9D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6" r="56"/>
          <a:stretch>
            <a:fillRect/>
          </a:stretch>
        </p:blipFill>
        <p:spPr>
          <a:xfrm>
            <a:off x="415925" y="6218238"/>
            <a:ext cx="1168400" cy="450850"/>
          </a:xfrm>
          <a:prstGeom prst="rect">
            <a:avLst/>
          </a:prstGeom>
        </p:spPr>
      </p:pic>
      <p:sp>
        <p:nvSpPr>
          <p:cNvPr id="6" name="shape">
            <a:extLst>
              <a:ext uri="{FF2B5EF4-FFF2-40B4-BE49-F238E27FC236}">
                <a16:creationId xmlns:a16="http://schemas.microsoft.com/office/drawing/2014/main" id="{A60F98EF-E0CC-ED7D-1654-6346F95C9D36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7" name="Picture Placeholder 21">
            <a:extLst>
              <a:ext uri="{FF2B5EF4-FFF2-40B4-BE49-F238E27FC236}">
                <a16:creationId xmlns:a16="http://schemas.microsoft.com/office/drawing/2014/main" id="{D026473F-E923-0AE7-79CE-C0F7C8EEA627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100000"/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DE756C70-D2CD-E3A6-81DA-660D67CA650E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845729F-5D89-438E-E256-985F774E75A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91C204A-974C-1488-9735-9074FF8C4DF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482794" y="4748065"/>
            <a:ext cx="648000" cy="648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3F4C36E-B38B-1A39-EE5F-D1730565275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82794" y="3477882"/>
            <a:ext cx="648000" cy="648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3C1A0307-9894-22F9-B1BD-062D668F9A5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82794" y="2202218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82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50AA8C-5291-734A-7F78-6476B1D527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008C38AD-B9A7-6B8B-DE30-59C43D86E5F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3" name="Pfeil: Fünfeck 22">
            <a:extLst>
              <a:ext uri="{FF2B5EF4-FFF2-40B4-BE49-F238E27FC236}">
                <a16:creationId xmlns:a16="http://schemas.microsoft.com/office/drawing/2014/main" id="{85A2223F-219A-A44A-2A22-41844AB324CF}"/>
              </a:ext>
            </a:extLst>
          </p:cNvPr>
          <p:cNvSpPr/>
          <p:nvPr/>
        </p:nvSpPr>
        <p:spPr>
          <a:xfrm>
            <a:off x="576000" y="3489189"/>
            <a:ext cx="11088000" cy="1445623"/>
          </a:xfrm>
          <a:prstGeom prst="homePlate">
            <a:avLst/>
          </a:prstGeom>
          <a:gradFill>
            <a:gsLst>
              <a:gs pos="0">
                <a:srgbClr val="EF4251"/>
              </a:gs>
              <a:gs pos="100000">
                <a:srgbClr val="F4704D"/>
              </a:gs>
            </a:gsLst>
            <a:lin ang="18900000" scaled="0"/>
          </a:gra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en-US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941553F9-545F-6D98-49F3-8BAD14499D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941553F9-545F-6D98-49F3-8BAD14499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D820C60-0F60-931D-6047-94F04BDE7E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B5DC5B-6873-43DB-ADC7-B15ACCE0DFDB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itle 35">
            <a:extLst>
              <a:ext uri="{FF2B5EF4-FFF2-40B4-BE49-F238E27FC236}">
                <a16:creationId xmlns:a16="http://schemas.microsoft.com/office/drawing/2014/main" id="{4837509A-68C2-9174-E9C6-89A0F41DF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Die Ergebnisse der Studie wurden systematisch aus Umfrageergebnissen, Experteneinschätzungen und realen Anwendungsfällen abgeleitet</a:t>
            </a:r>
            <a:br>
              <a:rPr lang="de-DE"/>
            </a:br>
            <a:br>
              <a:rPr lang="en-GB"/>
            </a:b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1291EA7-276F-7216-5601-FE524CE0AF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arum haben wir diese Studie durchgeführt?</a:t>
            </a:r>
          </a:p>
          <a:p>
            <a:endParaRPr lang="de-DE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346EB86E-DFAB-EA2B-54C5-2D10BDE74E51}"/>
              </a:ext>
            </a:extLst>
          </p:cNvPr>
          <p:cNvSpPr txBox="1">
            <a:spLocks/>
          </p:cNvSpPr>
          <p:nvPr/>
        </p:nvSpPr>
        <p:spPr>
          <a:xfrm>
            <a:off x="8113138" y="2412000"/>
            <a:ext cx="270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000" b="0" kern="1200" cap="none" spc="10" baseline="0" noProof="0" dirty="0" smtClean="0">
                <a:solidFill>
                  <a:schemeClr val="tx2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000" b="0" kern="1200" cap="none" spc="4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en-US" sz="1000" b="0" i="0" kern="1200" cap="all" spc="1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 algn="ctr"/>
            <a:r>
              <a:rPr lang="de-DE" sz="1800"/>
              <a:t>3. Case Studies</a:t>
            </a:r>
            <a:endParaRPr lang="de-DE"/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CBEC4E4E-E79E-6FCD-DA21-202A26AFF963}"/>
              </a:ext>
            </a:extLst>
          </p:cNvPr>
          <p:cNvSpPr txBox="1">
            <a:spLocks/>
          </p:cNvSpPr>
          <p:nvPr/>
        </p:nvSpPr>
        <p:spPr>
          <a:xfrm>
            <a:off x="4469558" y="2412000"/>
            <a:ext cx="270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3600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000" b="0" kern="1200" cap="none" spc="10" baseline="0" noProof="0" dirty="0" smtClean="0">
                <a:solidFill>
                  <a:schemeClr val="tx2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000" b="0" kern="1200" cap="none" spc="4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en-US" sz="1000" b="0" i="0" kern="1200" cap="all" spc="1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 algn="ctr"/>
            <a:r>
              <a:rPr lang="de-DE" sz="1800"/>
              <a:t>2. Experteninterviews</a:t>
            </a:r>
          </a:p>
          <a:p>
            <a:pPr algn="ctr"/>
            <a:endParaRPr lang="de-DE"/>
          </a:p>
          <a:p>
            <a:pPr algn="ctr"/>
            <a:r>
              <a:rPr lang="de-DE" sz="1600">
                <a:latin typeface="+mj-lt"/>
              </a:rPr>
              <a:t>	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C0CA550-A695-E621-C7AC-DADEBE64FD51}"/>
              </a:ext>
            </a:extLst>
          </p:cNvPr>
          <p:cNvSpPr txBox="1">
            <a:spLocks/>
          </p:cNvSpPr>
          <p:nvPr/>
        </p:nvSpPr>
        <p:spPr>
          <a:xfrm>
            <a:off x="825978" y="2412000"/>
            <a:ext cx="2700000" cy="3600000"/>
          </a:xfrm>
          <a:prstGeom prst="roundRect">
            <a:avLst>
              <a:gd name="adj" fmla="val 2115"/>
            </a:avLst>
          </a:prstGeo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180000" tIns="1044000" rIns="10800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Verdana" panose="020B0604030504040204" pitchFamily="34" charset="0"/>
              <a:buNone/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•"/>
              <a:tabLst>
                <a:tab pos="182563" algn="l"/>
              </a:tabLst>
              <a:defRPr lang="en-US"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‒"/>
              <a:tabLst>
                <a:tab pos="182563" algn="l"/>
              </a:tabLst>
              <a:defRPr lang="en-US" sz="1000" b="0" kern="120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rgbClr val="FF4B4B"/>
              </a:buClr>
              <a:buSzPct val="120000"/>
              <a:buFont typeface="Segoe UI" panose="020B0502040204020203" pitchFamily="34" charset="0"/>
              <a:buChar char="−"/>
              <a:tabLst>
                <a:tab pos="182563" algn="l"/>
              </a:tabLst>
              <a:defRPr lang="en-US" sz="1000" b="0" kern="1200" cap="none" spc="10" baseline="0" noProof="0">
                <a:solidFill>
                  <a:schemeClr val="tx2"/>
                </a:solidFill>
                <a:latin typeface="+mn-lt"/>
                <a:ea typeface="+mn-ea"/>
                <a:cs typeface="Segoe UI Light" panose="020B0502040204020203" pitchFamily="34" charset="0"/>
              </a:defRPr>
            </a:lvl4pPr>
            <a:lvl5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lang="en-US" sz="1200" b="0" kern="1200" spc="40" baseline="0" noProof="0" dirty="0">
                <a:gradFill>
                  <a:gsLst>
                    <a:gs pos="0">
                      <a:srgbClr val="FF4B4B"/>
                    </a:gs>
                    <a:gs pos="99000">
                      <a:srgbClr val="FF744F"/>
                    </a:gs>
                  </a:gsLst>
                  <a:lin ang="18900000" scaled="0"/>
                </a:gradFill>
                <a:latin typeface="+mj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tabLst>
                <a:tab pos="182563" algn="l"/>
              </a:tabLst>
              <a:defRPr lang="en-US" sz="1000" b="0" kern="1200" cap="none" spc="4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6000" indent="-216000" algn="l" defTabSz="9144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 3" panose="05040102010807070707" pitchFamily="18" charset="2"/>
              <a:buChar char="g"/>
              <a:tabLst>
                <a:tab pos="182563" algn="l"/>
              </a:tabLst>
              <a:defRPr lang="en-US" sz="10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chemeClr val="accent4"/>
              </a:buClr>
              <a:buFontTx/>
              <a:buNone/>
              <a:tabLst>
                <a:tab pos="182563" algn="l"/>
              </a:tabLst>
              <a:defRPr lang="en-US" sz="1000" b="0" i="0" kern="1200" cap="all" spc="1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 algn="ctr"/>
            <a:r>
              <a:rPr lang="de-DE" sz="1800"/>
              <a:t>1. Online-Umfrage</a:t>
            </a:r>
          </a:p>
          <a:p>
            <a:pPr lvl="4"/>
            <a:endParaRPr lang="de-DE" sz="1800"/>
          </a:p>
          <a:p>
            <a:pPr marL="717750" lvl="6" indent="-285750">
              <a:buFont typeface="Arial" panose="020B0604020202020204" pitchFamily="34" charset="0"/>
              <a:buChar char="•"/>
            </a:pPr>
            <a:endParaRPr lang="de-DE" sz="1600">
              <a:latin typeface="+mj-lt"/>
            </a:endParaRPr>
          </a:p>
          <a:p>
            <a:pPr marL="717750" lvl="6" indent="-285750">
              <a:buFont typeface="Arial" panose="020B0604020202020204" pitchFamily="34" charset="0"/>
              <a:buChar char="•"/>
            </a:pPr>
            <a:endParaRPr lang="de-DE" sz="1600">
              <a:latin typeface="+mj-lt"/>
            </a:endParaRPr>
          </a:p>
          <a:p>
            <a:pPr marL="717750" lvl="6" indent="-285750">
              <a:buFont typeface="Arial" panose="020B0604020202020204" pitchFamily="34" charset="0"/>
              <a:buChar char="•"/>
            </a:pPr>
            <a:endParaRPr lang="de-DE" sz="1600">
              <a:latin typeface="+mj-lt"/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F165D753-871E-28E2-CAFC-6D8D9616A0B6}"/>
              </a:ext>
            </a:extLst>
          </p:cNvPr>
          <p:cNvSpPr/>
          <p:nvPr/>
        </p:nvSpPr>
        <p:spPr>
          <a:xfrm>
            <a:off x="935400" y="3885045"/>
            <a:ext cx="720000" cy="720000"/>
          </a:xfrm>
          <a:prstGeom prst="ellipse">
            <a:avLst/>
          </a:prstGeom>
          <a:solidFill>
            <a:schemeClr val="bg1"/>
          </a:solidFill>
          <a:ln w="19050" cap="flat">
            <a:solidFill>
              <a:srgbClr val="FF744F"/>
            </a:solidFill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>
                <a:latin typeface="+mj-lt"/>
              </a:rPr>
              <a:t>109</a:t>
            </a:r>
            <a:endParaRPr lang="en-GB" b="1" i="0">
              <a:effectLst/>
              <a:latin typeface="+mj-lt"/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2A017A23-D5A6-95C9-A6C7-4D935374AE23}"/>
              </a:ext>
            </a:extLst>
          </p:cNvPr>
          <p:cNvSpPr/>
          <p:nvPr/>
        </p:nvSpPr>
        <p:spPr>
          <a:xfrm>
            <a:off x="935400" y="4763116"/>
            <a:ext cx="720000" cy="720000"/>
          </a:xfrm>
          <a:prstGeom prst="ellipse">
            <a:avLst/>
          </a:prstGeom>
          <a:solidFill>
            <a:schemeClr val="bg1"/>
          </a:solidFill>
          <a:ln w="19050" cap="flat">
            <a:solidFill>
              <a:srgbClr val="FF744F"/>
            </a:solidFill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 i="0">
                <a:effectLst/>
                <a:latin typeface="+mj-lt"/>
              </a:rPr>
              <a:t>&gt;10</a:t>
            </a:r>
          </a:p>
        </p:txBody>
      </p:sp>
      <p:pic>
        <p:nvPicPr>
          <p:cNvPr id="52" name="Inhaltsplatzhalter 51">
            <a:extLst>
              <a:ext uri="{FF2B5EF4-FFF2-40B4-BE49-F238E27FC236}">
                <a16:creationId xmlns:a16="http://schemas.microsoft.com/office/drawing/2014/main" id="{146BFB3D-2AFE-3860-4AFC-631F5657FB3F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43978" y="2478135"/>
            <a:ext cx="864000" cy="864000"/>
          </a:xfrm>
        </p:spPr>
      </p:pic>
      <p:sp>
        <p:nvSpPr>
          <p:cNvPr id="53" name="Ellipse 52">
            <a:extLst>
              <a:ext uri="{FF2B5EF4-FFF2-40B4-BE49-F238E27FC236}">
                <a16:creationId xmlns:a16="http://schemas.microsoft.com/office/drawing/2014/main" id="{53914073-78C6-646E-C6FA-284272A170E0}"/>
              </a:ext>
            </a:extLst>
          </p:cNvPr>
          <p:cNvSpPr/>
          <p:nvPr/>
        </p:nvSpPr>
        <p:spPr>
          <a:xfrm>
            <a:off x="4667250" y="3886327"/>
            <a:ext cx="720000" cy="720000"/>
          </a:xfrm>
          <a:prstGeom prst="ellipse">
            <a:avLst/>
          </a:prstGeom>
          <a:solidFill>
            <a:schemeClr val="bg1"/>
          </a:solidFill>
          <a:ln w="19050" cap="flat">
            <a:solidFill>
              <a:srgbClr val="FF744F"/>
            </a:solidFill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>
                <a:latin typeface="+mj-lt"/>
              </a:rPr>
              <a:t>11</a:t>
            </a:r>
            <a:endParaRPr lang="en-GB" b="1" i="0">
              <a:effectLst/>
              <a:latin typeface="+mj-lt"/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245315C6-179E-52F0-D989-2DD42CA4F8C1}"/>
              </a:ext>
            </a:extLst>
          </p:cNvPr>
          <p:cNvSpPr/>
          <p:nvPr/>
        </p:nvSpPr>
        <p:spPr>
          <a:xfrm>
            <a:off x="4667250" y="4764398"/>
            <a:ext cx="720000" cy="720000"/>
          </a:xfrm>
          <a:prstGeom prst="ellipse">
            <a:avLst/>
          </a:prstGeom>
          <a:solidFill>
            <a:schemeClr val="bg1"/>
          </a:solidFill>
          <a:ln w="19050" cap="flat">
            <a:solidFill>
              <a:srgbClr val="FF744F"/>
            </a:solidFill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>
                <a:latin typeface="+mj-lt"/>
              </a:rPr>
              <a:t>2</a:t>
            </a:r>
            <a:endParaRPr lang="en-GB" b="1" i="0">
              <a:effectLst/>
              <a:latin typeface="+mj-lt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3D06FCEB-695C-C408-46BE-04434ED80647}"/>
              </a:ext>
            </a:extLst>
          </p:cNvPr>
          <p:cNvSpPr txBox="1"/>
          <p:nvPr/>
        </p:nvSpPr>
        <p:spPr>
          <a:xfrm>
            <a:off x="1223693" y="4080770"/>
            <a:ext cx="23022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lvl="6"/>
            <a:r>
              <a:rPr lang="de-DE" sz="1600">
                <a:latin typeface="+mj-lt"/>
              </a:rPr>
              <a:t>Teilnehmer*innen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5AB3C389-7927-65EC-CDD2-9A3BDF7E4516}"/>
              </a:ext>
            </a:extLst>
          </p:cNvPr>
          <p:cNvSpPr txBox="1"/>
          <p:nvPr/>
        </p:nvSpPr>
        <p:spPr>
          <a:xfrm>
            <a:off x="1240689" y="4952285"/>
            <a:ext cx="1870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lvl="6"/>
            <a:r>
              <a:rPr lang="de-DE" sz="1600">
                <a:latin typeface="+mj-lt"/>
              </a:rPr>
              <a:t>Branchen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F1324D9C-8821-921D-01F8-690479650749}"/>
              </a:ext>
            </a:extLst>
          </p:cNvPr>
          <p:cNvSpPr txBox="1"/>
          <p:nvPr/>
        </p:nvSpPr>
        <p:spPr>
          <a:xfrm>
            <a:off x="5036669" y="3950092"/>
            <a:ext cx="222560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lvl="6"/>
            <a:r>
              <a:rPr lang="de-DE" sz="1600">
                <a:latin typeface="+mj-lt"/>
              </a:rPr>
              <a:t>Unternehmens-</a:t>
            </a:r>
          </a:p>
          <a:p>
            <a:pPr marL="432000" lvl="6"/>
            <a:r>
              <a:rPr lang="de-DE" sz="1600">
                <a:latin typeface="+mj-lt"/>
              </a:rPr>
              <a:t>Expert*innen 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B6AB8B8-FAC0-0DF4-4F0D-AF32B064D64F}"/>
              </a:ext>
            </a:extLst>
          </p:cNvPr>
          <p:cNvSpPr txBox="1"/>
          <p:nvPr/>
        </p:nvSpPr>
        <p:spPr>
          <a:xfrm>
            <a:off x="4985618" y="4952285"/>
            <a:ext cx="21839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lvl="6"/>
            <a:r>
              <a:rPr lang="de-DE" sz="1600">
                <a:latin typeface="+mj-lt"/>
              </a:rPr>
              <a:t>Professor*innen</a:t>
            </a:r>
          </a:p>
        </p:txBody>
      </p:sp>
      <p:pic>
        <p:nvPicPr>
          <p:cNvPr id="68" name="Inhaltsplatzhalter 67">
            <a:extLst>
              <a:ext uri="{FF2B5EF4-FFF2-40B4-BE49-F238E27FC236}">
                <a16:creationId xmlns:a16="http://schemas.microsoft.com/office/drawing/2014/main" id="{5237E49F-9E70-5BE0-E452-0DDB16AE73C4}"/>
              </a:ext>
            </a:extLst>
          </p:cNvPr>
          <p:cNvPicPr>
            <a:picLocks noGrp="1" noChangeAspect="1"/>
          </p:cNvPicPr>
          <p:nvPr>
            <p:ph sz="quarter" idx="24"/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87558" y="2478135"/>
            <a:ext cx="864000" cy="864000"/>
          </a:xfrm>
        </p:spPr>
      </p:pic>
      <p:sp>
        <p:nvSpPr>
          <p:cNvPr id="63" name="Ellipse 62">
            <a:extLst>
              <a:ext uri="{FF2B5EF4-FFF2-40B4-BE49-F238E27FC236}">
                <a16:creationId xmlns:a16="http://schemas.microsoft.com/office/drawing/2014/main" id="{A89BC009-8D7D-675E-684A-3713221DC0E6}"/>
              </a:ext>
            </a:extLst>
          </p:cNvPr>
          <p:cNvSpPr/>
          <p:nvPr/>
        </p:nvSpPr>
        <p:spPr>
          <a:xfrm>
            <a:off x="8271249" y="3886327"/>
            <a:ext cx="720000" cy="720000"/>
          </a:xfrm>
          <a:prstGeom prst="ellipse">
            <a:avLst/>
          </a:prstGeom>
          <a:solidFill>
            <a:schemeClr val="bg1"/>
          </a:solidFill>
          <a:ln w="19050" cap="flat">
            <a:solidFill>
              <a:srgbClr val="FF744F"/>
            </a:solidFill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>
                <a:latin typeface="+mj-lt"/>
              </a:rPr>
              <a:t>11</a:t>
            </a:r>
            <a:endParaRPr lang="en-GB" b="1" i="0">
              <a:effectLst/>
              <a:latin typeface="+mj-lt"/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CD3591-B178-230D-5557-B3F320EEBB43}"/>
              </a:ext>
            </a:extLst>
          </p:cNvPr>
          <p:cNvSpPr/>
          <p:nvPr/>
        </p:nvSpPr>
        <p:spPr>
          <a:xfrm>
            <a:off x="8271249" y="4764398"/>
            <a:ext cx="720000" cy="720000"/>
          </a:xfrm>
          <a:prstGeom prst="ellipse">
            <a:avLst/>
          </a:prstGeom>
          <a:solidFill>
            <a:schemeClr val="bg1"/>
          </a:solidFill>
          <a:ln w="19050" cap="flat">
            <a:solidFill>
              <a:srgbClr val="FF744F"/>
            </a:solidFill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 i="0">
                <a:effectLst/>
                <a:latin typeface="+mj-lt"/>
              </a:rPr>
              <a:t>3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FB2AECDC-B466-543C-0A99-779214042B63}"/>
              </a:ext>
            </a:extLst>
          </p:cNvPr>
          <p:cNvSpPr txBox="1"/>
          <p:nvPr/>
        </p:nvSpPr>
        <p:spPr>
          <a:xfrm>
            <a:off x="8587531" y="3952657"/>
            <a:ext cx="222560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lvl="6"/>
            <a:r>
              <a:rPr lang="de-DE" sz="1600">
                <a:latin typeface="+mj-lt"/>
              </a:rPr>
              <a:t>Exemplarische Case Studies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8CE301E-AB0C-25CB-D1EA-DDC7F03D777E}"/>
              </a:ext>
            </a:extLst>
          </p:cNvPr>
          <p:cNvSpPr txBox="1"/>
          <p:nvPr/>
        </p:nvSpPr>
        <p:spPr>
          <a:xfrm>
            <a:off x="8587531" y="4809777"/>
            <a:ext cx="222560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lvl="6"/>
            <a:r>
              <a:rPr lang="de-DE" sz="1600">
                <a:latin typeface="+mj-lt"/>
              </a:rPr>
              <a:t>Konkrete Lösungsansätze</a:t>
            </a:r>
          </a:p>
        </p:txBody>
      </p:sp>
      <p:pic>
        <p:nvPicPr>
          <p:cNvPr id="70" name="Inhaltsplatzhalter 69">
            <a:extLst>
              <a:ext uri="{FF2B5EF4-FFF2-40B4-BE49-F238E27FC236}">
                <a16:creationId xmlns:a16="http://schemas.microsoft.com/office/drawing/2014/main" id="{7D975056-B923-D615-EEC1-1AEF1D6AB59B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31139" y="2478135"/>
            <a:ext cx="864000" cy="864000"/>
          </a:xfrm>
        </p:spPr>
      </p:pic>
      <p:sp>
        <p:nvSpPr>
          <p:cNvPr id="6" name="shape">
            <a:extLst>
              <a:ext uri="{FF2B5EF4-FFF2-40B4-BE49-F238E27FC236}">
                <a16:creationId xmlns:a16="http://schemas.microsoft.com/office/drawing/2014/main" id="{A9045320-56CB-2747-E74E-02E52ABE8435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9" name="Picture Placeholder 21">
            <a:extLst>
              <a:ext uri="{FF2B5EF4-FFF2-40B4-BE49-F238E27FC236}">
                <a16:creationId xmlns:a16="http://schemas.microsoft.com/office/drawing/2014/main" id="{04606C6F-A7AD-6792-E40C-5A40D9D9C210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100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A61DDEF0-12E4-79FF-D5B3-0694A4D354C0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E4FF09A-FC71-D376-05C3-CDF7D769A13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837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61C827-4553-DC42-01DF-C0169BF86E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CD51DAD0-DA35-20D9-20AF-DE1D36617FA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ABB80374-27F7-2510-0B7C-1B4D136B4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ABB80374-27F7-2510-0B7C-1B4D136B4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0238166-2715-CD9C-6C35-6D7A697AB2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138" y="6379200"/>
            <a:ext cx="288000" cy="180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B5DC5B-6873-43DB-ADC7-B15ACCE0DFDB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CDCD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CDCDCD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19DFA8D1-1C78-273C-82BB-A67AF8D01B7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48698" y="2857672"/>
            <a:ext cx="2448000" cy="2218878"/>
          </a:xfrm>
        </p:spPr>
        <p:txBody>
          <a:bodyPr lIns="36000" rIns="36000"/>
          <a:lstStyle/>
          <a:p>
            <a:pPr lvl="8" algn="ctr"/>
            <a:r>
              <a:rPr lang="de-DE" sz="1400" cap="none">
                <a:latin typeface="+mj-lt"/>
              </a:rPr>
              <a:t>Hypothese 4: </a:t>
            </a:r>
          </a:p>
          <a:p>
            <a:pPr lvl="8" algn="ctr"/>
            <a:r>
              <a:rPr lang="de-DE" sz="1400" cap="none"/>
              <a:t>Fokus auf Regulatorik statt wirtschaftlichem Nutze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F8D372-9300-814B-65B6-AC85DEF353D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79132" y="2857672"/>
            <a:ext cx="2448000" cy="2218878"/>
          </a:xfrm>
          <a:solidFill>
            <a:schemeClr val="bg1"/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36000" tIns="1044000" rIns="36000" bIns="0" rtlCol="0">
            <a:noAutofit/>
          </a:bodyPr>
          <a:lstStyle/>
          <a:p>
            <a:pPr lvl="8" algn="ctr"/>
            <a:r>
              <a:rPr lang="de-DE" sz="1400" cap="none">
                <a:latin typeface="+mj-lt"/>
              </a:rPr>
              <a:t>Hypothese 3: </a:t>
            </a:r>
          </a:p>
          <a:p>
            <a:pPr lvl="8" algn="ctr"/>
            <a:r>
              <a:rPr lang="de-DE" sz="1400" cap="none"/>
              <a:t>Geringe Nutzung nachhaltigkeitsrelevanter Dat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DC6DFE-81BC-38AC-5055-9F9EE2B75CE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09566" y="2857673"/>
            <a:ext cx="2448000" cy="2218878"/>
          </a:xfrm>
        </p:spPr>
        <p:txBody>
          <a:bodyPr lIns="36000" rIns="36000"/>
          <a:lstStyle/>
          <a:p>
            <a:pPr lvl="8" algn="ctr"/>
            <a:r>
              <a:rPr lang="de-DE" sz="1400" cap="none">
                <a:latin typeface="+mj-lt"/>
              </a:rPr>
              <a:t>Hypothese 2: </a:t>
            </a:r>
          </a:p>
          <a:p>
            <a:pPr lvl="8" algn="ctr"/>
            <a:r>
              <a:rPr lang="de-DE" sz="1400" cap="none"/>
              <a:t>KI: Fokus auf Automatisierung statt strategischer Nutzu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C50CD7-7842-51EB-7C8C-C3374572072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40000" y="2857672"/>
            <a:ext cx="2448000" cy="2218878"/>
          </a:xfrm>
        </p:spPr>
        <p:txBody>
          <a:bodyPr lIns="36000" rIns="36000"/>
          <a:lstStyle/>
          <a:p>
            <a:pPr lvl="8" algn="ctr"/>
            <a:r>
              <a:rPr lang="de-DE" sz="1400" cap="none">
                <a:latin typeface="+mj-lt"/>
              </a:rPr>
              <a:t>Hypothese 1:</a:t>
            </a:r>
          </a:p>
          <a:p>
            <a:pPr lvl="8" algn="ctr"/>
            <a:r>
              <a:rPr lang="de-DE" sz="1400" cap="none"/>
              <a:t>Geringe Nutzung digitaler Technologien</a:t>
            </a:r>
          </a:p>
        </p:txBody>
      </p:sp>
      <p:sp>
        <p:nvSpPr>
          <p:cNvPr id="36" name="Title 35">
            <a:extLst>
              <a:ext uri="{FF2B5EF4-FFF2-40B4-BE49-F238E27FC236}">
                <a16:creationId xmlns:a16="http://schemas.microsoft.com/office/drawing/2014/main" id="{200DCCB9-14F2-CBFC-6CC5-A3D63D457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22301"/>
            <a:ext cx="11088000" cy="648000"/>
          </a:xfrm>
        </p:spPr>
        <p:txBody>
          <a:bodyPr vert="horz"/>
          <a:lstStyle/>
          <a:p>
            <a:r>
              <a:rPr lang="de-DE"/>
              <a:t>Ausgangspunkt der Studie sind vier Hypothesen zur Rolle digitaler Technologien für nachhaltige Unternehmensentwicklung</a:t>
            </a:r>
            <a:endParaRPr lang="en-US"/>
          </a:p>
        </p:txBody>
      </p:sp>
      <p:pic>
        <p:nvPicPr>
          <p:cNvPr id="19" name="Inhaltsplatzhalter 18">
            <a:extLst>
              <a:ext uri="{FF2B5EF4-FFF2-40B4-BE49-F238E27FC236}">
                <a16:creationId xmlns:a16="http://schemas.microsoft.com/office/drawing/2014/main" id="{A0F6D7B4-D57E-8D15-ED2B-938F2581020D}"/>
              </a:ext>
            </a:extLst>
          </p:cNvPr>
          <p:cNvPicPr>
            <a:picLocks noGrp="1" noChangeAspect="1"/>
          </p:cNvPicPr>
          <p:nvPr>
            <p:ph sz="quarter" idx="27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51660" y="2937574"/>
            <a:ext cx="702945" cy="702945"/>
          </a:xfr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E00C931D-BAAC-1402-1FC2-11FA581809D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82566" y="2937575"/>
            <a:ext cx="702000" cy="702000"/>
          </a:xfrm>
          <a:prstGeom prst="rect">
            <a:avLst/>
          </a:prstGeom>
        </p:spPr>
      </p:pic>
      <p:pic>
        <p:nvPicPr>
          <p:cNvPr id="30" name="Inhaltsplatzhalter 29">
            <a:extLst>
              <a:ext uri="{FF2B5EF4-FFF2-40B4-BE49-F238E27FC236}">
                <a16:creationId xmlns:a16="http://schemas.microsoft.com/office/drawing/2014/main" id="{7DAB5402-1008-F039-3BE9-4B73E707B821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90870" y="2937574"/>
            <a:ext cx="702000" cy="702000"/>
          </a:xfr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DC5EFACA-0C2B-7539-9166-84C16077DAF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62195" y="2937574"/>
            <a:ext cx="702000" cy="702000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CA076E5-8B3D-75D0-9C11-ED641C59A1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arum haben wir diese Studie durchgeführt?</a:t>
            </a:r>
          </a:p>
          <a:p>
            <a:endParaRPr lang="de-DE"/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4ECF8F9C-081E-6F3B-C4C6-2D7238E65D08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12" name="Picture Placeholder 21">
            <a:extLst>
              <a:ext uri="{FF2B5EF4-FFF2-40B4-BE49-F238E27FC236}">
                <a16:creationId xmlns:a16="http://schemas.microsoft.com/office/drawing/2014/main" id="{688F4490-DDE4-B8D8-F4B0-9DA329825354}"/>
              </a:ext>
            </a:extLst>
          </p:cNvPr>
          <p:cNvPicPr>
            <a:picLocks noChangeAspect="1"/>
          </p:cNvPicPr>
          <p:nvPr/>
        </p:nvPicPr>
        <p:blipFill>
          <a:blip r:embed="rId14">
            <a:lum bright="100000"/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89B95C28-6E1D-C9B3-511D-178B87A2973D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CC4E6A7-45C3-675D-B07F-92542A55CB1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222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FB6D7-9FAA-6B7E-AA32-83A4772541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00B705-2DE1-5731-0074-B4BE3997208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8785CFF-7312-355A-2754-B06AEC4E30E6}"/>
              </a:ext>
            </a:extLst>
          </p:cNvPr>
          <p:cNvGrpSpPr/>
          <p:nvPr/>
        </p:nvGrpSpPr>
        <p:grpSpPr>
          <a:xfrm>
            <a:off x="-396974" y="2144137"/>
            <a:ext cx="12060974" cy="1932336"/>
            <a:chOff x="-408923" y="4247449"/>
            <a:chExt cx="12060974" cy="1932336"/>
          </a:xfrm>
        </p:grpSpPr>
        <p:graphicFrame>
          <p:nvGraphicFramePr>
            <p:cNvPr id="37" name="Chart Placeholder 60">
              <a:extLst>
                <a:ext uri="{FF2B5EF4-FFF2-40B4-BE49-F238E27FC236}">
                  <a16:creationId xmlns:a16="http://schemas.microsoft.com/office/drawing/2014/main" id="{9A40E153-09B8-0A0F-B829-E93A3306553F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12546344"/>
                </p:ext>
              </p:extLst>
            </p:nvPr>
          </p:nvGraphicFramePr>
          <p:xfrm>
            <a:off x="-408923" y="4764504"/>
            <a:ext cx="6377849" cy="14152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7A7C2C36-89BD-C6C4-4CA0-6966436A44FA}"/>
                </a:ext>
              </a:extLst>
            </p:cNvPr>
            <p:cNvSpPr/>
            <p:nvPr/>
          </p:nvSpPr>
          <p:spPr>
            <a:xfrm>
              <a:off x="4668253" y="4986897"/>
              <a:ext cx="6959745" cy="90000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30196"/>
              </a:schemeClr>
            </a:solidFill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vert="horz" lIns="36000" tIns="1044000" rIns="36000" bIns="0" rtlCol="0">
              <a:noAutofit/>
            </a:bodyPr>
            <a:lstStyle/>
            <a:p>
              <a:pPr>
                <a:lnSpc>
                  <a:spcPts val="18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tabLst>
                  <a:tab pos="182563" algn="l"/>
                </a:tabLst>
              </a:pPr>
              <a:endParaRPr lang="en-GB" sz="1000" err="1">
                <a:solidFill>
                  <a:schemeClr val="tx2"/>
                </a:solidFill>
              </a:endParaRPr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E53A7E4F-AE1A-3AD9-5F5A-B3F13E980040}"/>
                </a:ext>
              </a:extLst>
            </p:cNvPr>
            <p:cNvSpPr/>
            <p:nvPr/>
          </p:nvSpPr>
          <p:spPr>
            <a:xfrm>
              <a:off x="10752051" y="4553750"/>
              <a:ext cx="900000" cy="900000"/>
            </a:xfrm>
            <a:prstGeom prst="ellipse">
              <a:avLst/>
            </a:prstGeom>
            <a:solidFill>
              <a:schemeClr val="accent1"/>
            </a:solidFill>
            <a:ln w="19050" cap="flat">
              <a:noFill/>
              <a:prstDash val="solid"/>
              <a:miter/>
            </a:ln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lIns="0" tIns="0" rIns="0" bIns="0" rtlCol="0" anchor="ctr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endParaRPr lang="en-GB" sz="1700" i="0">
                <a:solidFill>
                  <a:schemeClr val="bg1"/>
                </a:solidFill>
                <a:effectLst/>
                <a:latin typeface="+mj-lt"/>
              </a:endParaRP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5CCC7BAB-29AB-AE83-CA8B-E011B1057DEB}"/>
                </a:ext>
              </a:extLst>
            </p:cNvPr>
            <p:cNvSpPr/>
            <p:nvPr/>
          </p:nvSpPr>
          <p:spPr>
            <a:xfrm>
              <a:off x="4668254" y="4996408"/>
              <a:ext cx="913132" cy="900000"/>
            </a:xfrm>
            <a:prstGeom prst="ellipse">
              <a:avLst/>
            </a:prstGeom>
            <a:solidFill>
              <a:schemeClr val="accent1"/>
            </a:solidFill>
            <a:ln w="19050" cap="flat">
              <a:noFill/>
              <a:prstDash val="solid"/>
              <a:miter/>
            </a:ln>
            <a:effectLst>
              <a:outerShdw blurRad="63500" algn="ctr" rotWithShape="0">
                <a:schemeClr val="accent4">
                  <a:alpha val="50000"/>
                </a:schemeClr>
              </a:outerShdw>
            </a:effectLst>
          </p:spPr>
          <p:txBody>
            <a:bodyPr lIns="0" tIns="0" rIns="0" bIns="0" rtlCol="0" anchor="ctr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>
                  <a:solidFill>
                    <a:schemeClr val="bg1"/>
                  </a:solidFill>
                  <a:latin typeface="+mj-lt"/>
                </a:rPr>
                <a:t>30%</a:t>
              </a:r>
              <a:endParaRPr lang="en-GB" i="0">
                <a:solidFill>
                  <a:schemeClr val="bg1"/>
                </a:solidFill>
                <a:effectLst/>
                <a:latin typeface="+mj-lt"/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AE9D0D02-FC06-8DD7-2FBC-EE1EEAE308F6}"/>
                </a:ext>
              </a:extLst>
            </p:cNvPr>
            <p:cNvSpPr txBox="1"/>
            <p:nvPr/>
          </p:nvSpPr>
          <p:spPr>
            <a:xfrm>
              <a:off x="5373823" y="5158211"/>
              <a:ext cx="384650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l-NL"/>
              </a:defPPr>
              <a:lvl7pPr marL="216000" lvl="6" indent="0">
                <a:buNone/>
                <a:defRPr sz="1600"/>
              </a:lvl7pPr>
            </a:lstStyle>
            <a:p>
              <a:pPr lvl="6"/>
              <a:r>
                <a:rPr lang="de-DE"/>
                <a:t>Nutzen </a:t>
              </a:r>
              <a:r>
                <a:rPr lang="de-DE">
                  <a:latin typeface="+mj-lt"/>
                </a:rPr>
                <a:t>keine digitalen Technologien </a:t>
              </a:r>
              <a:r>
                <a:rPr lang="de-DE"/>
                <a:t>für Nachhaltigkeitszwecke</a:t>
              </a:r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3D2CD323-03FB-65A7-BA53-FB944CAF23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842051" y="4624315"/>
              <a:ext cx="720000" cy="720000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05BE823-BC72-1398-C548-B89C2BE5DDD1}"/>
                </a:ext>
              </a:extLst>
            </p:cNvPr>
            <p:cNvSpPr txBox="1"/>
            <p:nvPr/>
          </p:nvSpPr>
          <p:spPr>
            <a:xfrm>
              <a:off x="550863" y="4247449"/>
              <a:ext cx="7801672" cy="5028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ts val="1800"/>
                </a:lnSpc>
              </a:pPr>
              <a:r>
                <a:rPr lang="en-US" sz="1600" err="1">
                  <a:solidFill>
                    <a:schemeClr val="tx2"/>
                  </a:solidFill>
                  <a:latin typeface="+mj-lt"/>
                </a:rPr>
                <a:t>Nutzen</a:t>
              </a:r>
              <a:r>
                <a:rPr lang="en-US" sz="1600">
                  <a:solidFill>
                    <a:schemeClr val="tx2"/>
                  </a:solidFill>
                  <a:latin typeface="+mj-lt"/>
                </a:rPr>
                <a:t> Sie </a:t>
              </a:r>
              <a:r>
                <a:rPr lang="en-US" sz="1600" err="1">
                  <a:solidFill>
                    <a:schemeClr val="tx2"/>
                  </a:solidFill>
                  <a:latin typeface="+mj-lt"/>
                </a:rPr>
                <a:t>digitale</a:t>
              </a:r>
              <a:r>
                <a:rPr lang="en-US" sz="160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sz="1600" err="1">
                  <a:solidFill>
                    <a:schemeClr val="tx2"/>
                  </a:solidFill>
                  <a:latin typeface="+mj-lt"/>
                </a:rPr>
                <a:t>Technologien</a:t>
              </a:r>
              <a:r>
                <a:rPr lang="en-US" sz="1600">
                  <a:solidFill>
                    <a:schemeClr val="tx2"/>
                  </a:solidFill>
                  <a:latin typeface="+mj-lt"/>
                </a:rPr>
                <a:t> für </a:t>
              </a:r>
              <a:r>
                <a:rPr lang="en-US" sz="1600" err="1">
                  <a:solidFill>
                    <a:schemeClr val="tx2"/>
                  </a:solidFill>
                  <a:latin typeface="+mj-lt"/>
                </a:rPr>
                <a:t>nachhaltige</a:t>
              </a:r>
              <a:r>
                <a:rPr lang="en-US" sz="160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sz="1600" err="1">
                  <a:solidFill>
                    <a:schemeClr val="tx2"/>
                  </a:solidFill>
                  <a:latin typeface="+mj-lt"/>
                </a:rPr>
                <a:t>Zwecke</a:t>
              </a:r>
              <a:r>
                <a:rPr lang="en-US" sz="1600">
                  <a:solidFill>
                    <a:schemeClr val="tx2"/>
                  </a:solidFill>
                  <a:latin typeface="+mj-lt"/>
                </a:rPr>
                <a:t> in </a:t>
              </a:r>
              <a:r>
                <a:rPr lang="en-US" sz="1600" err="1">
                  <a:solidFill>
                    <a:schemeClr val="tx2"/>
                  </a:solidFill>
                  <a:latin typeface="+mj-lt"/>
                </a:rPr>
                <a:t>Ihrem</a:t>
              </a:r>
              <a:r>
                <a:rPr lang="en-US" sz="160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sz="1600" err="1">
                  <a:solidFill>
                    <a:schemeClr val="tx2"/>
                  </a:solidFill>
                  <a:latin typeface="+mj-lt"/>
                </a:rPr>
                <a:t>Unternehmen</a:t>
              </a:r>
              <a:r>
                <a:rPr lang="en-US" sz="1600">
                  <a:solidFill>
                    <a:schemeClr val="tx2"/>
                  </a:solidFill>
                  <a:latin typeface="+mj-lt"/>
                </a:rPr>
                <a:t>?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72A7A97-5679-A995-64A3-FDDD9058D907}"/>
                </a:ext>
              </a:extLst>
            </p:cNvPr>
            <p:cNvSpPr/>
            <p:nvPr/>
          </p:nvSpPr>
          <p:spPr>
            <a:xfrm>
              <a:off x="2515555" y="4973127"/>
              <a:ext cx="1944000" cy="361987"/>
            </a:xfrm>
            <a:prstGeom prst="rect">
              <a:avLst/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72000" tIns="72000" rIns="72000" bIns="36000" rtlCol="0" anchor="t" anchorCtr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en-US" sz="140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rPr>
                <a:t>Nein/ Weiß </a:t>
              </a:r>
              <a:r>
                <a:rPr lang="en-US" sz="1400" kern="1200" err="1">
                  <a:solidFill>
                    <a:schemeClr val="bg1"/>
                  </a:solidFill>
                  <a:latin typeface="+mj-lt"/>
                  <a:ea typeface="+mn-ea"/>
                  <a:cs typeface="+mn-cs"/>
                </a:rPr>
                <a:t>nicht</a:t>
              </a:r>
              <a:endParaRPr lang="en-US" sz="1400" kern="1200">
                <a:solidFill>
                  <a:schemeClr val="bg1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6A4C5025-3314-7315-4649-2C270B2F77D9}"/>
                </a:ext>
              </a:extLst>
            </p:cNvPr>
            <p:cNvSpPr/>
            <p:nvPr/>
          </p:nvSpPr>
          <p:spPr>
            <a:xfrm>
              <a:off x="2515555" y="5514120"/>
              <a:ext cx="1944000" cy="361987"/>
            </a:xfrm>
            <a:prstGeom prst="rect">
              <a:avLst/>
            </a:pr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lIns="72000" tIns="72000" rIns="72000" bIns="36000" rtlCol="0" anchor="t" anchorCtr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kern="1200">
                  <a:latin typeface="+mj-lt"/>
                </a:rPr>
                <a:t>Ja</a:t>
              </a:r>
            </a:p>
          </p:txBody>
        </p:sp>
        <p:sp>
          <p:nvSpPr>
            <p:cNvPr id="24" name="Arrow: Chevron 53">
              <a:extLst>
                <a:ext uri="{FF2B5EF4-FFF2-40B4-BE49-F238E27FC236}">
                  <a16:creationId xmlns:a16="http://schemas.microsoft.com/office/drawing/2014/main" id="{08455881-B4A5-DEF1-3654-9DFCFC4820B4}"/>
                </a:ext>
              </a:extLst>
            </p:cNvPr>
            <p:cNvSpPr/>
            <p:nvPr/>
          </p:nvSpPr>
          <p:spPr>
            <a:xfrm>
              <a:off x="8987718" y="4997190"/>
              <a:ext cx="340503" cy="873031"/>
            </a:xfrm>
            <a:prstGeom prst="chevron">
              <a:avLst/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36000" tIns="36000" rIns="36000" bIns="36000" rtlCol="0" anchor="ctr" anchorCtr="0"/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endParaRPr lang="de-DE" sz="1200" b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54694795-7F3B-C4E2-BBFC-62E7E5076D91}"/>
                </a:ext>
              </a:extLst>
            </p:cNvPr>
            <p:cNvSpPr txBox="1"/>
            <p:nvPr/>
          </p:nvSpPr>
          <p:spPr>
            <a:xfrm>
              <a:off x="9119001" y="5145890"/>
              <a:ext cx="214552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l-NL"/>
              </a:defPPr>
              <a:lvl7pPr marL="216000" lvl="6" indent="0">
                <a:buNone/>
                <a:defRPr sz="1600"/>
              </a:lvl7pPr>
            </a:lstStyle>
            <a:p>
              <a:pPr lvl="6"/>
              <a:r>
                <a:rPr lang="de-DE">
                  <a:latin typeface="+mj-lt"/>
                </a:rPr>
                <a:t>Lösungsansatz: </a:t>
              </a:r>
              <a:r>
                <a:rPr lang="de-DE"/>
                <a:t>ESG-Toolauswahl</a:t>
              </a:r>
            </a:p>
          </p:txBody>
        </p:sp>
      </p:grpSp>
      <p:pic>
        <p:nvPicPr>
          <p:cNvPr id="36" name="Grafik 35">
            <a:extLst>
              <a:ext uri="{FF2B5EF4-FFF2-40B4-BE49-F238E27FC236}">
                <a16:creationId xmlns:a16="http://schemas.microsoft.com/office/drawing/2014/main" id="{4791DB39-B0E8-345A-0A9B-5E06E93B1C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02221" y="555716"/>
            <a:ext cx="2106672" cy="192240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FC6FB8D-AF29-4AD0-F917-8FE370ECB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3BCF-C0F1-4720-B5E7-944FE630E67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9BFDAA-5E8A-A50D-264A-3FA5B710A0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B521903-7C7C-2AD7-F964-F5D43B860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gitale Lösungen bleiben im Nachhaltigkeitskontext oft </a:t>
            </a:r>
            <a:br>
              <a:rPr lang="de-DE"/>
            </a:br>
            <a:r>
              <a:rPr lang="de-DE"/>
              <a:t>ungenutzt, eine zentrale Chance bleibt unerschloss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5D54D54-2256-454B-EC7A-A93EFE1E6B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as </a:t>
            </a:r>
            <a:r>
              <a:rPr lang="en-US" err="1"/>
              <a:t>haben</a:t>
            </a:r>
            <a:r>
              <a:rPr lang="en-US"/>
              <a:t> </a:t>
            </a:r>
            <a:r>
              <a:rPr lang="en-US" err="1"/>
              <a:t>wir</a:t>
            </a:r>
            <a:r>
              <a:rPr lang="en-US"/>
              <a:t> </a:t>
            </a:r>
            <a:r>
              <a:rPr lang="en-US" err="1"/>
              <a:t>herausgefunden</a:t>
            </a:r>
            <a:r>
              <a:rPr lang="en-US"/>
              <a:t>?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77F6653-4ACC-453A-C388-4EA3CEE44213}"/>
              </a:ext>
            </a:extLst>
          </p:cNvPr>
          <p:cNvSpPr/>
          <p:nvPr/>
        </p:nvSpPr>
        <p:spPr>
          <a:xfrm>
            <a:off x="9412521" y="645986"/>
            <a:ext cx="864000" cy="864000"/>
          </a:xfrm>
          <a:prstGeom prst="ellipse">
            <a:avLst/>
          </a:prstGeom>
          <a:solidFill>
            <a:srgbClr val="00B050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GB" b="1" i="0"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E7ADD469-D3BD-1B06-0655-C170688160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12521" y="652916"/>
            <a:ext cx="864000" cy="864000"/>
          </a:xfrm>
          <a:prstGeom prst="rect">
            <a:avLst/>
          </a:prstGeom>
        </p:spPr>
      </p:pic>
      <p:graphicFrame>
        <p:nvGraphicFramePr>
          <p:cNvPr id="38" name="Chart Placeholder 60">
            <a:extLst>
              <a:ext uri="{FF2B5EF4-FFF2-40B4-BE49-F238E27FC236}">
                <a16:creationId xmlns:a16="http://schemas.microsoft.com/office/drawing/2014/main" id="{2A47C9BD-89E9-513F-0092-1D3502E89D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7500661"/>
              </p:ext>
            </p:extLst>
          </p:nvPr>
        </p:nvGraphicFramePr>
        <p:xfrm>
          <a:off x="-150029" y="4746758"/>
          <a:ext cx="5574439" cy="1415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AD97295-1354-7C13-A971-D9D1F16ED974}"/>
              </a:ext>
            </a:extLst>
          </p:cNvPr>
          <p:cNvSpPr/>
          <p:nvPr/>
        </p:nvSpPr>
        <p:spPr>
          <a:xfrm>
            <a:off x="4685579" y="4962575"/>
            <a:ext cx="6959746" cy="900000"/>
          </a:xfrm>
          <a:prstGeom prst="roundRect">
            <a:avLst>
              <a:gd name="adj" fmla="val 50000"/>
            </a:avLst>
          </a:prstGeom>
          <a:solidFill>
            <a:srgbClr val="FF4B4B">
              <a:alpha val="30196"/>
            </a:srgbClr>
          </a:solidFill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vert="horz" lIns="36000" tIns="1044000" rIns="36000" bIns="0" rtlCol="0">
            <a:noAutofit/>
          </a:bodyPr>
          <a:lstStyle/>
          <a:p>
            <a:pPr>
              <a:lnSpc>
                <a:spcPts val="18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tabLst>
                <a:tab pos="182563" algn="l"/>
              </a:tabLst>
            </a:pPr>
            <a:endParaRPr lang="en-GB" sz="1000" err="1">
              <a:solidFill>
                <a:schemeClr val="tx2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78EB6A11-3C0D-EE77-AA5D-6CEAAA7473AD}"/>
              </a:ext>
            </a:extLst>
          </p:cNvPr>
          <p:cNvSpPr/>
          <p:nvPr/>
        </p:nvSpPr>
        <p:spPr>
          <a:xfrm>
            <a:off x="4685579" y="4962575"/>
            <a:ext cx="900001" cy="900000"/>
          </a:xfrm>
          <a:prstGeom prst="ellipse">
            <a:avLst/>
          </a:prstGeom>
          <a:solidFill>
            <a:srgbClr val="FF4B4B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>
                <a:solidFill>
                  <a:schemeClr val="bg1"/>
                </a:solidFill>
                <a:latin typeface="+mj-lt"/>
              </a:rPr>
              <a:t>80</a:t>
            </a:r>
            <a:r>
              <a:rPr lang="en-GB" i="0">
                <a:solidFill>
                  <a:schemeClr val="bg1"/>
                </a:solidFill>
                <a:effectLst/>
                <a:latin typeface="+mj-lt"/>
              </a:rPr>
              <a:t>%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EA1E8B5D-0068-F1DD-FE80-506816C0553E}"/>
              </a:ext>
            </a:extLst>
          </p:cNvPr>
          <p:cNvSpPr txBox="1"/>
          <p:nvPr/>
        </p:nvSpPr>
        <p:spPr>
          <a:xfrm>
            <a:off x="5392031" y="5015987"/>
            <a:ext cx="384562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NL"/>
            </a:defPPr>
            <a:lvl7pPr marL="216000" lvl="6" indent="0">
              <a:buNone/>
              <a:defRPr sz="1600"/>
            </a:lvl7pPr>
          </a:lstStyle>
          <a:p>
            <a:pPr lvl="6"/>
            <a:r>
              <a:rPr lang="de-DE"/>
              <a:t>Haben die </a:t>
            </a:r>
            <a:r>
              <a:rPr lang="de-DE">
                <a:latin typeface="+mj-lt"/>
              </a:rPr>
              <a:t>Datenerfassung nicht automatisiert </a:t>
            </a:r>
            <a:r>
              <a:rPr lang="de-DE"/>
              <a:t>und erfassen die Daten größtenteils manuell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F86FA740-D9C4-3D55-7C5F-70B0B907BD43}"/>
              </a:ext>
            </a:extLst>
          </p:cNvPr>
          <p:cNvSpPr/>
          <p:nvPr/>
        </p:nvSpPr>
        <p:spPr>
          <a:xfrm>
            <a:off x="10764000" y="4491352"/>
            <a:ext cx="900000" cy="900000"/>
          </a:xfrm>
          <a:prstGeom prst="ellipse">
            <a:avLst/>
          </a:prstGeom>
          <a:solidFill>
            <a:srgbClr val="FF4B4B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GB" sz="1700" i="0"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8BB4D354-6F31-5F16-0017-78A151E479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4000" y="4562201"/>
            <a:ext cx="720000" cy="7200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9ED38FCC-095D-7DA6-6952-2A147579637E}"/>
              </a:ext>
            </a:extLst>
          </p:cNvPr>
          <p:cNvSpPr txBox="1"/>
          <p:nvPr/>
        </p:nvSpPr>
        <p:spPr>
          <a:xfrm>
            <a:off x="556087" y="4262779"/>
            <a:ext cx="7790809" cy="5028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</a:pPr>
            <a:r>
              <a:rPr lang="en-US" sz="1600">
                <a:solidFill>
                  <a:schemeClr val="tx2"/>
                </a:solidFill>
                <a:latin typeface="+mj-lt"/>
              </a:rPr>
              <a:t>Wie </a:t>
            </a:r>
            <a:r>
              <a:rPr lang="en-US" sz="1600" err="1">
                <a:solidFill>
                  <a:schemeClr val="tx2"/>
                </a:solidFill>
                <a:latin typeface="+mj-lt"/>
              </a:rPr>
              <a:t>hoch</a:t>
            </a:r>
            <a:r>
              <a:rPr lang="en-US" sz="1600">
                <a:solidFill>
                  <a:schemeClr val="tx2"/>
                </a:solidFill>
                <a:latin typeface="+mj-lt"/>
              </a:rPr>
              <a:t> </a:t>
            </a:r>
            <a:r>
              <a:rPr lang="en-US" sz="1600" err="1">
                <a:solidFill>
                  <a:schemeClr val="tx2"/>
                </a:solidFill>
                <a:latin typeface="+mj-lt"/>
              </a:rPr>
              <a:t>ist</a:t>
            </a:r>
            <a:r>
              <a:rPr lang="en-US" sz="1600">
                <a:solidFill>
                  <a:schemeClr val="tx2"/>
                </a:solidFill>
                <a:latin typeface="+mj-lt"/>
              </a:rPr>
              <a:t> der </a:t>
            </a:r>
            <a:r>
              <a:rPr lang="en-US" sz="1600" err="1">
                <a:solidFill>
                  <a:schemeClr val="tx2"/>
                </a:solidFill>
                <a:latin typeface="+mj-lt"/>
              </a:rPr>
              <a:t>Automatisierungsgrad</a:t>
            </a:r>
            <a:r>
              <a:rPr lang="en-US" sz="1600">
                <a:solidFill>
                  <a:schemeClr val="tx2"/>
                </a:solidFill>
                <a:latin typeface="+mj-lt"/>
              </a:rPr>
              <a:t> der </a:t>
            </a:r>
            <a:r>
              <a:rPr lang="en-US" sz="1600" err="1">
                <a:solidFill>
                  <a:schemeClr val="tx2"/>
                </a:solidFill>
                <a:latin typeface="+mj-lt"/>
              </a:rPr>
              <a:t>Datenerfassung</a:t>
            </a:r>
            <a:r>
              <a:rPr lang="en-US" sz="1600">
                <a:solidFill>
                  <a:schemeClr val="tx2"/>
                </a:solidFill>
                <a:latin typeface="+mj-lt"/>
              </a:rPr>
              <a:t> in </a:t>
            </a:r>
            <a:r>
              <a:rPr lang="en-US" sz="1600" err="1">
                <a:solidFill>
                  <a:schemeClr val="tx2"/>
                </a:solidFill>
                <a:latin typeface="+mj-lt"/>
              </a:rPr>
              <a:t>Ihrem</a:t>
            </a:r>
            <a:r>
              <a:rPr lang="en-US" sz="1600">
                <a:solidFill>
                  <a:schemeClr val="tx2"/>
                </a:solidFill>
                <a:latin typeface="+mj-lt"/>
              </a:rPr>
              <a:t> </a:t>
            </a:r>
            <a:r>
              <a:rPr lang="en-US" sz="1600" err="1">
                <a:solidFill>
                  <a:schemeClr val="tx2"/>
                </a:solidFill>
                <a:latin typeface="+mj-lt"/>
              </a:rPr>
              <a:t>Unternehmen</a:t>
            </a:r>
            <a:r>
              <a:rPr lang="en-US" sz="1600">
                <a:solidFill>
                  <a:schemeClr val="tx2"/>
                </a:solidFill>
                <a:latin typeface="+mj-lt"/>
              </a:rPr>
              <a:t>?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36C0DB-9E26-44C3-3A09-C1184B3E052A}"/>
              </a:ext>
            </a:extLst>
          </p:cNvPr>
          <p:cNvSpPr/>
          <p:nvPr/>
        </p:nvSpPr>
        <p:spPr>
          <a:xfrm>
            <a:off x="2532880" y="4973953"/>
            <a:ext cx="1944000" cy="361987"/>
          </a:xfrm>
          <a:prstGeom prst="rect">
            <a:avLst/>
          </a:pr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lIns="72000" tIns="72000" rIns="72000" bIns="36000" rtlCol="0" anchor="t" anchorCtr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en-US" sz="1400" kern="1200">
                <a:latin typeface="+mj-lt"/>
                <a:ea typeface="+mn-ea"/>
                <a:cs typeface="+mn-cs"/>
              </a:rPr>
              <a:t>Mittel - Hoch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9F6EDB5-A6E5-7973-4B1F-F2477C1DC905}"/>
              </a:ext>
            </a:extLst>
          </p:cNvPr>
          <p:cNvSpPr/>
          <p:nvPr/>
        </p:nvSpPr>
        <p:spPr>
          <a:xfrm>
            <a:off x="2532880" y="5514946"/>
            <a:ext cx="1944000" cy="361987"/>
          </a:xfrm>
          <a:prstGeom prst="rect">
            <a:avLst/>
          </a:prstGeom>
          <a:solidFill>
            <a:srgbClr val="FF4B4B"/>
          </a:solidFill>
          <a:ln w="9525" cap="flat">
            <a:noFill/>
            <a:prstDash val="solid"/>
            <a:miter/>
          </a:ln>
        </p:spPr>
        <p:txBody>
          <a:bodyPr lIns="72000" tIns="72000" rIns="72000" bIns="36000" rtlCol="0" anchor="t" anchorCtr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kern="1200">
                <a:solidFill>
                  <a:schemeClr val="bg1"/>
                </a:solidFill>
                <a:latin typeface="+mj-lt"/>
              </a:rPr>
              <a:t>Minimal - Gering</a:t>
            </a:r>
          </a:p>
        </p:txBody>
      </p:sp>
      <p:sp>
        <p:nvSpPr>
          <p:cNvPr id="5" name="Arrow: Chevron 53">
            <a:extLst>
              <a:ext uri="{FF2B5EF4-FFF2-40B4-BE49-F238E27FC236}">
                <a16:creationId xmlns:a16="http://schemas.microsoft.com/office/drawing/2014/main" id="{30732416-A8AB-70C8-529A-00C4831E9C6C}"/>
              </a:ext>
            </a:extLst>
          </p:cNvPr>
          <p:cNvSpPr/>
          <p:nvPr/>
        </p:nvSpPr>
        <p:spPr>
          <a:xfrm>
            <a:off x="9005043" y="4973953"/>
            <a:ext cx="340503" cy="873031"/>
          </a:xfrm>
          <a:prstGeom prst="chevron">
            <a:avLst/>
          </a:prstGeom>
          <a:solidFill>
            <a:srgbClr val="FF4B4B"/>
          </a:solidFill>
          <a:ln w="9525" cap="flat">
            <a:noFill/>
            <a:prstDash val="solid"/>
            <a:miter/>
          </a:ln>
        </p:spPr>
        <p:txBody>
          <a:bodyPr lIns="36000" tIns="36000" rIns="36000" bIns="36000" rtlCol="0" anchor="ctr" anchorCtr="0"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de-DE" sz="12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BF69276-145E-A1F6-AE84-386FD8A191B5}"/>
              </a:ext>
            </a:extLst>
          </p:cNvPr>
          <p:cNvSpPr txBox="1"/>
          <p:nvPr/>
        </p:nvSpPr>
        <p:spPr>
          <a:xfrm>
            <a:off x="9136327" y="5102340"/>
            <a:ext cx="214552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NL"/>
            </a:defPPr>
            <a:lvl7pPr marL="216000" lvl="6" indent="0">
              <a:buNone/>
              <a:defRPr sz="1600"/>
            </a:lvl7pPr>
          </a:lstStyle>
          <a:p>
            <a:pPr lvl="6"/>
            <a:r>
              <a:rPr lang="de-DE">
                <a:latin typeface="+mj-lt"/>
              </a:rPr>
              <a:t>Lösungsansatz: </a:t>
            </a:r>
            <a:r>
              <a:rPr lang="de-DE"/>
              <a:t>Datenmanagement</a:t>
            </a: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9111CD71-86C7-D564-3C95-B96A24869516}"/>
              </a:ext>
            </a:extLst>
          </p:cNvPr>
          <p:cNvSpPr/>
          <p:nvPr/>
        </p:nvSpPr>
        <p:spPr>
          <a:xfrm rot="10800000">
            <a:off x="-1664274" y="5242229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E" sz="1013">
              <a:solidFill>
                <a:srgbClr val="FF634D"/>
              </a:solidFill>
            </a:endParaRPr>
          </a:p>
        </p:txBody>
      </p:sp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1C32C0C5-9D7F-AECB-7955-345C940D38BF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100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56" r="56"/>
          <a:stretch/>
        </p:blipFill>
        <p:spPr>
          <a:xfrm>
            <a:off x="232604" y="6324749"/>
            <a:ext cx="1400055" cy="539634"/>
          </a:xfrm>
          <a:prstGeom prst="rect">
            <a:avLst/>
          </a:prstGeom>
        </p:spPr>
      </p:pic>
      <p:sp>
        <p:nvSpPr>
          <p:cNvPr id="23" name="Ellipse 22">
            <a:extLst>
              <a:ext uri="{FF2B5EF4-FFF2-40B4-BE49-F238E27FC236}">
                <a16:creationId xmlns:a16="http://schemas.microsoft.com/office/drawing/2014/main" id="{94DA0C9B-D511-3E2C-5DF5-A6BDF7248151}"/>
              </a:ext>
            </a:extLst>
          </p:cNvPr>
          <p:cNvSpPr/>
          <p:nvPr/>
        </p:nvSpPr>
        <p:spPr>
          <a:xfrm>
            <a:off x="8981815" y="-6285265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3D14254-5935-C6A4-50CF-77376EB73A3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11514" y="43148"/>
            <a:ext cx="1613009" cy="63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7767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908218-7849-8253-6399-6F7B927745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D506FC1-6ACD-8398-E422-E91DC38202B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DFF"/>
          </a:solidFill>
          <a:ln w="9525" cap="flat">
            <a:noFill/>
            <a:prstDash val="solid"/>
            <a:miter/>
          </a:ln>
        </p:spPr>
        <p:txBody>
          <a:bodyPr lIns="360000" tIns="432000" rIns="72000" bIns="36000" rtlCol="0" anchor="t" anchorCtr="0"/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DE" sz="1600" b="1" i="0" err="1"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9E239584-6DF1-4A20-0D82-0C817E8188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02221" y="555716"/>
            <a:ext cx="2106672" cy="192240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1EFDA4D-DA88-25BC-9FC6-152320830A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3BCF-C0F1-4720-B5E7-944FE630E67D}" type="slidenum">
              <a:rPr lang="en-US">
                <a:solidFill>
                  <a:srgbClr val="CDCDCD">
                    <a:lumMod val="75000"/>
                  </a:srgbClr>
                </a:solidFill>
                <a:latin typeface="Segoe UI"/>
              </a:rPr>
              <a:pPr/>
              <a:t>9</a:t>
            </a:fld>
            <a:endParaRPr lang="en-US">
              <a:solidFill>
                <a:srgbClr val="CDCDCD">
                  <a:lumMod val="75000"/>
                </a:srgbClr>
              </a:solidFill>
              <a:latin typeface="Segoe U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CE19C2-3319-BDFC-9772-D93A154C27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nl-NL">
              <a:solidFill>
                <a:srgbClr val="CDCDCD">
                  <a:lumMod val="75000"/>
                </a:srgbClr>
              </a:solidFill>
              <a:latin typeface="Segoe UI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F76A9E1-23AF-AF1A-A917-25E4F3E1BE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as </a:t>
            </a:r>
            <a:r>
              <a:rPr lang="en-US" err="1"/>
              <a:t>haben</a:t>
            </a:r>
            <a:r>
              <a:rPr lang="en-US"/>
              <a:t> </a:t>
            </a:r>
            <a:r>
              <a:rPr lang="en-US" err="1"/>
              <a:t>wir</a:t>
            </a:r>
            <a:r>
              <a:rPr lang="en-US"/>
              <a:t> </a:t>
            </a:r>
            <a:r>
              <a:rPr lang="en-US" err="1"/>
              <a:t>herausgefunden</a:t>
            </a:r>
            <a:r>
              <a:rPr lang="en-US"/>
              <a:t>?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F513757E-BD3B-DF39-CBA2-30A375864223}"/>
              </a:ext>
            </a:extLst>
          </p:cNvPr>
          <p:cNvSpPr/>
          <p:nvPr/>
        </p:nvSpPr>
        <p:spPr>
          <a:xfrm>
            <a:off x="9412521" y="645987"/>
            <a:ext cx="864000" cy="864000"/>
          </a:xfrm>
          <a:prstGeom prst="ellipse">
            <a:avLst/>
          </a:prstGeom>
          <a:solidFill>
            <a:srgbClr val="00B050"/>
          </a:solidFill>
          <a:ln w="19050" cap="flat">
            <a:noFill/>
            <a:prstDash val="solid"/>
            <a:miter/>
          </a:ln>
          <a:effectLst>
            <a:outerShdw blurRad="63500" algn="ctr" rotWithShape="0">
              <a:schemeClr val="accent4">
                <a:alpha val="50000"/>
              </a:schemeClr>
            </a:outerShdw>
          </a:effectLst>
        </p:spPr>
        <p:txBody>
          <a:bodyPr lIns="0" tIns="0" rIns="0" bIns="0"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GB" sz="2400" b="1">
              <a:solidFill>
                <a:srgbClr val="FFFFFF"/>
              </a:solidFill>
              <a:latin typeface="Segoe UI Semibold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815E0B41-123D-0F66-DD10-278848C345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12521" y="652916"/>
            <a:ext cx="864000" cy="864000"/>
          </a:xfrm>
          <a:prstGeom prst="rect">
            <a:avLst/>
          </a:prstGeom>
        </p:spPr>
      </p:pic>
      <p:sp>
        <p:nvSpPr>
          <p:cNvPr id="12" name="shape">
            <a:extLst>
              <a:ext uri="{FF2B5EF4-FFF2-40B4-BE49-F238E27FC236}">
                <a16:creationId xmlns:a16="http://schemas.microsoft.com/office/drawing/2014/main" id="{9553113F-0181-1502-D845-8349E1AB3278}"/>
              </a:ext>
            </a:extLst>
          </p:cNvPr>
          <p:cNvSpPr/>
          <p:nvPr/>
        </p:nvSpPr>
        <p:spPr>
          <a:xfrm rot="10800000">
            <a:off x="-1664273" y="5242230"/>
            <a:ext cx="4430273" cy="5829300"/>
          </a:xfrm>
          <a:custGeom>
            <a:avLst/>
            <a:gdLst>
              <a:gd name="connsiteX0" fmla="*/ 3272796 w 5212086"/>
              <a:gd name="connsiteY0" fmla="*/ 6858000 h 6858000"/>
              <a:gd name="connsiteX1" fmla="*/ 3187706 w 5212086"/>
              <a:gd name="connsiteY1" fmla="*/ 6630670 h 6858000"/>
              <a:gd name="connsiteX2" fmla="*/ 1892306 w 5212086"/>
              <a:gd name="connsiteY2" fmla="*/ 5591810 h 6858000"/>
              <a:gd name="connsiteX3" fmla="*/ 1892306 w 5212086"/>
              <a:gd name="connsiteY3" fmla="*/ 5591810 h 6858000"/>
              <a:gd name="connsiteX4" fmla="*/ 6 w 5212086"/>
              <a:gd name="connsiteY4" fmla="*/ 3322320 h 6858000"/>
              <a:gd name="connsiteX5" fmla="*/ 839476 w 5212086"/>
              <a:gd name="connsiteY5" fmla="*/ 1554480 h 6858000"/>
              <a:gd name="connsiteX6" fmla="*/ 839476 w 5212086"/>
              <a:gd name="connsiteY6" fmla="*/ 1554480 h 6858000"/>
              <a:gd name="connsiteX7" fmla="*/ 840746 w 5212086"/>
              <a:gd name="connsiteY7" fmla="*/ 1553210 h 6858000"/>
              <a:gd name="connsiteX8" fmla="*/ 843286 w 5212086"/>
              <a:gd name="connsiteY8" fmla="*/ 1550670 h 6858000"/>
              <a:gd name="connsiteX9" fmla="*/ 1903736 w 5212086"/>
              <a:gd name="connsiteY9" fmla="*/ 0 h 6858000"/>
              <a:gd name="connsiteX10" fmla="*/ 5212086 w 5212086"/>
              <a:gd name="connsiteY10" fmla="*/ 0 h 6858000"/>
              <a:gd name="connsiteX11" fmla="*/ 5212086 w 5212086"/>
              <a:gd name="connsiteY11" fmla="*/ 6858000 h 6858000"/>
              <a:gd name="connsiteX12" fmla="*/ 3272796 w 5212086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212086" h="6858000">
                <a:moveTo>
                  <a:pt x="3272796" y="6858000"/>
                </a:moveTo>
                <a:cubicBezTo>
                  <a:pt x="3239776" y="6784340"/>
                  <a:pt x="3210567" y="6708140"/>
                  <a:pt x="3187706" y="6630670"/>
                </a:cubicBezTo>
                <a:cubicBezTo>
                  <a:pt x="2983236" y="5951220"/>
                  <a:pt x="2824486" y="5759450"/>
                  <a:pt x="1892306" y="5591810"/>
                </a:cubicBezTo>
                <a:lnTo>
                  <a:pt x="1892306" y="5591810"/>
                </a:lnTo>
                <a:cubicBezTo>
                  <a:pt x="814076" y="5398770"/>
                  <a:pt x="-2533" y="4456430"/>
                  <a:pt x="6" y="3322320"/>
                </a:cubicBezTo>
                <a:cubicBezTo>
                  <a:pt x="2546" y="2609850"/>
                  <a:pt x="328936" y="1974850"/>
                  <a:pt x="839476" y="1554480"/>
                </a:cubicBezTo>
                <a:lnTo>
                  <a:pt x="839476" y="1554480"/>
                </a:lnTo>
                <a:cubicBezTo>
                  <a:pt x="839476" y="1554480"/>
                  <a:pt x="840746" y="1554480"/>
                  <a:pt x="840746" y="1553210"/>
                </a:cubicBezTo>
                <a:cubicBezTo>
                  <a:pt x="842017" y="1551940"/>
                  <a:pt x="842017" y="1551940"/>
                  <a:pt x="843286" y="1550670"/>
                </a:cubicBezTo>
                <a:cubicBezTo>
                  <a:pt x="1445267" y="1055370"/>
                  <a:pt x="1798326" y="529590"/>
                  <a:pt x="1903736" y="0"/>
                </a:cubicBezTo>
                <a:lnTo>
                  <a:pt x="5212086" y="0"/>
                </a:lnTo>
                <a:lnTo>
                  <a:pt x="5212086" y="6858000"/>
                </a:lnTo>
                <a:lnTo>
                  <a:pt x="3272796" y="6858000"/>
                </a:lnTo>
                <a:close/>
              </a:path>
            </a:pathLst>
          </a:custGeom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1"/>
          </a:gra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endParaRPr lang="en-DE" sz="1013">
              <a:solidFill>
                <a:srgbClr val="FF634D"/>
              </a:solidFill>
              <a:latin typeface="Segoe UI"/>
            </a:endParaRPr>
          </a:p>
        </p:txBody>
      </p:sp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685DDD29-46E3-7695-8CF4-B6953F91AF80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6" r="56"/>
          <a:stretch/>
        </p:blipFill>
        <p:spPr>
          <a:xfrm>
            <a:off x="232606" y="6324749"/>
            <a:ext cx="1400055" cy="539635"/>
          </a:xfrm>
          <a:prstGeom prst="rect">
            <a:avLst/>
          </a:prstGeom>
        </p:spPr>
      </p:pic>
      <p:sp>
        <p:nvSpPr>
          <p:cNvPr id="23" name="Ellipse 22">
            <a:extLst>
              <a:ext uri="{FF2B5EF4-FFF2-40B4-BE49-F238E27FC236}">
                <a16:creationId xmlns:a16="http://schemas.microsoft.com/office/drawing/2014/main" id="{210D78B2-F424-EFA9-993F-E8D630928A68}"/>
              </a:ext>
            </a:extLst>
          </p:cNvPr>
          <p:cNvSpPr/>
          <p:nvPr/>
        </p:nvSpPr>
        <p:spPr>
          <a:xfrm>
            <a:off x="8981817" y="-6285264"/>
            <a:ext cx="7473711" cy="7473343"/>
          </a:xfrm>
          <a:prstGeom prst="ellipse">
            <a:avLst/>
          </a:prstGeom>
          <a:solidFill>
            <a:srgbClr val="014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/>
            <a:endParaRPr lang="de-DE" sz="1013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CE324710-D5B3-B20C-56BB-9C2CB039BB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11516" y="43149"/>
            <a:ext cx="1613009" cy="635715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3BC50000-9AD1-0A7F-1AC9-86EA5F634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>
                <a:ea typeface="MS Gothic" panose="020B0609070205080204" pitchFamily="49" charset="-128"/>
                <a:cs typeface="Times New Roman" panose="02020603050405020304" pitchFamily="18" charset="0"/>
              </a:rPr>
              <a:t>Wie bewerten Sie den digitalen Reifegrad Ihres Unternehmens?</a:t>
            </a:r>
            <a:endParaRPr lang="de-DE"/>
          </a:p>
        </p:txBody>
      </p:sp>
      <p:graphicFrame>
        <p:nvGraphicFramePr>
          <p:cNvPr id="42" name="Diagramm 14">
            <a:extLst>
              <a:ext uri="{FF2B5EF4-FFF2-40B4-BE49-F238E27FC236}">
                <a16:creationId xmlns:a16="http://schemas.microsoft.com/office/drawing/2014/main" id="{9675BE14-FC37-504D-CFEE-422BA83865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810642"/>
              </p:ext>
            </p:extLst>
          </p:nvPr>
        </p:nvGraphicFramePr>
        <p:xfrm>
          <a:off x="1423568" y="2171061"/>
          <a:ext cx="9344864" cy="3962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3" name="Textfeld 15">
            <a:extLst>
              <a:ext uri="{FF2B5EF4-FFF2-40B4-BE49-F238E27FC236}">
                <a16:creationId xmlns:a16="http://schemas.microsoft.com/office/drawing/2014/main" id="{CA925B58-7B37-607A-E8B1-BC1C4BC8D409}"/>
              </a:ext>
            </a:extLst>
          </p:cNvPr>
          <p:cNvSpPr txBox="1"/>
          <p:nvPr/>
        </p:nvSpPr>
        <p:spPr>
          <a:xfrm>
            <a:off x="5501944" y="3045612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12%</a:t>
            </a:r>
          </a:p>
        </p:txBody>
      </p:sp>
      <p:sp>
        <p:nvSpPr>
          <p:cNvPr id="44" name="Textfeld 16">
            <a:extLst>
              <a:ext uri="{FF2B5EF4-FFF2-40B4-BE49-F238E27FC236}">
                <a16:creationId xmlns:a16="http://schemas.microsoft.com/office/drawing/2014/main" id="{111645D5-FA3D-EC51-2AE3-BF96D7715DA6}"/>
              </a:ext>
            </a:extLst>
          </p:cNvPr>
          <p:cNvSpPr txBox="1"/>
          <p:nvPr/>
        </p:nvSpPr>
        <p:spPr>
          <a:xfrm>
            <a:off x="5383340" y="4449889"/>
            <a:ext cx="6399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48%</a:t>
            </a:r>
          </a:p>
        </p:txBody>
      </p:sp>
      <p:sp>
        <p:nvSpPr>
          <p:cNvPr id="45" name="Textfeld 17">
            <a:extLst>
              <a:ext uri="{FF2B5EF4-FFF2-40B4-BE49-F238E27FC236}">
                <a16:creationId xmlns:a16="http://schemas.microsoft.com/office/drawing/2014/main" id="{52D8B3EB-E532-D53E-EEFE-E459CE70D144}"/>
              </a:ext>
            </a:extLst>
          </p:cNvPr>
          <p:cNvSpPr txBox="1"/>
          <p:nvPr/>
        </p:nvSpPr>
        <p:spPr>
          <a:xfrm>
            <a:off x="6781900" y="3885817"/>
            <a:ext cx="635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FFFFFF"/>
                </a:solidFill>
                <a:latin typeface="+mj-lt"/>
              </a:rPr>
              <a:t>36%</a:t>
            </a:r>
          </a:p>
        </p:txBody>
      </p:sp>
      <p:sp>
        <p:nvSpPr>
          <p:cNvPr id="46" name="Textfeld 18">
            <a:extLst>
              <a:ext uri="{FF2B5EF4-FFF2-40B4-BE49-F238E27FC236}">
                <a16:creationId xmlns:a16="http://schemas.microsoft.com/office/drawing/2014/main" id="{D3952770-EDE9-673F-BF78-F6E882F93CF1}"/>
              </a:ext>
            </a:extLst>
          </p:cNvPr>
          <p:cNvSpPr txBox="1"/>
          <p:nvPr/>
        </p:nvSpPr>
        <p:spPr>
          <a:xfrm>
            <a:off x="6023259" y="2702267"/>
            <a:ext cx="511679" cy="369332"/>
          </a:xfrm>
          <a:prstGeom prst="rect">
            <a:avLst/>
          </a:prstGeom>
          <a:solidFill>
            <a:schemeClr val="accent4"/>
          </a:solidFill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1"/>
                </a:solidFill>
                <a:latin typeface="+mj-lt"/>
              </a:rPr>
              <a:t>4%</a:t>
            </a:r>
          </a:p>
        </p:txBody>
      </p:sp>
    </p:spTree>
    <p:extLst>
      <p:ext uri="{BB962C8B-B14F-4D97-AF65-F5344CB8AC3E}">
        <p14:creationId xmlns:p14="http://schemas.microsoft.com/office/powerpoint/2010/main" val="3927799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5de6073-c9fd-4de8-ad31-77cfa4cb4bb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_Layout-Samples_20230913">
  <a:themeElements>
    <a:clrScheme name="valantic 2023">
      <a:dk1>
        <a:srgbClr val="100C2A"/>
      </a:dk1>
      <a:lt1>
        <a:srgbClr val="FFFFFF"/>
      </a:lt1>
      <a:dk2>
        <a:srgbClr val="100C2A"/>
      </a:dk2>
      <a:lt2>
        <a:srgbClr val="FFFFFF"/>
      </a:lt2>
      <a:accent1>
        <a:srgbClr val="193773"/>
      </a:accent1>
      <a:accent2>
        <a:srgbClr val="3C4BC8"/>
      </a:accent2>
      <a:accent3>
        <a:srgbClr val="5B26B7"/>
      </a:accent3>
      <a:accent4>
        <a:srgbClr val="CDCDCD"/>
      </a:accent4>
      <a:accent5>
        <a:srgbClr val="A78DB6"/>
      </a:accent5>
      <a:accent6>
        <a:srgbClr val="C0AA81"/>
      </a:accent6>
      <a:hlink>
        <a:srgbClr val="8993DE"/>
      </a:hlink>
      <a:folHlink>
        <a:srgbClr val="999999"/>
      </a:folHlink>
    </a:clrScheme>
    <a:fontScheme name="valantic B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EF4251"/>
            </a:gs>
            <a:gs pos="100000">
              <a:srgbClr val="F4704D"/>
            </a:gs>
          </a:gsLst>
          <a:lin ang="18900000" scaled="0"/>
        </a:gradFill>
        <a:ln w="9525" cap="flat">
          <a:noFill/>
          <a:prstDash val="solid"/>
          <a:miter/>
        </a:ln>
      </a:spPr>
      <a:bodyPr lIns="360000" tIns="432000" rIns="72000" bIns="36000" rtlCol="0" anchor="t" anchorCtr="0"/>
      <a:lstStyle>
        <a:defPPr algn="l">
          <a:spcBef>
            <a:spcPts val="600"/>
          </a:spcBef>
          <a:spcAft>
            <a:spcPts val="600"/>
          </a:spcAft>
          <a:defRPr sz="1600" b="1" i="0" dirty="0" err="1">
            <a:solidFill>
              <a:schemeClr val="bg1"/>
            </a:solidFill>
            <a:effectLst/>
            <a:latin typeface="+mj-lt"/>
          </a:defRPr>
        </a:defPPr>
      </a:lstStyle>
    </a:spDef>
    <a:lnDef>
      <a:spPr>
        <a:ln w="12700" cap="rnd"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ts val="1800"/>
          </a:lnSpc>
          <a:defRPr sz="1400" dirty="0" err="1" smtClean="0">
            <a:solidFill>
              <a:schemeClr val="tx2"/>
            </a:solidFill>
            <a:latin typeface="+mj-lt"/>
          </a:defRPr>
        </a:defPPr>
      </a:lstStyle>
    </a:txDef>
  </a:objectDefaults>
  <a:extraClrSchemeLst/>
  <a:custClrLst>
    <a:custClr name="coralred">
      <a:srgbClr val="FF4B4B"/>
    </a:custClr>
    <a:custClr name="peach">
      <a:srgbClr val="FF744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traffic red">
      <a:srgbClr val="F70000"/>
    </a:custClr>
    <a:custClr name="traffic yellow">
      <a:srgbClr val="EBC832"/>
    </a:custClr>
    <a:custClr name="traffic green">
      <a:srgbClr val="78BE3C"/>
    </a:custClr>
  </a:custClrLst>
  <a:extLst>
    <a:ext uri="{05A4C25C-085E-4340-85A3-A5531E510DB2}">
      <thm15:themeFamily xmlns:thm15="http://schemas.microsoft.com/office/thememl/2012/main" name="B_Layout-Samples_20230913" id="{75493799-C41A-48FB-917B-82AC5733C91A}" vid="{F79949ED-B90A-465A-81E2-354FDCF3463B}"/>
    </a:ext>
  </a:extLst>
</a:theme>
</file>

<file path=ppt/theme/theme2.xml><?xml version="1.0" encoding="utf-8"?>
<a:theme xmlns:a="http://schemas.openxmlformats.org/drawingml/2006/main" name="Route_B_valantic_20230913">
  <a:themeElements>
    <a:clrScheme name="valantic 2023">
      <a:dk1>
        <a:srgbClr val="100C2A"/>
      </a:dk1>
      <a:lt1>
        <a:srgbClr val="FFFFFF"/>
      </a:lt1>
      <a:dk2>
        <a:srgbClr val="100C2A"/>
      </a:dk2>
      <a:lt2>
        <a:srgbClr val="FFFFFF"/>
      </a:lt2>
      <a:accent1>
        <a:srgbClr val="193773"/>
      </a:accent1>
      <a:accent2>
        <a:srgbClr val="3C4BC8"/>
      </a:accent2>
      <a:accent3>
        <a:srgbClr val="5B26B7"/>
      </a:accent3>
      <a:accent4>
        <a:srgbClr val="CDCDCD"/>
      </a:accent4>
      <a:accent5>
        <a:srgbClr val="A78DB6"/>
      </a:accent5>
      <a:accent6>
        <a:srgbClr val="C0AA81"/>
      </a:accent6>
      <a:hlink>
        <a:srgbClr val="8993DE"/>
      </a:hlink>
      <a:folHlink>
        <a:srgbClr val="999999"/>
      </a:folHlink>
    </a:clrScheme>
    <a:fontScheme name="valantic B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EF4251"/>
            </a:gs>
            <a:gs pos="100000">
              <a:srgbClr val="F4704D"/>
            </a:gs>
          </a:gsLst>
          <a:lin ang="18900000" scaled="0"/>
        </a:gradFill>
        <a:ln w="9525" cap="flat">
          <a:noFill/>
          <a:prstDash val="solid"/>
          <a:miter/>
        </a:ln>
      </a:spPr>
      <a:bodyPr lIns="360000" tIns="432000" rIns="72000" bIns="36000" rtlCol="0" anchor="t" anchorCtr="0"/>
      <a:lstStyle>
        <a:defPPr algn="l">
          <a:spcBef>
            <a:spcPts val="600"/>
          </a:spcBef>
          <a:spcAft>
            <a:spcPts val="600"/>
          </a:spcAft>
          <a:defRPr sz="1600" b="1" i="0" dirty="0" err="1">
            <a:solidFill>
              <a:schemeClr val="bg1"/>
            </a:solidFill>
            <a:effectLst/>
            <a:latin typeface="+mj-lt"/>
          </a:defRPr>
        </a:defPPr>
      </a:lstStyle>
    </a:spDef>
    <a:lnDef>
      <a:spPr>
        <a:ln w="12700" cap="rnd"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ts val="1800"/>
          </a:lnSpc>
          <a:defRPr sz="1400" dirty="0" err="1" smtClean="0">
            <a:solidFill>
              <a:schemeClr val="tx2"/>
            </a:solidFill>
            <a:latin typeface="+mj-lt"/>
          </a:defRPr>
        </a:defPPr>
      </a:lstStyle>
    </a:txDef>
  </a:objectDefaults>
  <a:extraClrSchemeLst/>
  <a:custClrLst>
    <a:custClr name="coralred">
      <a:srgbClr val="FF4B4B"/>
    </a:custClr>
    <a:custClr name="peach">
      <a:srgbClr val="FF744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traffic red">
      <a:srgbClr val="F70000"/>
    </a:custClr>
    <a:custClr name="traffic yellow">
      <a:srgbClr val="EBC832"/>
    </a:custClr>
    <a:custClr name="traffic green">
      <a:srgbClr val="78BE3C"/>
    </a:custClr>
  </a:custClrLst>
  <a:extLst>
    <a:ext uri="{05A4C25C-085E-4340-85A3-A5531E510DB2}">
      <thm15:themeFamily xmlns:thm15="http://schemas.microsoft.com/office/thememl/2012/main" name="FINAL_Route_B_valantic_2023-09-13" id="{664F2AB2-4FE0-4B26-84E6-509F533A02D1}" vid="{7CB793E8-BF00-4361-9800-5D1C414307F7}"/>
    </a:ext>
  </a:extLst>
</a:theme>
</file>

<file path=ppt/theme/theme3.xml><?xml version="1.0" encoding="utf-8"?>
<a:theme xmlns:a="http://schemas.openxmlformats.org/drawingml/2006/main" name="1_Route_B_valantic_20230913">
  <a:themeElements>
    <a:clrScheme name="valantic 2023">
      <a:dk1>
        <a:srgbClr val="100C2A"/>
      </a:dk1>
      <a:lt1>
        <a:srgbClr val="FFFFFF"/>
      </a:lt1>
      <a:dk2>
        <a:srgbClr val="100C2A"/>
      </a:dk2>
      <a:lt2>
        <a:srgbClr val="FFFFFF"/>
      </a:lt2>
      <a:accent1>
        <a:srgbClr val="193773"/>
      </a:accent1>
      <a:accent2>
        <a:srgbClr val="3C4BC8"/>
      </a:accent2>
      <a:accent3>
        <a:srgbClr val="5B26B7"/>
      </a:accent3>
      <a:accent4>
        <a:srgbClr val="CDCDCD"/>
      </a:accent4>
      <a:accent5>
        <a:srgbClr val="A78DB6"/>
      </a:accent5>
      <a:accent6>
        <a:srgbClr val="C0AA81"/>
      </a:accent6>
      <a:hlink>
        <a:srgbClr val="8993DE"/>
      </a:hlink>
      <a:folHlink>
        <a:srgbClr val="999999"/>
      </a:folHlink>
    </a:clrScheme>
    <a:fontScheme name="valantic B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EF4251"/>
            </a:gs>
            <a:gs pos="100000">
              <a:srgbClr val="F4704D"/>
            </a:gs>
          </a:gsLst>
          <a:lin ang="18900000" scaled="0"/>
        </a:gradFill>
        <a:ln w="9525" cap="flat">
          <a:noFill/>
          <a:prstDash val="solid"/>
          <a:miter/>
        </a:ln>
      </a:spPr>
      <a:bodyPr lIns="360000" tIns="432000" rIns="72000" bIns="36000" rtlCol="0" anchor="t" anchorCtr="0"/>
      <a:lstStyle>
        <a:defPPr algn="l">
          <a:spcBef>
            <a:spcPts val="600"/>
          </a:spcBef>
          <a:spcAft>
            <a:spcPts val="600"/>
          </a:spcAft>
          <a:defRPr sz="1600" b="1" i="0" dirty="0" err="1">
            <a:solidFill>
              <a:schemeClr val="bg1"/>
            </a:solidFill>
            <a:effectLst/>
            <a:latin typeface="+mj-lt"/>
          </a:defRPr>
        </a:defPPr>
      </a:lstStyle>
    </a:spDef>
    <a:lnDef>
      <a:spPr>
        <a:ln w="12700" cap="rnd">
          <a:gradFill>
            <a:gsLst>
              <a:gs pos="0">
                <a:srgbClr val="FF4B4B"/>
              </a:gs>
              <a:gs pos="100000">
                <a:srgbClr val="FF744F"/>
              </a:gs>
            </a:gsLst>
            <a:lin ang="18900000" scaled="0"/>
          </a:gra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ts val="1800"/>
          </a:lnSpc>
          <a:defRPr sz="1400" dirty="0" err="1" smtClean="0">
            <a:solidFill>
              <a:schemeClr val="tx2"/>
            </a:solidFill>
            <a:latin typeface="+mj-lt"/>
          </a:defRPr>
        </a:defPPr>
      </a:lstStyle>
    </a:txDef>
  </a:objectDefaults>
  <a:extraClrSchemeLst/>
  <a:custClrLst>
    <a:custClr name="coralred">
      <a:srgbClr val="FF4B4B"/>
    </a:custClr>
    <a:custClr name="peach">
      <a:srgbClr val="FF744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traffic red">
      <a:srgbClr val="F70000"/>
    </a:custClr>
    <a:custClr name="traffic yellow">
      <a:srgbClr val="EBC832"/>
    </a:custClr>
    <a:custClr name="traffic green">
      <a:srgbClr val="78BE3C"/>
    </a:custClr>
  </a:custClrLst>
  <a:extLst>
    <a:ext uri="{05A4C25C-085E-4340-85A3-A5531E510DB2}">
      <thm15:themeFamily xmlns:thm15="http://schemas.microsoft.com/office/thememl/2012/main" name="Route_B_valantic_20230913" id="{00BC2FAB-1688-4BA4-B262-F2D8079BDFB0}" vid="{55582A20-819D-49D3-9884-F8309FB8F976}"/>
    </a:ext>
  </a:extLst>
</a:theme>
</file>

<file path=ppt/theme/theme4.xml><?xml version="1.0" encoding="utf-8"?>
<a:theme xmlns:a="http://schemas.openxmlformats.org/drawingml/2006/main" name="Route_B_valantic_2024">
  <a:themeElements>
    <a:clrScheme name="valantic 2023">
      <a:dk1>
        <a:srgbClr val="100C2A"/>
      </a:dk1>
      <a:lt1>
        <a:srgbClr val="FFFFFF"/>
      </a:lt1>
      <a:dk2>
        <a:srgbClr val="100C2A"/>
      </a:dk2>
      <a:lt2>
        <a:srgbClr val="FFFFFF"/>
      </a:lt2>
      <a:accent1>
        <a:srgbClr val="193773"/>
      </a:accent1>
      <a:accent2>
        <a:srgbClr val="3C4BC8"/>
      </a:accent2>
      <a:accent3>
        <a:srgbClr val="5B26B7"/>
      </a:accent3>
      <a:accent4>
        <a:srgbClr val="CDCDCD"/>
      </a:accent4>
      <a:accent5>
        <a:srgbClr val="A78DB6"/>
      </a:accent5>
      <a:accent6>
        <a:srgbClr val="C0AA81"/>
      </a:accent6>
      <a:hlink>
        <a:srgbClr val="8993DE"/>
      </a:hlink>
      <a:folHlink>
        <a:srgbClr val="999999"/>
      </a:folHlink>
    </a:clrScheme>
    <a:fontScheme name="valantic B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EF4251"/>
            </a:gs>
            <a:gs pos="100000">
              <a:srgbClr val="F4704D"/>
            </a:gs>
          </a:gsLst>
          <a:lin ang="18900000" scaled="0"/>
        </a:gradFill>
        <a:ln w="9525" cap="flat">
          <a:noFill/>
          <a:prstDash val="solid"/>
          <a:miter/>
        </a:ln>
      </a:spPr>
      <a:bodyPr lIns="36000" tIns="36000" rIns="36000" bIns="36000" rtlCol="0" anchor="ctr" anchorCtr="0"/>
      <a:lstStyle>
        <a:defPPr algn="ctr">
          <a:spcBef>
            <a:spcPts val="600"/>
          </a:spcBef>
          <a:spcAft>
            <a:spcPts val="600"/>
          </a:spcAft>
          <a:defRPr sz="1200" b="1" smtClean="0">
            <a:solidFill>
              <a:schemeClr val="bg1"/>
            </a:solidFill>
            <a:latin typeface="+mj-lt"/>
          </a:defRPr>
        </a:defPPr>
      </a:lstStyle>
    </a:spDef>
    <a:lnDef>
      <a:spPr>
        <a:ln w="6350" cap="rnd">
          <a:solidFill>
            <a:schemeClr val="tx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lIns="0" tIns="0" rIns="0" bIns="0" rtlCol="0">
        <a:noAutofit/>
      </a:bodyPr>
      <a:lstStyle>
        <a:defPPr algn="l">
          <a:defRPr/>
        </a:defPPr>
      </a:lstStyle>
    </a:txDef>
  </a:objectDefaults>
  <a:extraClrSchemeLst/>
  <a:custClrLst>
    <a:custClr name="coralred">
      <a:srgbClr val="FF4B4B"/>
    </a:custClr>
    <a:custClr name="peach">
      <a:srgbClr val="FF744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traffic red">
      <a:srgbClr val="F70000"/>
    </a:custClr>
    <a:custClr name="traffic yellow">
      <a:srgbClr val="EBC832"/>
    </a:custClr>
    <a:custClr name="traffic green">
      <a:srgbClr val="78BE3C"/>
    </a:custClr>
  </a:custClrLst>
  <a:extLst>
    <a:ext uri="{05A4C25C-085E-4340-85A3-A5531E510DB2}">
      <thm15:themeFamily xmlns:thm15="http://schemas.microsoft.com/office/thememl/2012/main" name="B_Layout-Samples_2024-04-26_Final" id="{58105032-FF75-4E9D-858C-9647EF9491B9}" vid="{3593E9DC-3DF6-48EA-A529-19C1A392AE30}"/>
    </a:ext>
  </a:extLst>
</a:theme>
</file>

<file path=ppt/theme/theme5.xml><?xml version="1.0" encoding="utf-8"?>
<a:theme xmlns:a="http://schemas.openxmlformats.org/drawingml/2006/main" name="phiyond Template">
  <a:themeElements>
    <a:clrScheme name="phiyond">
      <a:dk1>
        <a:srgbClr val="303030"/>
      </a:dk1>
      <a:lt1>
        <a:srgbClr val="FFFFFF"/>
      </a:lt1>
      <a:dk2>
        <a:srgbClr val="636363"/>
      </a:dk2>
      <a:lt2>
        <a:srgbClr val="F2F2F2"/>
      </a:lt2>
      <a:accent1>
        <a:srgbClr val="E7EFFF"/>
      </a:accent1>
      <a:accent2>
        <a:srgbClr val="FA6161"/>
      </a:accent2>
      <a:accent3>
        <a:srgbClr val="F0DCC8"/>
      </a:accent3>
      <a:accent4>
        <a:srgbClr val="0055FF"/>
      </a:accent4>
      <a:accent5>
        <a:srgbClr val="0A0A6E"/>
      </a:accent5>
      <a:accent6>
        <a:srgbClr val="6EFFD7"/>
      </a:accent6>
      <a:hlink>
        <a:srgbClr val="FA6161"/>
      </a:hlink>
      <a:folHlink>
        <a:srgbClr val="979797"/>
      </a:folHlink>
    </a:clrScheme>
    <a:fontScheme name="phiyon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>
            <a:lumMod val="90000"/>
            <a:alpha val="61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olien_Master_Update phiyond GmbH" id="{23E90887-4BC4-4151-85E0-76BFE4D70E6F}" vid="{8795310E-8E87-4015-9C94-5D9A6D5D952D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hiyond">
    <a:dk1>
      <a:srgbClr val="303030"/>
    </a:dk1>
    <a:lt1>
      <a:srgbClr val="FFFFFF"/>
    </a:lt1>
    <a:dk2>
      <a:srgbClr val="636363"/>
    </a:dk2>
    <a:lt2>
      <a:srgbClr val="F2F2F2"/>
    </a:lt2>
    <a:accent1>
      <a:srgbClr val="E7EFFF"/>
    </a:accent1>
    <a:accent2>
      <a:srgbClr val="FA6161"/>
    </a:accent2>
    <a:accent3>
      <a:srgbClr val="F0DCC8"/>
    </a:accent3>
    <a:accent4>
      <a:srgbClr val="0055FF"/>
    </a:accent4>
    <a:accent5>
      <a:srgbClr val="0A0A6E"/>
    </a:accent5>
    <a:accent6>
      <a:srgbClr val="6EFFD7"/>
    </a:accent6>
    <a:hlink>
      <a:srgbClr val="FA6161"/>
    </a:hlink>
    <a:folHlink>
      <a:srgbClr val="979797"/>
    </a:folHlink>
  </a:clrScheme>
  <a:fontScheme name="phiyond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959B75A9A5B664FBE9E0EFFBBA6D0EF" ma:contentTypeVersion="12" ma:contentTypeDescription="Ein neues Dokument erstellen." ma:contentTypeScope="" ma:versionID="c8b9676626491e676413c35f66c6f5a6">
  <xsd:schema xmlns:xsd="http://www.w3.org/2001/XMLSchema" xmlns:xs="http://www.w3.org/2001/XMLSchema" xmlns:p="http://schemas.microsoft.com/office/2006/metadata/properties" xmlns:ns2="fefcd2e2-c90e-4075-8293-b6c432f94d54" xmlns:ns3="d6aefbff-138f-4776-b329-905732e1b16a" targetNamespace="http://schemas.microsoft.com/office/2006/metadata/properties" ma:root="true" ma:fieldsID="958eafb6691e4a43f5b2c478ddb413fb" ns2:_="" ns3:_="">
    <xsd:import namespace="fefcd2e2-c90e-4075-8293-b6c432f94d54"/>
    <xsd:import namespace="d6aefbff-138f-4776-b329-905732e1b16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fcd2e2-c90e-4075-8293-b6c432f94d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65fcbdcb-b3f7-4dc6-b7bd-4ea29baf27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aefbff-138f-4776-b329-905732e1b16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03d2451-4398-46a2-a1c1-d589c65edb57}" ma:internalName="TaxCatchAll" ma:showField="CatchAllData" ma:web="d6aefbff-138f-4776-b329-905732e1b16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6aefbff-138f-4776-b329-905732e1b16a" xsi:nil="true"/>
    <lcf76f155ced4ddcb4097134ff3c332f xmlns="fefcd2e2-c90e-4075-8293-b6c432f94d5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873BA19-D68C-46CC-9F4F-9348104B7FF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CAB05F3-5367-4CA8-849F-1010F51DCE79}">
  <ds:schemaRefs>
    <ds:schemaRef ds:uri="d6aefbff-138f-4776-b329-905732e1b16a"/>
    <ds:schemaRef ds:uri="fefcd2e2-c90e-4075-8293-b6c432f94d5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E972902-E3B1-47C3-B80C-C481A967205D}">
  <ds:schemaRefs>
    <ds:schemaRef ds:uri="d6aefbff-138f-4776-b329-905732e1b16a"/>
    <ds:schemaRef ds:uri="fefcd2e2-c90e-4075-8293-b6c432f94d5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_Layout-Samples_20230913</Template>
  <TotalTime>0</TotalTime>
  <Application>Microsoft Office PowerPoint</Application>
  <PresentationFormat>Widescreen</PresentationFormat>
  <Slides>23</Slides>
  <Notes>20</Notes>
  <HiddenSlides>0</HiddenSlide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B_Layout-Samples_20230913</vt:lpstr>
      <vt:lpstr>Route_B_valantic_20230913</vt:lpstr>
      <vt:lpstr>1_Route_B_valantic_20230913</vt:lpstr>
      <vt:lpstr>Route_B_valantic_2024</vt:lpstr>
      <vt:lpstr>phiyond Template</vt:lpstr>
      <vt:lpstr>Twin Transformation</vt:lpstr>
      <vt:lpstr>Twin Transformation:  „Das wertschöpfende Zusammenspiel zwischen digitaler und nachhaltiger Transformation in Unternehmen und deren Ökosystemen“.</vt:lpstr>
      <vt:lpstr>Twin Transformation:  „Das wertschöpfende Zusammenspiel zwischen digitaler und nachhaltiger Transformation in Unternehmen und deren Ökosystemen“.</vt:lpstr>
      <vt:lpstr>Agenda</vt:lpstr>
      <vt:lpstr>Warum Twin Transformation jetzt zählt: Sie vereint technologische  Innovation mit Nachhaltigkeit – strategisch, regulatorisch und wirtschaftlich</vt:lpstr>
      <vt:lpstr>Die Ergebnisse der Studie wurden systematisch aus Umfrageergebnissen, Experteneinschätzungen und realen Anwendungsfällen abgeleitet  </vt:lpstr>
      <vt:lpstr>Ausgangspunkt der Studie sind vier Hypothesen zur Rolle digitaler Technologien für nachhaltige Unternehmensentwicklung</vt:lpstr>
      <vt:lpstr>Digitale Lösungen bleiben im Nachhaltigkeitskontext oft  ungenutzt, eine zentrale Chance bleibt unerschlossen</vt:lpstr>
      <vt:lpstr>Wie bewerten Sie den digitalen Reifegrad Ihres Unternehmens?</vt:lpstr>
      <vt:lpstr>Wie hoch ist der Automatisierungsgrad bei Erfassung, Reporting und Auswertung dieser Daten in Ihrem Unternehmen?</vt:lpstr>
      <vt:lpstr>Daten sind der Schlüssel zur Twin Transformation und zugleich ihre größte Hürde</vt:lpstr>
      <vt:lpstr>Nachhaltigkeit gilt als Pflicht, wirtschaftliche Chancen werden selten erkannt</vt:lpstr>
      <vt:lpstr>Das Reifegradmodell zeigt, wie weit Unternehmen in der Verknüpfung von Digitalisierung und Nachhaltigkeit bereits sind und wo noch Potenziale liegen</vt:lpstr>
      <vt:lpstr>Das Reifegradmodell zeigt, wie weit Unternehmen in der Verknüpfung von Digitalisierung und Nachhaltigkeit bereits sind und wo noch Potenziale liegen</vt:lpstr>
      <vt:lpstr>Unsere Lösungsansätze für eine erfolgreiche Twin Transformation:  Robuste Datenarchitektur, digitale Tools und strategischer KI-Einsatz</vt:lpstr>
      <vt:lpstr>In einer modernen Corporate Performance Management Zielarchitektur kann der ganze ESG Steuerungsprozess abgebildet werden</vt:lpstr>
      <vt:lpstr>So gelingt die Auswahl passender Tools:  Ein kompakter Überblick über bewährte Vorgehensweisen</vt:lpstr>
      <vt:lpstr>Erstellung einer THG-Bilanzierung gemäß CSRD  &amp; Berechnung von wissenschaftlich-basierten Zielen </vt:lpstr>
      <vt:lpstr>Digitale Produktpässe (DPP) in der Textilindustrie</vt:lpstr>
      <vt:lpstr>Twin Transformation bei STW – Sensor-Technik Wiedemann</vt:lpstr>
      <vt:lpstr>Twin Transformation erfordert strategische Verankerung, gezielte  Investitionen und datenbasierte Systeme</vt:lpstr>
      <vt:lpstr>PowerPoint Presentation</vt:lpstr>
      <vt:lpstr>Wir freuen uns  auf die Diskussion  mit Ihnen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ute B Formen</dc:title>
  <dc:subject/>
  <dc:creator>Svenja Engel</dc:creator>
  <cp:keywords/>
  <dc:description/>
  <cp:revision>1</cp:revision>
  <dcterms:created xsi:type="dcterms:W3CDTF">2023-10-17T12:29:43Z</dcterms:created>
  <dcterms:modified xsi:type="dcterms:W3CDTF">2025-06-25T14:24:4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59B75A9A5B664FBE9E0EFFBBA6D0EF</vt:lpwstr>
  </property>
  <property fmtid="{D5CDD505-2E9C-101B-9397-08002B2CF9AE}" pid="3" name="MediaServiceImageTags">
    <vt:lpwstr/>
  </property>
</Properties>
</file>